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notesSlides/notesSlide21.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1.xml" ContentType="application/vnd.openxmlformats-officedocument.drawingml.chart+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32.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33.xml" ContentType="application/vnd.openxmlformats-officedocument.presentationml.tags+xml"/>
  <Override PartName="/ppt/notesSlides/notesSlide62.xml" ContentType="application/vnd.openxmlformats-officedocument.presentationml.notesSlide+xml"/>
  <Override PartName="/ppt/tags/tag34.xml" ContentType="application/vnd.openxmlformats-officedocument.presentationml.tags+xml"/>
  <Override PartName="/ppt/notesSlides/notesSlide63.xml" ContentType="application/vnd.openxmlformats-officedocument.presentationml.notesSlide+xml"/>
  <Override PartName="/ppt/tags/tag35.xml" ContentType="application/vnd.openxmlformats-officedocument.presentationml.tags+xml"/>
  <Override PartName="/ppt/notesSlides/notesSlide64.xml" ContentType="application/vnd.openxmlformats-officedocument.presentationml.notesSlide+xml"/>
  <Override PartName="/ppt/tags/tag36.xml" ContentType="application/vnd.openxmlformats-officedocument.presentationml.tags+xml"/>
  <Override PartName="/ppt/notesSlides/notesSlide65.xml" ContentType="application/vnd.openxmlformats-officedocument.presentationml.notesSlide+xml"/>
  <Override PartName="/ppt/tags/tag37.xml" ContentType="application/vnd.openxmlformats-officedocument.presentationml.tags+xml"/>
  <Override PartName="/ppt/notesSlides/notesSlide66.xml" ContentType="application/vnd.openxmlformats-officedocument.presentationml.notesSlide+xml"/>
  <Override PartName="/ppt/tags/tag38.xml" ContentType="application/vnd.openxmlformats-officedocument.presentationml.tags+xml"/>
  <Override PartName="/ppt/notesSlides/notesSlide67.xml" ContentType="application/vnd.openxmlformats-officedocument.presentationml.notesSlide+xml"/>
  <Override PartName="/ppt/tags/tag39.xml" ContentType="application/vnd.openxmlformats-officedocument.presentationml.tags+xml"/>
  <Override PartName="/ppt/notesSlides/notesSlide68.xml" ContentType="application/vnd.openxmlformats-officedocument.presentationml.notesSlide+xml"/>
  <Override PartName="/ppt/tags/tag40.xml" ContentType="application/vnd.openxmlformats-officedocument.presentationml.tags+xml"/>
  <Override PartName="/ppt/notesSlides/notesSlide69.xml" ContentType="application/vnd.openxmlformats-officedocument.presentationml.notesSlide+xml"/>
  <Override PartName="/ppt/tags/tag41.xml" ContentType="application/vnd.openxmlformats-officedocument.presentationml.tags+xml"/>
  <Override PartName="/ppt/notesSlides/notesSlide70.xml" ContentType="application/vnd.openxmlformats-officedocument.presentationml.notesSlide+xml"/>
  <Override PartName="/ppt/tags/tag42.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43.xml" ContentType="application/vnd.openxmlformats-officedocument.presentationml.tags+xml"/>
  <Override PartName="/ppt/notesSlides/notesSlide73.xml" ContentType="application/vnd.openxmlformats-officedocument.presentationml.notesSlide+xml"/>
  <Override PartName="/ppt/tags/tag44.xml" ContentType="application/vnd.openxmlformats-officedocument.presentationml.tags+xml"/>
  <Override PartName="/ppt/notesSlides/notesSlide74.xml" ContentType="application/vnd.openxmlformats-officedocument.presentationml.notesSlide+xml"/>
  <Override PartName="/ppt/tags/tag45.xml" ContentType="application/vnd.openxmlformats-officedocument.presentationml.tags+xml"/>
  <Override PartName="/ppt/notesSlides/notesSlide75.xml" ContentType="application/vnd.openxmlformats-officedocument.presentationml.notesSlide+xml"/>
  <Override PartName="/ppt/tags/tag46.xml" ContentType="application/vnd.openxmlformats-officedocument.presentationml.tags+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47.xml" ContentType="application/vnd.openxmlformats-officedocument.presentationml.tags+xml"/>
  <Override PartName="/ppt/notesSlides/notesSlide78.xml" ContentType="application/vnd.openxmlformats-officedocument.presentationml.notesSlide+xml"/>
  <Override PartName="/ppt/tags/tag48.xml" ContentType="application/vnd.openxmlformats-officedocument.presentationml.tags+xml"/>
  <Override PartName="/ppt/notesSlides/notesSlide79.xml" ContentType="application/vnd.openxmlformats-officedocument.presentationml.notesSlide+xml"/>
  <Override PartName="/ppt/tags/tag49.xml" ContentType="application/vnd.openxmlformats-officedocument.presentationml.tags+xml"/>
  <Override PartName="/ppt/notesSlides/notesSlide80.xml" ContentType="application/vnd.openxmlformats-officedocument.presentationml.notesSlide+xml"/>
  <Override PartName="/ppt/tags/tag50.xml" ContentType="application/vnd.openxmlformats-officedocument.presentationml.tags+xml"/>
  <Override PartName="/ppt/notesSlides/notesSlide81.xml" ContentType="application/vnd.openxmlformats-officedocument.presentationml.notesSlide+xml"/>
  <Override PartName="/ppt/tags/tag51.xml" ContentType="application/vnd.openxmlformats-officedocument.presentationml.tags+xml"/>
  <Override PartName="/ppt/notesSlides/notesSlide82.xml" ContentType="application/vnd.openxmlformats-officedocument.presentationml.notesSlide+xml"/>
  <Override PartName="/ppt/tags/tag52.xml" ContentType="application/vnd.openxmlformats-officedocument.presentationml.tags+xml"/>
  <Override PartName="/ppt/notesSlides/notesSlide83.xml" ContentType="application/vnd.openxmlformats-officedocument.presentationml.notesSlide+xml"/>
  <Override PartName="/ppt/tags/tag53.xml" ContentType="application/vnd.openxmlformats-officedocument.presentationml.tags+xml"/>
  <Override PartName="/ppt/notesSlides/notesSlide84.xml" ContentType="application/vnd.openxmlformats-officedocument.presentationml.notesSlide+xml"/>
  <Override PartName="/ppt/tags/tag54.xml" ContentType="application/vnd.openxmlformats-officedocument.presentationml.tags+xml"/>
  <Override PartName="/ppt/notesSlides/notesSlide85.xml" ContentType="application/vnd.openxmlformats-officedocument.presentationml.notesSlide+xml"/>
  <Override PartName="/ppt/tags/tag55.xml" ContentType="application/vnd.openxmlformats-officedocument.presentationml.tags+xml"/>
  <Override PartName="/ppt/notesSlides/notesSlide86.xml" ContentType="application/vnd.openxmlformats-officedocument.presentationml.notesSlide+xml"/>
  <Override PartName="/ppt/tags/tag56.xml" ContentType="application/vnd.openxmlformats-officedocument.presentationml.tags+xml"/>
  <Override PartName="/ppt/notesSlides/notesSlide87.xml" ContentType="application/vnd.openxmlformats-officedocument.presentationml.notesSlide+xml"/>
  <Override PartName="/ppt/tags/tag57.xml" ContentType="application/vnd.openxmlformats-officedocument.presentationml.tags+xml"/>
  <Override PartName="/ppt/notesSlides/notesSlide88.xml" ContentType="application/vnd.openxmlformats-officedocument.presentationml.notesSlide+xml"/>
  <Override PartName="/ppt/tags/tag58.xml" ContentType="application/vnd.openxmlformats-officedocument.presentationml.tags+xml"/>
  <Override PartName="/ppt/notesSlides/notesSlide89.xml" ContentType="application/vnd.openxmlformats-officedocument.presentationml.notesSlide+xml"/>
  <Override PartName="/ppt/tags/tag59.xml" ContentType="application/vnd.openxmlformats-officedocument.presentationml.tags+xml"/>
  <Override PartName="/ppt/notesSlides/notesSlide90.xml" ContentType="application/vnd.openxmlformats-officedocument.presentationml.notesSlide+xml"/>
  <Override PartName="/ppt/tags/tag60.xml" ContentType="application/vnd.openxmlformats-officedocument.presentationml.tags+xml"/>
  <Override PartName="/ppt/notesSlides/notesSlide91.xml" ContentType="application/vnd.openxmlformats-officedocument.presentationml.notesSlide+xml"/>
  <Override PartName="/ppt/tags/tag61.xml" ContentType="application/vnd.openxmlformats-officedocument.presentationml.tags+xml"/>
  <Override PartName="/ppt/notesSlides/notesSlide92.xml" ContentType="application/vnd.openxmlformats-officedocument.presentationml.notesSlide+xml"/>
  <Override PartName="/ppt/tags/tag62.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1" r:id="rId1"/>
    <p:sldMasterId id="2147483648" r:id="rId2"/>
  </p:sldMasterIdLst>
  <p:notesMasterIdLst>
    <p:notesMasterId r:id="rId97"/>
  </p:notesMasterIdLst>
  <p:sldIdLst>
    <p:sldId id="317" r:id="rId3"/>
    <p:sldId id="3322" r:id="rId4"/>
    <p:sldId id="318" r:id="rId5"/>
    <p:sldId id="319" r:id="rId6"/>
    <p:sldId id="320" r:id="rId7"/>
    <p:sldId id="321" r:id="rId8"/>
    <p:sldId id="322" r:id="rId9"/>
    <p:sldId id="4685" r:id="rId10"/>
    <p:sldId id="323" r:id="rId11"/>
    <p:sldId id="324" r:id="rId12"/>
    <p:sldId id="325" r:id="rId13"/>
    <p:sldId id="326" r:id="rId14"/>
    <p:sldId id="327" r:id="rId15"/>
    <p:sldId id="328" r:id="rId16"/>
    <p:sldId id="329" r:id="rId17"/>
    <p:sldId id="330" r:id="rId18"/>
    <p:sldId id="331" r:id="rId19"/>
    <p:sldId id="332" r:id="rId20"/>
    <p:sldId id="333" r:id="rId21"/>
    <p:sldId id="334" r:id="rId22"/>
    <p:sldId id="335" r:id="rId23"/>
    <p:sldId id="336" r:id="rId24"/>
    <p:sldId id="337" r:id="rId25"/>
    <p:sldId id="346" r:id="rId26"/>
    <p:sldId id="339" r:id="rId27"/>
    <p:sldId id="340" r:id="rId28"/>
    <p:sldId id="4680" r:id="rId29"/>
    <p:sldId id="4682" r:id="rId30"/>
    <p:sldId id="4683" r:id="rId31"/>
    <p:sldId id="4684" r:id="rId32"/>
    <p:sldId id="345" r:id="rId33"/>
    <p:sldId id="347" r:id="rId34"/>
    <p:sldId id="348" r:id="rId35"/>
    <p:sldId id="349" r:id="rId36"/>
    <p:sldId id="350" r:id="rId37"/>
    <p:sldId id="351" r:id="rId38"/>
    <p:sldId id="352" r:id="rId39"/>
    <p:sldId id="353" r:id="rId40"/>
    <p:sldId id="354" r:id="rId41"/>
    <p:sldId id="4686" r:id="rId42"/>
    <p:sldId id="4427" r:id="rId43"/>
    <p:sldId id="355" r:id="rId44"/>
    <p:sldId id="356" r:id="rId45"/>
    <p:sldId id="357" r:id="rId46"/>
    <p:sldId id="358" r:id="rId47"/>
    <p:sldId id="359" r:id="rId48"/>
    <p:sldId id="360" r:id="rId49"/>
    <p:sldId id="361" r:id="rId50"/>
    <p:sldId id="362" r:id="rId51"/>
    <p:sldId id="363" r:id="rId52"/>
    <p:sldId id="364" r:id="rId53"/>
    <p:sldId id="365" r:id="rId54"/>
    <p:sldId id="4687" r:id="rId55"/>
    <p:sldId id="386" r:id="rId56"/>
    <p:sldId id="369" r:id="rId57"/>
    <p:sldId id="4688" r:id="rId58"/>
    <p:sldId id="366" r:id="rId59"/>
    <p:sldId id="367" r:id="rId60"/>
    <p:sldId id="370" r:id="rId61"/>
    <p:sldId id="4689" r:id="rId62"/>
    <p:sldId id="371" r:id="rId63"/>
    <p:sldId id="372" r:id="rId64"/>
    <p:sldId id="373" r:id="rId65"/>
    <p:sldId id="374" r:id="rId66"/>
    <p:sldId id="375" r:id="rId67"/>
    <p:sldId id="376" r:id="rId68"/>
    <p:sldId id="377" r:id="rId69"/>
    <p:sldId id="378" r:id="rId70"/>
    <p:sldId id="379" r:id="rId71"/>
    <p:sldId id="4690" r:id="rId72"/>
    <p:sldId id="380" r:id="rId73"/>
    <p:sldId id="4691" r:id="rId74"/>
    <p:sldId id="381" r:id="rId75"/>
    <p:sldId id="382" r:id="rId76"/>
    <p:sldId id="383" r:id="rId77"/>
    <p:sldId id="384" r:id="rId78"/>
    <p:sldId id="385" r:id="rId79"/>
    <p:sldId id="387" r:id="rId80"/>
    <p:sldId id="388" r:id="rId81"/>
    <p:sldId id="389" r:id="rId82"/>
    <p:sldId id="390" r:id="rId83"/>
    <p:sldId id="391" r:id="rId84"/>
    <p:sldId id="392" r:id="rId85"/>
    <p:sldId id="393" r:id="rId86"/>
    <p:sldId id="394" r:id="rId87"/>
    <p:sldId id="395" r:id="rId88"/>
    <p:sldId id="396" r:id="rId89"/>
    <p:sldId id="4481" r:id="rId90"/>
    <p:sldId id="4483" r:id="rId91"/>
    <p:sldId id="4484" r:id="rId92"/>
    <p:sldId id="4485" r:id="rId93"/>
    <p:sldId id="4692" r:id="rId94"/>
    <p:sldId id="4486" r:id="rId95"/>
    <p:sldId id="4278" r:id="rId96"/>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a:srgbClr val="E53292"/>
    <a:srgbClr val="F95C2C"/>
    <a:srgbClr val="E64D92"/>
    <a:srgbClr val="D1DB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E4E262-EF5E-4DCC-8585-C7C293F726C4}" v="57" dt="2020-11-23T07:52:01.668"/>
    <p1510:client id="{87EC33F8-20F9-4A9B-8B0C-47C86D280FAD}" v="3609" dt="2020-11-23T14:05:5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774"/>
    <p:restoredTop sz="94713"/>
  </p:normalViewPr>
  <p:slideViewPr>
    <p:cSldViewPr snapToGrid="0" snapToObjects="1">
      <p:cViewPr>
        <p:scale>
          <a:sx n="66" d="100"/>
          <a:sy n="66" d="100"/>
        </p:scale>
        <p:origin x="-906" y="36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102" Type="http://schemas.microsoft.com/office/2016/11/relationships/changesInfo" Target="changesInfos/changesInfo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slide" Target="slides/slide9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microsoft.com/office/2015/10/relationships/revisionInfo" Target="revisionInfo.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nos Zenica" userId="de3ee720dba36952" providerId="Windows Live" clId="Web-{48E4E262-EF5E-4DCC-8585-C7C293F726C4}"/>
    <pc:docChg chg="addSld delSld sldOrd">
      <pc:chgData name="Zenos Zenica" userId="de3ee720dba36952" providerId="Windows Live" clId="Web-{48E4E262-EF5E-4DCC-8585-C7C293F726C4}" dt="2020-11-23T07:52:01.668" v="56"/>
      <pc:docMkLst>
        <pc:docMk/>
      </pc:docMkLst>
      <pc:sldChg chg="del">
        <pc:chgData name="Zenos Zenica" userId="de3ee720dba36952" providerId="Windows Live" clId="Web-{48E4E262-EF5E-4DCC-8585-C7C293F726C4}" dt="2020-11-23T07:51:22.729" v="13"/>
        <pc:sldMkLst>
          <pc:docMk/>
          <pc:sldMk cId="2751410079" sldId="656"/>
        </pc:sldMkLst>
      </pc:sldChg>
      <pc:sldChg chg="del">
        <pc:chgData name="Zenos Zenica" userId="de3ee720dba36952" providerId="Windows Live" clId="Web-{48E4E262-EF5E-4DCC-8585-C7C293F726C4}" dt="2020-11-23T07:51:27.167" v="19"/>
        <pc:sldMkLst>
          <pc:docMk/>
          <pc:sldMk cId="636982651" sldId="3308"/>
        </pc:sldMkLst>
      </pc:sldChg>
      <pc:sldChg chg="del">
        <pc:chgData name="Zenos Zenica" userId="de3ee720dba36952" providerId="Windows Live" clId="Web-{48E4E262-EF5E-4DCC-8585-C7C293F726C4}" dt="2020-11-23T07:51:08.432" v="3"/>
        <pc:sldMkLst>
          <pc:docMk/>
          <pc:sldMk cId="1081143013" sldId="3322"/>
        </pc:sldMkLst>
      </pc:sldChg>
      <pc:sldChg chg="del">
        <pc:chgData name="Zenos Zenica" userId="de3ee720dba36952" providerId="Windows Live" clId="Web-{48E4E262-EF5E-4DCC-8585-C7C293F726C4}" dt="2020-11-23T07:51:40.089" v="38"/>
        <pc:sldMkLst>
          <pc:docMk/>
          <pc:sldMk cId="2314694749" sldId="3324"/>
        </pc:sldMkLst>
      </pc:sldChg>
      <pc:sldChg chg="del">
        <pc:chgData name="Zenos Zenica" userId="de3ee720dba36952" providerId="Windows Live" clId="Web-{48E4E262-EF5E-4DCC-8585-C7C293F726C4}" dt="2020-11-23T07:51:28.120" v="20"/>
        <pc:sldMkLst>
          <pc:docMk/>
          <pc:sldMk cId="1820136793" sldId="3325"/>
        </pc:sldMkLst>
      </pc:sldChg>
      <pc:sldChg chg="del">
        <pc:chgData name="Zenos Zenica" userId="de3ee720dba36952" providerId="Windows Live" clId="Web-{48E4E262-EF5E-4DCC-8585-C7C293F726C4}" dt="2020-11-23T07:51:25.932" v="17"/>
        <pc:sldMkLst>
          <pc:docMk/>
          <pc:sldMk cId="95585474" sldId="3336"/>
        </pc:sldMkLst>
      </pc:sldChg>
      <pc:sldChg chg="del">
        <pc:chgData name="Zenos Zenica" userId="de3ee720dba36952" providerId="Windows Live" clId="Web-{48E4E262-EF5E-4DCC-8585-C7C293F726C4}" dt="2020-11-23T07:51:20.916" v="9"/>
        <pc:sldMkLst>
          <pc:docMk/>
          <pc:sldMk cId="1747924527" sldId="3337"/>
        </pc:sldMkLst>
      </pc:sldChg>
      <pc:sldChg chg="del">
        <pc:chgData name="Zenos Zenica" userId="de3ee720dba36952" providerId="Windows Live" clId="Web-{48E4E262-EF5E-4DCC-8585-C7C293F726C4}" dt="2020-11-23T07:51:21.323" v="10"/>
        <pc:sldMkLst>
          <pc:docMk/>
          <pc:sldMk cId="896895879" sldId="3338"/>
        </pc:sldMkLst>
      </pc:sldChg>
      <pc:sldChg chg="del">
        <pc:chgData name="Zenos Zenica" userId="de3ee720dba36952" providerId="Windows Live" clId="Web-{48E4E262-EF5E-4DCC-8585-C7C293F726C4}" dt="2020-11-23T07:51:22.354" v="11"/>
        <pc:sldMkLst>
          <pc:docMk/>
          <pc:sldMk cId="1194611426" sldId="3339"/>
        </pc:sldMkLst>
      </pc:sldChg>
      <pc:sldChg chg="del">
        <pc:chgData name="Zenos Zenica" userId="de3ee720dba36952" providerId="Windows Live" clId="Web-{48E4E262-EF5E-4DCC-8585-C7C293F726C4}" dt="2020-11-23T07:51:22.370" v="12"/>
        <pc:sldMkLst>
          <pc:docMk/>
          <pc:sldMk cId="1744402656" sldId="3341"/>
        </pc:sldMkLst>
      </pc:sldChg>
      <pc:sldChg chg="del">
        <pc:chgData name="Zenos Zenica" userId="de3ee720dba36952" providerId="Windows Live" clId="Web-{48E4E262-EF5E-4DCC-8585-C7C293F726C4}" dt="2020-11-23T07:51:48.417" v="42"/>
        <pc:sldMkLst>
          <pc:docMk/>
          <pc:sldMk cId="3803869599" sldId="3342"/>
        </pc:sldMkLst>
      </pc:sldChg>
      <pc:sldChg chg="del">
        <pc:chgData name="Zenos Zenica" userId="de3ee720dba36952" providerId="Windows Live" clId="Web-{48E4E262-EF5E-4DCC-8585-C7C293F726C4}" dt="2020-11-23T07:51:48.699" v="43"/>
        <pc:sldMkLst>
          <pc:docMk/>
          <pc:sldMk cId="3185193610" sldId="3343"/>
        </pc:sldMkLst>
      </pc:sldChg>
      <pc:sldChg chg="del">
        <pc:chgData name="Zenos Zenica" userId="de3ee720dba36952" providerId="Windows Live" clId="Web-{48E4E262-EF5E-4DCC-8585-C7C293F726C4}" dt="2020-11-23T07:51:48.714" v="44"/>
        <pc:sldMkLst>
          <pc:docMk/>
          <pc:sldMk cId="1001458029" sldId="3344"/>
        </pc:sldMkLst>
      </pc:sldChg>
      <pc:sldChg chg="del">
        <pc:chgData name="Zenos Zenica" userId="de3ee720dba36952" providerId="Windows Live" clId="Web-{48E4E262-EF5E-4DCC-8585-C7C293F726C4}" dt="2020-11-23T07:51:49.292" v="45"/>
        <pc:sldMkLst>
          <pc:docMk/>
          <pc:sldMk cId="3522403463" sldId="3345"/>
        </pc:sldMkLst>
      </pc:sldChg>
      <pc:sldChg chg="del">
        <pc:chgData name="Zenos Zenica" userId="de3ee720dba36952" providerId="Windows Live" clId="Web-{48E4E262-EF5E-4DCC-8585-C7C293F726C4}" dt="2020-11-23T07:51:49.824" v="46"/>
        <pc:sldMkLst>
          <pc:docMk/>
          <pc:sldMk cId="1136903043" sldId="3346"/>
        </pc:sldMkLst>
      </pc:sldChg>
      <pc:sldChg chg="del">
        <pc:chgData name="Zenos Zenica" userId="de3ee720dba36952" providerId="Windows Live" clId="Web-{48E4E262-EF5E-4DCC-8585-C7C293F726C4}" dt="2020-11-23T07:51:50.355" v="47"/>
        <pc:sldMkLst>
          <pc:docMk/>
          <pc:sldMk cId="2346756623" sldId="3347"/>
        </pc:sldMkLst>
      </pc:sldChg>
      <pc:sldChg chg="del">
        <pc:chgData name="Zenos Zenica" userId="de3ee720dba36952" providerId="Windows Live" clId="Web-{48E4E262-EF5E-4DCC-8585-C7C293F726C4}" dt="2020-11-23T07:51:50.652" v="48"/>
        <pc:sldMkLst>
          <pc:docMk/>
          <pc:sldMk cId="618627144" sldId="3348"/>
        </pc:sldMkLst>
      </pc:sldChg>
      <pc:sldChg chg="del">
        <pc:chgData name="Zenos Zenica" userId="de3ee720dba36952" providerId="Windows Live" clId="Web-{48E4E262-EF5E-4DCC-8585-C7C293F726C4}" dt="2020-11-23T07:51:50.949" v="49"/>
        <pc:sldMkLst>
          <pc:docMk/>
          <pc:sldMk cId="3929150096" sldId="3349"/>
        </pc:sldMkLst>
      </pc:sldChg>
      <pc:sldChg chg="del">
        <pc:chgData name="Zenos Zenica" userId="de3ee720dba36952" providerId="Windows Live" clId="Web-{48E4E262-EF5E-4DCC-8585-C7C293F726C4}" dt="2020-11-23T07:51:51.527" v="50"/>
        <pc:sldMkLst>
          <pc:docMk/>
          <pc:sldMk cId="2226171858" sldId="3350"/>
        </pc:sldMkLst>
      </pc:sldChg>
      <pc:sldChg chg="del">
        <pc:chgData name="Zenos Zenica" userId="de3ee720dba36952" providerId="Windows Live" clId="Web-{48E4E262-EF5E-4DCC-8585-C7C293F726C4}" dt="2020-11-23T07:51:51.824" v="51"/>
        <pc:sldMkLst>
          <pc:docMk/>
          <pc:sldMk cId="1657241537" sldId="3351"/>
        </pc:sldMkLst>
      </pc:sldChg>
      <pc:sldChg chg="del">
        <pc:chgData name="Zenos Zenica" userId="de3ee720dba36952" providerId="Windows Live" clId="Web-{48E4E262-EF5E-4DCC-8585-C7C293F726C4}" dt="2020-11-23T07:51:52.574" v="52"/>
        <pc:sldMkLst>
          <pc:docMk/>
          <pc:sldMk cId="3913240375" sldId="3352"/>
        </pc:sldMkLst>
      </pc:sldChg>
      <pc:sldChg chg="del">
        <pc:chgData name="Zenos Zenica" userId="de3ee720dba36952" providerId="Windows Live" clId="Web-{48E4E262-EF5E-4DCC-8585-C7C293F726C4}" dt="2020-11-23T07:51:26.510" v="18"/>
        <pc:sldMkLst>
          <pc:docMk/>
          <pc:sldMk cId="441202695" sldId="3353"/>
        </pc:sldMkLst>
      </pc:sldChg>
      <pc:sldChg chg="del">
        <pc:chgData name="Zenos Zenica" userId="de3ee720dba36952" providerId="Windows Live" clId="Web-{48E4E262-EF5E-4DCC-8585-C7C293F726C4}" dt="2020-11-23T07:51:14.338" v="5"/>
        <pc:sldMkLst>
          <pc:docMk/>
          <pc:sldMk cId="1980646231" sldId="3355"/>
        </pc:sldMkLst>
      </pc:sldChg>
      <pc:sldChg chg="del ord">
        <pc:chgData name="Zenos Zenica" userId="de3ee720dba36952" providerId="Windows Live" clId="Web-{48E4E262-EF5E-4DCC-8585-C7C293F726C4}" dt="2020-11-23T07:51:19.119" v="7"/>
        <pc:sldMkLst>
          <pc:docMk/>
          <pc:sldMk cId="2893588497" sldId="3356"/>
        </pc:sldMkLst>
      </pc:sldChg>
      <pc:sldChg chg="del">
        <pc:chgData name="Zenos Zenica" userId="de3ee720dba36952" providerId="Windows Live" clId="Web-{48E4E262-EF5E-4DCC-8585-C7C293F726C4}" dt="2020-11-23T07:52:00.574" v="55"/>
        <pc:sldMkLst>
          <pc:docMk/>
          <pc:sldMk cId="3118804360" sldId="3357"/>
        </pc:sldMkLst>
      </pc:sldChg>
      <pc:sldChg chg="del">
        <pc:chgData name="Zenos Zenica" userId="de3ee720dba36952" providerId="Windows Live" clId="Web-{48E4E262-EF5E-4DCC-8585-C7C293F726C4}" dt="2020-11-23T07:51:23.182" v="14"/>
        <pc:sldMkLst>
          <pc:docMk/>
          <pc:sldMk cId="3151600471" sldId="3416"/>
        </pc:sldMkLst>
      </pc:sldChg>
      <pc:sldChg chg="del">
        <pc:chgData name="Zenos Zenica" userId="de3ee720dba36952" providerId="Windows Live" clId="Web-{48E4E262-EF5E-4DCC-8585-C7C293F726C4}" dt="2020-11-23T07:51:34.651" v="29"/>
        <pc:sldMkLst>
          <pc:docMk/>
          <pc:sldMk cId="2943454782" sldId="3417"/>
        </pc:sldMkLst>
      </pc:sldChg>
      <pc:sldChg chg="del">
        <pc:chgData name="Zenos Zenica" userId="de3ee720dba36952" providerId="Windows Live" clId="Web-{48E4E262-EF5E-4DCC-8585-C7C293F726C4}" dt="2020-11-23T07:52:01.668" v="56"/>
        <pc:sldMkLst>
          <pc:docMk/>
          <pc:sldMk cId="714886677" sldId="3420"/>
        </pc:sldMkLst>
      </pc:sldChg>
      <pc:sldChg chg="del">
        <pc:chgData name="Zenos Zenica" userId="de3ee720dba36952" providerId="Windows Live" clId="Web-{48E4E262-EF5E-4DCC-8585-C7C293F726C4}" dt="2020-11-23T07:51:36.073" v="31"/>
        <pc:sldMkLst>
          <pc:docMk/>
          <pc:sldMk cId="2431529789" sldId="3422"/>
        </pc:sldMkLst>
      </pc:sldChg>
      <pc:sldChg chg="del">
        <pc:chgData name="Zenos Zenica" userId="de3ee720dba36952" providerId="Windows Live" clId="Web-{48E4E262-EF5E-4DCC-8585-C7C293F726C4}" dt="2020-11-23T07:51:36.823" v="32"/>
        <pc:sldMkLst>
          <pc:docMk/>
          <pc:sldMk cId="2415010360" sldId="3423"/>
        </pc:sldMkLst>
      </pc:sldChg>
      <pc:sldChg chg="del">
        <pc:chgData name="Zenos Zenica" userId="de3ee720dba36952" providerId="Windows Live" clId="Web-{48E4E262-EF5E-4DCC-8585-C7C293F726C4}" dt="2020-11-23T07:51:37.198" v="33"/>
        <pc:sldMkLst>
          <pc:docMk/>
          <pc:sldMk cId="384604115" sldId="3424"/>
        </pc:sldMkLst>
      </pc:sldChg>
      <pc:sldChg chg="del">
        <pc:chgData name="Zenos Zenica" userId="de3ee720dba36952" providerId="Windows Live" clId="Web-{48E4E262-EF5E-4DCC-8585-C7C293F726C4}" dt="2020-11-23T07:51:37.870" v="34"/>
        <pc:sldMkLst>
          <pc:docMk/>
          <pc:sldMk cId="1922954209" sldId="3425"/>
        </pc:sldMkLst>
      </pc:sldChg>
      <pc:sldChg chg="del">
        <pc:chgData name="Zenos Zenica" userId="de3ee720dba36952" providerId="Windows Live" clId="Web-{48E4E262-EF5E-4DCC-8585-C7C293F726C4}" dt="2020-11-23T07:51:38.589" v="35"/>
        <pc:sldMkLst>
          <pc:docMk/>
          <pc:sldMk cId="4221683711" sldId="3426"/>
        </pc:sldMkLst>
      </pc:sldChg>
      <pc:sldChg chg="del">
        <pc:chgData name="Zenos Zenica" userId="de3ee720dba36952" providerId="Windows Live" clId="Web-{48E4E262-EF5E-4DCC-8585-C7C293F726C4}" dt="2020-11-23T07:51:38.886" v="36"/>
        <pc:sldMkLst>
          <pc:docMk/>
          <pc:sldMk cId="1914390035" sldId="3427"/>
        </pc:sldMkLst>
      </pc:sldChg>
      <pc:sldChg chg="del">
        <pc:chgData name="Zenos Zenica" userId="de3ee720dba36952" providerId="Windows Live" clId="Web-{48E4E262-EF5E-4DCC-8585-C7C293F726C4}" dt="2020-11-23T07:51:39.558" v="37"/>
        <pc:sldMkLst>
          <pc:docMk/>
          <pc:sldMk cId="2154140175" sldId="3428"/>
        </pc:sldMkLst>
      </pc:sldChg>
      <pc:sldChg chg="del">
        <pc:chgData name="Zenos Zenica" userId="de3ee720dba36952" providerId="Windows Live" clId="Web-{48E4E262-EF5E-4DCC-8585-C7C293F726C4}" dt="2020-11-23T07:51:47.511" v="41"/>
        <pc:sldMkLst>
          <pc:docMk/>
          <pc:sldMk cId="2156171954" sldId="3429"/>
        </pc:sldMkLst>
      </pc:sldChg>
      <pc:sldChg chg="del">
        <pc:chgData name="Zenos Zenica" userId="de3ee720dba36952" providerId="Windows Live" clId="Web-{48E4E262-EF5E-4DCC-8585-C7C293F726C4}" dt="2020-11-23T07:51:52.589" v="53"/>
        <pc:sldMkLst>
          <pc:docMk/>
          <pc:sldMk cId="3564596886" sldId="3430"/>
        </pc:sldMkLst>
      </pc:sldChg>
      <pc:sldChg chg="del">
        <pc:chgData name="Zenos Zenica" userId="de3ee720dba36952" providerId="Windows Live" clId="Web-{48E4E262-EF5E-4DCC-8585-C7C293F726C4}" dt="2020-11-23T07:51:54.027" v="54"/>
        <pc:sldMkLst>
          <pc:docMk/>
          <pc:sldMk cId="928267502" sldId="3431"/>
        </pc:sldMkLst>
      </pc:sldChg>
      <pc:sldChg chg="del">
        <pc:chgData name="Zenos Zenica" userId="de3ee720dba36952" providerId="Windows Live" clId="Web-{48E4E262-EF5E-4DCC-8585-C7C293F726C4}" dt="2020-11-23T07:51:40.120" v="39"/>
        <pc:sldMkLst>
          <pc:docMk/>
          <pc:sldMk cId="795621440" sldId="4414"/>
        </pc:sldMkLst>
      </pc:sldChg>
      <pc:sldChg chg="del">
        <pc:chgData name="Zenos Zenica" userId="de3ee720dba36952" providerId="Windows Live" clId="Web-{48E4E262-EF5E-4DCC-8585-C7C293F726C4}" dt="2020-11-23T07:51:46.464" v="40"/>
        <pc:sldMkLst>
          <pc:docMk/>
          <pc:sldMk cId="1853713524" sldId="4415"/>
        </pc:sldMkLst>
      </pc:sldChg>
      <pc:sldChg chg="del">
        <pc:chgData name="Zenos Zenica" userId="de3ee720dba36952" providerId="Windows Live" clId="Web-{48E4E262-EF5E-4DCC-8585-C7C293F726C4}" dt="2020-11-23T07:51:24.542" v="15"/>
        <pc:sldMkLst>
          <pc:docMk/>
          <pc:sldMk cId="2135269489" sldId="4453"/>
        </pc:sldMkLst>
      </pc:sldChg>
      <pc:sldChg chg="del">
        <pc:chgData name="Zenos Zenica" userId="de3ee720dba36952" providerId="Windows Live" clId="Web-{48E4E262-EF5E-4DCC-8585-C7C293F726C4}" dt="2020-11-23T07:51:25.292" v="16"/>
        <pc:sldMkLst>
          <pc:docMk/>
          <pc:sldMk cId="324974782" sldId="4454"/>
        </pc:sldMkLst>
      </pc:sldChg>
      <pc:sldChg chg="del">
        <pc:chgData name="Zenos Zenica" userId="de3ee720dba36952" providerId="Windows Live" clId="Web-{48E4E262-EF5E-4DCC-8585-C7C293F726C4}" dt="2020-11-23T07:51:20.213" v="8"/>
        <pc:sldMkLst>
          <pc:docMk/>
          <pc:sldMk cId="204089798" sldId="4508"/>
        </pc:sldMkLst>
      </pc:sldChg>
      <pc:sldChg chg="del">
        <pc:chgData name="Zenos Zenica" userId="de3ee720dba36952" providerId="Windows Live" clId="Web-{48E4E262-EF5E-4DCC-8585-C7C293F726C4}" dt="2020-11-23T07:51:29.448" v="21"/>
        <pc:sldMkLst>
          <pc:docMk/>
          <pc:sldMk cId="1145838049" sldId="4509"/>
        </pc:sldMkLst>
      </pc:sldChg>
      <pc:sldChg chg="del">
        <pc:chgData name="Zenos Zenica" userId="de3ee720dba36952" providerId="Windows Live" clId="Web-{48E4E262-EF5E-4DCC-8585-C7C293F726C4}" dt="2020-11-23T07:51:30.089" v="22"/>
        <pc:sldMkLst>
          <pc:docMk/>
          <pc:sldMk cId="139839723" sldId="4510"/>
        </pc:sldMkLst>
      </pc:sldChg>
      <pc:sldChg chg="del">
        <pc:chgData name="Zenos Zenica" userId="de3ee720dba36952" providerId="Windows Live" clId="Web-{48E4E262-EF5E-4DCC-8585-C7C293F726C4}" dt="2020-11-23T07:51:31.057" v="23"/>
        <pc:sldMkLst>
          <pc:docMk/>
          <pc:sldMk cId="1101745320" sldId="4511"/>
        </pc:sldMkLst>
      </pc:sldChg>
      <pc:sldChg chg="del">
        <pc:chgData name="Zenos Zenica" userId="de3ee720dba36952" providerId="Windows Live" clId="Web-{48E4E262-EF5E-4DCC-8585-C7C293F726C4}" dt="2020-11-23T07:51:31.636" v="24"/>
        <pc:sldMkLst>
          <pc:docMk/>
          <pc:sldMk cId="2635086758" sldId="4512"/>
        </pc:sldMkLst>
      </pc:sldChg>
      <pc:sldChg chg="del">
        <pc:chgData name="Zenos Zenica" userId="de3ee720dba36952" providerId="Windows Live" clId="Web-{48E4E262-EF5E-4DCC-8585-C7C293F726C4}" dt="2020-11-23T07:51:32.276" v="25"/>
        <pc:sldMkLst>
          <pc:docMk/>
          <pc:sldMk cId="1492426281" sldId="4513"/>
        </pc:sldMkLst>
      </pc:sldChg>
      <pc:sldChg chg="del">
        <pc:chgData name="Zenos Zenica" userId="de3ee720dba36952" providerId="Windows Live" clId="Web-{48E4E262-EF5E-4DCC-8585-C7C293F726C4}" dt="2020-11-23T07:51:33.089" v="26"/>
        <pc:sldMkLst>
          <pc:docMk/>
          <pc:sldMk cId="651822727" sldId="4514"/>
        </pc:sldMkLst>
      </pc:sldChg>
      <pc:sldChg chg="del">
        <pc:chgData name="Zenos Zenica" userId="de3ee720dba36952" providerId="Windows Live" clId="Web-{48E4E262-EF5E-4DCC-8585-C7C293F726C4}" dt="2020-11-23T07:51:33.870" v="27"/>
        <pc:sldMkLst>
          <pc:docMk/>
          <pc:sldMk cId="2816545536" sldId="4515"/>
        </pc:sldMkLst>
      </pc:sldChg>
      <pc:sldChg chg="del">
        <pc:chgData name="Zenos Zenica" userId="de3ee720dba36952" providerId="Windows Live" clId="Web-{48E4E262-EF5E-4DCC-8585-C7C293F726C4}" dt="2020-11-23T07:51:33.870" v="28"/>
        <pc:sldMkLst>
          <pc:docMk/>
          <pc:sldMk cId="3398099825" sldId="4516"/>
        </pc:sldMkLst>
      </pc:sldChg>
      <pc:sldChg chg="del">
        <pc:chgData name="Zenos Zenica" userId="de3ee720dba36952" providerId="Windows Live" clId="Web-{48E4E262-EF5E-4DCC-8585-C7C293F726C4}" dt="2020-11-23T07:51:34.995" v="30"/>
        <pc:sldMkLst>
          <pc:docMk/>
          <pc:sldMk cId="1078092694" sldId="4517"/>
        </pc:sldMkLst>
      </pc:sldChg>
      <pc:sldChg chg="new del">
        <pc:chgData name="Zenos Zenica" userId="de3ee720dba36952" providerId="Windows Live" clId="Web-{48E4E262-EF5E-4DCC-8585-C7C293F726C4}" dt="2020-11-23T07:51:11.057" v="4"/>
        <pc:sldMkLst>
          <pc:docMk/>
          <pc:sldMk cId="2096003915" sldId="4518"/>
        </pc:sldMkLst>
      </pc:sldChg>
      <pc:sldChg chg="add del">
        <pc:chgData name="Zenos Zenica" userId="de3ee720dba36952" providerId="Windows Live" clId="Web-{48E4E262-EF5E-4DCC-8585-C7C293F726C4}" dt="2020-11-23T07:51:05.838" v="2"/>
        <pc:sldMkLst>
          <pc:docMk/>
          <pc:sldMk cId="1306023396" sldId="4519"/>
        </pc:sldMkLst>
      </pc:sldChg>
    </pc:docChg>
  </pc:docChgLst>
  <pc:docChgLst>
    <pc:chgData name="Zenos Zenica" userId="de3ee720dba36952" providerId="Windows Live" clId="Web-{87EC33F8-20F9-4A9B-8B0C-47C86D280FAD}"/>
    <pc:docChg chg="addSld delSld modSld sldOrd addMainMaster modMainMaster">
      <pc:chgData name="Zenos Zenica" userId="de3ee720dba36952" providerId="Windows Live" clId="Web-{87EC33F8-20F9-4A9B-8B0C-47C86D280FAD}" dt="2020-11-23T14:05:59.955" v="3619" actId="20577"/>
      <pc:docMkLst>
        <pc:docMk/>
      </pc:docMkLst>
      <pc:sldChg chg="ord">
        <pc:chgData name="Zenos Zenica" userId="de3ee720dba36952" providerId="Windows Live" clId="Web-{87EC33F8-20F9-4A9B-8B0C-47C86D280FAD}" dt="2020-11-23T11:55:21.349" v="1558"/>
        <pc:sldMkLst>
          <pc:docMk/>
          <pc:sldMk cId="433366519" sldId="309"/>
        </pc:sldMkLst>
      </pc:sldChg>
      <pc:sldChg chg="add">
        <pc:chgData name="Zenos Zenica" userId="de3ee720dba36952" providerId="Windows Live" clId="Web-{87EC33F8-20F9-4A9B-8B0C-47C86D280FAD}" dt="2020-11-23T07:54:35.444" v="0"/>
        <pc:sldMkLst>
          <pc:docMk/>
          <pc:sldMk cId="2085650178" sldId="318"/>
        </pc:sldMkLst>
      </pc:sldChg>
      <pc:sldChg chg="modSp add">
        <pc:chgData name="Zenos Zenica" userId="de3ee720dba36952" providerId="Windows Live" clId="Web-{87EC33F8-20F9-4A9B-8B0C-47C86D280FAD}" dt="2020-11-23T08:13:33.061" v="52" actId="14100"/>
        <pc:sldMkLst>
          <pc:docMk/>
          <pc:sldMk cId="1179086298" sldId="319"/>
        </pc:sldMkLst>
        <pc:spChg chg="mod">
          <ac:chgData name="Zenos Zenica" userId="de3ee720dba36952" providerId="Windows Live" clId="Web-{87EC33F8-20F9-4A9B-8B0C-47C86D280FAD}" dt="2020-11-23T08:13:33.061" v="52" actId="14100"/>
          <ac:spMkLst>
            <pc:docMk/>
            <pc:sldMk cId="1179086298" sldId="319"/>
            <ac:spMk id="4" creationId="{B8CB9108-1583-4A1C-846B-3263D00D0833}"/>
          </ac:spMkLst>
        </pc:spChg>
        <pc:spChg chg="mod">
          <ac:chgData name="Zenos Zenica" userId="de3ee720dba36952" providerId="Windows Live" clId="Web-{87EC33F8-20F9-4A9B-8B0C-47C86D280FAD}" dt="2020-11-23T08:10:44.290" v="42"/>
          <ac:spMkLst>
            <pc:docMk/>
            <pc:sldMk cId="1179086298" sldId="319"/>
            <ac:spMk id="5" creationId="{58C77183-A2D9-4AB8-A3EA-BC130DF4F729}"/>
          </ac:spMkLst>
        </pc:spChg>
        <pc:spChg chg="mod">
          <ac:chgData name="Zenos Zenica" userId="de3ee720dba36952" providerId="Windows Live" clId="Web-{87EC33F8-20F9-4A9B-8B0C-47C86D280FAD}" dt="2020-11-23T08:10:44.290" v="43"/>
          <ac:spMkLst>
            <pc:docMk/>
            <pc:sldMk cId="1179086298" sldId="319"/>
            <ac:spMk id="6" creationId="{A20C0991-9A79-428E-ADBF-270B86B87DE6}"/>
          </ac:spMkLst>
        </pc:spChg>
        <pc:spChg chg="mod">
          <ac:chgData name="Zenos Zenica" userId="de3ee720dba36952" providerId="Windows Live" clId="Web-{87EC33F8-20F9-4A9B-8B0C-47C86D280FAD}" dt="2020-11-23T08:11:34.870" v="45" actId="20577"/>
          <ac:spMkLst>
            <pc:docMk/>
            <pc:sldMk cId="1179086298" sldId="319"/>
            <ac:spMk id="33" creationId="{965A91BA-91A2-46A0-B05A-43FD364371D9}"/>
          </ac:spMkLst>
        </pc:spChg>
        <pc:spChg chg="mod">
          <ac:chgData name="Zenos Zenica" userId="de3ee720dba36952" providerId="Windows Live" clId="Web-{87EC33F8-20F9-4A9B-8B0C-47C86D280FAD}" dt="2020-11-23T08:11:04.041" v="44"/>
          <ac:spMkLst>
            <pc:docMk/>
            <pc:sldMk cId="1179086298" sldId="319"/>
            <ac:spMk id="61" creationId="{BA6CD509-1097-470E-8B93-628628669957}"/>
          </ac:spMkLst>
        </pc:spChg>
      </pc:sldChg>
      <pc:sldChg chg="add del">
        <pc:chgData name="Zenos Zenica" userId="de3ee720dba36952" providerId="Windows Live" clId="Web-{87EC33F8-20F9-4A9B-8B0C-47C86D280FAD}" dt="2020-11-23T07:59:36.908" v="3"/>
        <pc:sldMkLst>
          <pc:docMk/>
          <pc:sldMk cId="1828529939" sldId="320"/>
        </pc:sldMkLst>
      </pc:sldChg>
      <pc:sldChg chg="modSp add ord">
        <pc:chgData name="Zenos Zenica" userId="de3ee720dba36952" providerId="Windows Live" clId="Web-{87EC33F8-20F9-4A9B-8B0C-47C86D280FAD}" dt="2020-11-23T08:15:50.863" v="84" actId="20577"/>
        <pc:sldMkLst>
          <pc:docMk/>
          <pc:sldMk cId="2931861540" sldId="320"/>
        </pc:sldMkLst>
        <pc:spChg chg="mod">
          <ac:chgData name="Zenos Zenica" userId="de3ee720dba36952" providerId="Windows Live" clId="Web-{87EC33F8-20F9-4A9B-8B0C-47C86D280FAD}" dt="2020-11-23T08:14:55.689" v="73" actId="20577"/>
          <ac:spMkLst>
            <pc:docMk/>
            <pc:sldMk cId="2931861540" sldId="320"/>
            <ac:spMk id="4" creationId="{B8CB9108-1583-4A1C-846B-3263D00D0833}"/>
          </ac:spMkLst>
        </pc:spChg>
        <pc:spChg chg="mod">
          <ac:chgData name="Zenos Zenica" userId="de3ee720dba36952" providerId="Windows Live" clId="Web-{87EC33F8-20F9-4A9B-8B0C-47C86D280FAD}" dt="2020-11-23T08:15:05.440" v="77"/>
          <ac:spMkLst>
            <pc:docMk/>
            <pc:sldMk cId="2931861540" sldId="320"/>
            <ac:spMk id="5" creationId="{58C77183-A2D9-4AB8-A3EA-BC130DF4F729}"/>
          </ac:spMkLst>
        </pc:spChg>
        <pc:spChg chg="mod">
          <ac:chgData name="Zenos Zenica" userId="de3ee720dba36952" providerId="Windows Live" clId="Web-{87EC33F8-20F9-4A9B-8B0C-47C86D280FAD}" dt="2020-11-23T08:15:05.455" v="78"/>
          <ac:spMkLst>
            <pc:docMk/>
            <pc:sldMk cId="2931861540" sldId="320"/>
            <ac:spMk id="12" creationId="{9160F301-36F6-478C-ABB0-548F09720128}"/>
          </ac:spMkLst>
        </pc:spChg>
        <pc:spChg chg="mod">
          <ac:chgData name="Zenos Zenica" userId="de3ee720dba36952" providerId="Windows Live" clId="Web-{87EC33F8-20F9-4A9B-8B0C-47C86D280FAD}" dt="2020-11-23T08:15:50.863" v="84" actId="20577"/>
          <ac:spMkLst>
            <pc:docMk/>
            <pc:sldMk cId="2931861540" sldId="320"/>
            <ac:spMk id="33" creationId="{965A91BA-91A2-46A0-B05A-43FD364371D9}"/>
          </ac:spMkLst>
        </pc:spChg>
        <pc:spChg chg="mod">
          <ac:chgData name="Zenos Zenica" userId="de3ee720dba36952" providerId="Windows Live" clId="Web-{87EC33F8-20F9-4A9B-8B0C-47C86D280FAD}" dt="2020-11-23T08:15:05.424" v="76"/>
          <ac:spMkLst>
            <pc:docMk/>
            <pc:sldMk cId="2931861540" sldId="320"/>
            <ac:spMk id="61" creationId="{BA6CD509-1097-470E-8B93-628628669957}"/>
          </ac:spMkLst>
        </pc:spChg>
      </pc:sldChg>
      <pc:sldChg chg="modSp add">
        <pc:chgData name="Zenos Zenica" userId="de3ee720dba36952" providerId="Windows Live" clId="Web-{87EC33F8-20F9-4A9B-8B0C-47C86D280FAD}" dt="2020-11-23T09:05:20.289" v="102"/>
        <pc:sldMkLst>
          <pc:docMk/>
          <pc:sldMk cId="2685984725" sldId="321"/>
        </pc:sldMkLst>
        <pc:spChg chg="mod">
          <ac:chgData name="Zenos Zenica" userId="de3ee720dba36952" providerId="Windows Live" clId="Web-{87EC33F8-20F9-4A9B-8B0C-47C86D280FAD}" dt="2020-11-23T08:16:23.552" v="98" actId="20577"/>
          <ac:spMkLst>
            <pc:docMk/>
            <pc:sldMk cId="2685984725" sldId="321"/>
            <ac:spMk id="4" creationId="{B8CB9108-1583-4A1C-846B-3263D00D0833}"/>
          </ac:spMkLst>
        </pc:spChg>
        <pc:spChg chg="mod">
          <ac:chgData name="Zenos Zenica" userId="de3ee720dba36952" providerId="Windows Live" clId="Web-{87EC33F8-20F9-4A9B-8B0C-47C86D280FAD}" dt="2020-11-23T09:05:20.274" v="101"/>
          <ac:spMkLst>
            <pc:docMk/>
            <pc:sldMk cId="2685984725" sldId="321"/>
            <ac:spMk id="5" creationId="{58C77183-A2D9-4AB8-A3EA-BC130DF4F729}"/>
          </ac:spMkLst>
        </pc:spChg>
        <pc:spChg chg="mod">
          <ac:chgData name="Zenos Zenica" userId="de3ee720dba36952" providerId="Windows Live" clId="Web-{87EC33F8-20F9-4A9B-8B0C-47C86D280FAD}" dt="2020-11-23T09:04:05.381" v="99"/>
          <ac:spMkLst>
            <pc:docMk/>
            <pc:sldMk cId="2685984725" sldId="321"/>
            <ac:spMk id="13" creationId="{39210B4B-CAF6-4E86-8239-5405095CD342}"/>
          </ac:spMkLst>
        </pc:spChg>
        <pc:spChg chg="mod">
          <ac:chgData name="Zenos Zenica" userId="de3ee720dba36952" providerId="Windows Live" clId="Web-{87EC33F8-20F9-4A9B-8B0C-47C86D280FAD}" dt="2020-11-23T09:05:20.289" v="102"/>
          <ac:spMkLst>
            <pc:docMk/>
            <pc:sldMk cId="2685984725" sldId="321"/>
            <ac:spMk id="33" creationId="{965A91BA-91A2-46A0-B05A-43FD364371D9}"/>
          </ac:spMkLst>
        </pc:spChg>
        <pc:spChg chg="mod">
          <ac:chgData name="Zenos Zenica" userId="de3ee720dba36952" providerId="Windows Live" clId="Web-{87EC33F8-20F9-4A9B-8B0C-47C86D280FAD}" dt="2020-11-23T09:05:20.258" v="100"/>
          <ac:spMkLst>
            <pc:docMk/>
            <pc:sldMk cId="2685984725" sldId="321"/>
            <ac:spMk id="61" creationId="{BA6CD509-1097-470E-8B93-628628669957}"/>
          </ac:spMkLst>
        </pc:spChg>
      </pc:sldChg>
      <pc:sldChg chg="modSp add">
        <pc:chgData name="Zenos Zenica" userId="de3ee720dba36952" providerId="Windows Live" clId="Web-{87EC33F8-20F9-4A9B-8B0C-47C86D280FAD}" dt="2020-11-23T09:06:50.245" v="122" actId="20577"/>
        <pc:sldMkLst>
          <pc:docMk/>
          <pc:sldMk cId="26983141" sldId="322"/>
        </pc:sldMkLst>
        <pc:spChg chg="mod">
          <ac:chgData name="Zenos Zenica" userId="de3ee720dba36952" providerId="Windows Live" clId="Web-{87EC33F8-20F9-4A9B-8B0C-47C86D280FAD}" dt="2020-11-23T09:06:50.245" v="122" actId="20577"/>
          <ac:spMkLst>
            <pc:docMk/>
            <pc:sldMk cId="26983141" sldId="322"/>
            <ac:spMk id="4" creationId="{B8CB9108-1583-4A1C-846B-3263D00D0833}"/>
          </ac:spMkLst>
        </pc:spChg>
        <pc:spChg chg="mod">
          <ac:chgData name="Zenos Zenica" userId="de3ee720dba36952" providerId="Windows Live" clId="Web-{87EC33F8-20F9-4A9B-8B0C-47C86D280FAD}" dt="2020-11-23T09:05:36.540" v="103"/>
          <ac:spMkLst>
            <pc:docMk/>
            <pc:sldMk cId="26983141" sldId="322"/>
            <ac:spMk id="5" creationId="{58C77183-A2D9-4AB8-A3EA-BC130DF4F729}"/>
          </ac:spMkLst>
        </pc:spChg>
        <pc:spChg chg="mod">
          <ac:chgData name="Zenos Zenica" userId="de3ee720dba36952" providerId="Windows Live" clId="Web-{87EC33F8-20F9-4A9B-8B0C-47C86D280FAD}" dt="2020-11-23T09:05:36.555" v="104"/>
          <ac:spMkLst>
            <pc:docMk/>
            <pc:sldMk cId="26983141" sldId="322"/>
            <ac:spMk id="12" creationId="{94900445-C24F-4DB3-9F60-AC03B625799C}"/>
          </ac:spMkLst>
        </pc:spChg>
      </pc:sldChg>
      <pc:sldChg chg="modSp add">
        <pc:chgData name="Zenos Zenica" userId="de3ee720dba36952" providerId="Windows Live" clId="Web-{87EC33F8-20F9-4A9B-8B0C-47C86D280FAD}" dt="2020-11-23T09:08:57.514" v="142" actId="1076"/>
        <pc:sldMkLst>
          <pc:docMk/>
          <pc:sldMk cId="2194091338" sldId="323"/>
        </pc:sldMkLst>
        <pc:spChg chg="mod">
          <ac:chgData name="Zenos Zenica" userId="de3ee720dba36952" providerId="Windows Live" clId="Web-{87EC33F8-20F9-4A9B-8B0C-47C86D280FAD}" dt="2020-11-23T09:08:47.326" v="140" actId="20577"/>
          <ac:spMkLst>
            <pc:docMk/>
            <pc:sldMk cId="2194091338" sldId="323"/>
            <ac:spMk id="4" creationId="{B8CB9108-1583-4A1C-846B-3263D00D0833}"/>
          </ac:spMkLst>
        </pc:spChg>
        <pc:graphicFrameChg chg="mod modGraphic">
          <ac:chgData name="Zenos Zenica" userId="de3ee720dba36952" providerId="Windows Live" clId="Web-{87EC33F8-20F9-4A9B-8B0C-47C86D280FAD}" dt="2020-11-23T09:08:57.514" v="142" actId="1076"/>
          <ac:graphicFrameMkLst>
            <pc:docMk/>
            <pc:sldMk cId="2194091338" sldId="323"/>
            <ac:graphicFrameMk id="9" creationId="{4084F88F-310F-4939-89AE-ABB1BEA6E22B}"/>
          </ac:graphicFrameMkLst>
        </pc:graphicFrameChg>
      </pc:sldChg>
      <pc:sldChg chg="modSp add">
        <pc:chgData name="Zenos Zenica" userId="de3ee720dba36952" providerId="Windows Live" clId="Web-{87EC33F8-20F9-4A9B-8B0C-47C86D280FAD}" dt="2020-11-23T10:27:03.383" v="990" actId="1076"/>
        <pc:sldMkLst>
          <pc:docMk/>
          <pc:sldMk cId="2254485972" sldId="324"/>
        </pc:sldMkLst>
        <pc:spChg chg="mod">
          <ac:chgData name="Zenos Zenica" userId="de3ee720dba36952" providerId="Windows Live" clId="Web-{87EC33F8-20F9-4A9B-8B0C-47C86D280FAD}" dt="2020-11-23T09:20:11.065" v="235" actId="20577"/>
          <ac:spMkLst>
            <pc:docMk/>
            <pc:sldMk cId="2254485972" sldId="324"/>
            <ac:spMk id="4" creationId="{B8CB9108-1583-4A1C-846B-3263D00D0833}"/>
          </ac:spMkLst>
        </pc:spChg>
        <pc:spChg chg="mod">
          <ac:chgData name="Zenos Zenica" userId="de3ee720dba36952" providerId="Windows Live" clId="Web-{87EC33F8-20F9-4A9B-8B0C-47C86D280FAD}" dt="2020-11-23T09:19:32.939" v="197" actId="1076"/>
          <ac:spMkLst>
            <pc:docMk/>
            <pc:sldMk cId="2254485972" sldId="324"/>
            <ac:spMk id="7" creationId="{10A60327-7D96-495F-8512-39994C311CB4}"/>
          </ac:spMkLst>
        </pc:spChg>
        <pc:spChg chg="mod">
          <ac:chgData name="Zenos Zenica" userId="de3ee720dba36952" providerId="Windows Live" clId="Web-{87EC33F8-20F9-4A9B-8B0C-47C86D280FAD}" dt="2020-11-23T09:19:32.954" v="198" actId="1076"/>
          <ac:spMkLst>
            <pc:docMk/>
            <pc:sldMk cId="2254485972" sldId="324"/>
            <ac:spMk id="8" creationId="{999339FF-8EB8-44FF-B960-45799EDF7C5A}"/>
          </ac:spMkLst>
        </pc:spChg>
        <pc:spChg chg="mod">
          <ac:chgData name="Zenos Zenica" userId="de3ee720dba36952" providerId="Windows Live" clId="Web-{87EC33F8-20F9-4A9B-8B0C-47C86D280FAD}" dt="2020-11-23T09:19:32.970" v="199" actId="1076"/>
          <ac:spMkLst>
            <pc:docMk/>
            <pc:sldMk cId="2254485972" sldId="324"/>
            <ac:spMk id="10" creationId="{32740010-B222-43C7-B252-DA109FFD2499}"/>
          </ac:spMkLst>
        </pc:spChg>
        <pc:spChg chg="mod">
          <ac:chgData name="Zenos Zenica" userId="de3ee720dba36952" providerId="Windows Live" clId="Web-{87EC33F8-20F9-4A9B-8B0C-47C86D280FAD}" dt="2020-11-23T10:27:03.383" v="990" actId="1076"/>
          <ac:spMkLst>
            <pc:docMk/>
            <pc:sldMk cId="2254485972" sldId="324"/>
            <ac:spMk id="11" creationId="{24FE2CA3-F0D2-4096-8B89-DA2879EA50FF}"/>
          </ac:spMkLst>
        </pc:spChg>
        <pc:spChg chg="mod">
          <ac:chgData name="Zenos Zenica" userId="de3ee720dba36952" providerId="Windows Live" clId="Web-{87EC33F8-20F9-4A9B-8B0C-47C86D280FAD}" dt="2020-11-23T09:19:33.001" v="201" actId="1076"/>
          <ac:spMkLst>
            <pc:docMk/>
            <pc:sldMk cId="2254485972" sldId="324"/>
            <ac:spMk id="12" creationId="{063DE694-D917-41AA-9416-2B9195B97796}"/>
          </ac:spMkLst>
        </pc:spChg>
        <pc:spChg chg="mod">
          <ac:chgData name="Zenos Zenica" userId="de3ee720dba36952" providerId="Windows Live" clId="Web-{87EC33F8-20F9-4A9B-8B0C-47C86D280FAD}" dt="2020-11-23T09:20:26.846" v="239" actId="20577"/>
          <ac:spMkLst>
            <pc:docMk/>
            <pc:sldMk cId="2254485972" sldId="324"/>
            <ac:spMk id="13" creationId="{AB10EE70-B55F-43A1-BEDD-FDBA032F708C}"/>
          </ac:spMkLst>
        </pc:spChg>
        <pc:spChg chg="mod">
          <ac:chgData name="Zenos Zenica" userId="de3ee720dba36952" providerId="Windows Live" clId="Web-{87EC33F8-20F9-4A9B-8B0C-47C86D280FAD}" dt="2020-11-23T09:19:33.032" v="203" actId="1076"/>
          <ac:spMkLst>
            <pc:docMk/>
            <pc:sldMk cId="2254485972" sldId="324"/>
            <ac:spMk id="14" creationId="{F80E4697-CB9F-4AB0-902E-3D174455F0DE}"/>
          </ac:spMkLst>
        </pc:spChg>
        <pc:spChg chg="mod">
          <ac:chgData name="Zenos Zenica" userId="de3ee720dba36952" providerId="Windows Live" clId="Web-{87EC33F8-20F9-4A9B-8B0C-47C86D280FAD}" dt="2020-11-23T09:19:33.032" v="204" actId="1076"/>
          <ac:spMkLst>
            <pc:docMk/>
            <pc:sldMk cId="2254485972" sldId="324"/>
            <ac:spMk id="15" creationId="{49494F74-65AD-48D4-81B4-AD9B6A52F0C8}"/>
          </ac:spMkLst>
        </pc:spChg>
        <pc:spChg chg="mod">
          <ac:chgData name="Zenos Zenica" userId="de3ee720dba36952" providerId="Windows Live" clId="Web-{87EC33F8-20F9-4A9B-8B0C-47C86D280FAD}" dt="2020-11-23T09:19:33.048" v="205" actId="1076"/>
          <ac:spMkLst>
            <pc:docMk/>
            <pc:sldMk cId="2254485972" sldId="324"/>
            <ac:spMk id="16" creationId="{39BF6772-0A33-4A89-A8AC-0C867B8FD1E1}"/>
          </ac:spMkLst>
        </pc:spChg>
        <pc:spChg chg="mod">
          <ac:chgData name="Zenos Zenica" userId="de3ee720dba36952" providerId="Windows Live" clId="Web-{87EC33F8-20F9-4A9B-8B0C-47C86D280FAD}" dt="2020-11-23T09:21:49.130" v="254" actId="20577"/>
          <ac:spMkLst>
            <pc:docMk/>
            <pc:sldMk cId="2254485972" sldId="324"/>
            <ac:spMk id="17" creationId="{3B7337CA-FE2D-467B-A8AD-81B8BC6A4816}"/>
          </ac:spMkLst>
        </pc:spChg>
        <pc:spChg chg="mod">
          <ac:chgData name="Zenos Zenica" userId="de3ee720dba36952" providerId="Windows Live" clId="Web-{87EC33F8-20F9-4A9B-8B0C-47C86D280FAD}" dt="2020-11-23T09:19:33.079" v="207" actId="1076"/>
          <ac:spMkLst>
            <pc:docMk/>
            <pc:sldMk cId="2254485972" sldId="324"/>
            <ac:spMk id="18" creationId="{BEB4029C-F692-4996-B015-D82C01BA231E}"/>
          </ac:spMkLst>
        </pc:spChg>
        <pc:spChg chg="mod">
          <ac:chgData name="Zenos Zenica" userId="de3ee720dba36952" providerId="Windows Live" clId="Web-{87EC33F8-20F9-4A9B-8B0C-47C86D280FAD}" dt="2020-11-23T09:20:33.784" v="242" actId="20577"/>
          <ac:spMkLst>
            <pc:docMk/>
            <pc:sldMk cId="2254485972" sldId="324"/>
            <ac:spMk id="19" creationId="{5395CE55-7837-4FE4-93F3-E67DC912226D}"/>
          </ac:spMkLst>
        </pc:spChg>
        <pc:spChg chg="mod">
          <ac:chgData name="Zenos Zenica" userId="de3ee720dba36952" providerId="Windows Live" clId="Web-{87EC33F8-20F9-4A9B-8B0C-47C86D280FAD}" dt="2020-11-23T09:19:33.111" v="209" actId="1076"/>
          <ac:spMkLst>
            <pc:docMk/>
            <pc:sldMk cId="2254485972" sldId="324"/>
            <ac:spMk id="20" creationId="{30604E6C-1FF4-4246-B35C-B15AE420B1AB}"/>
          </ac:spMkLst>
        </pc:spChg>
        <pc:spChg chg="mod">
          <ac:chgData name="Zenos Zenica" userId="de3ee720dba36952" providerId="Windows Live" clId="Web-{87EC33F8-20F9-4A9B-8B0C-47C86D280FAD}" dt="2020-11-23T09:19:33.111" v="210" actId="1076"/>
          <ac:spMkLst>
            <pc:docMk/>
            <pc:sldMk cId="2254485972" sldId="324"/>
            <ac:spMk id="21" creationId="{0C488950-EF86-4F53-9575-F5C2F764F182}"/>
          </ac:spMkLst>
        </pc:spChg>
        <pc:spChg chg="mod">
          <ac:chgData name="Zenos Zenica" userId="de3ee720dba36952" providerId="Windows Live" clId="Web-{87EC33F8-20F9-4A9B-8B0C-47C86D280FAD}" dt="2020-11-23T09:19:33.126" v="211" actId="1076"/>
          <ac:spMkLst>
            <pc:docMk/>
            <pc:sldMk cId="2254485972" sldId="324"/>
            <ac:spMk id="22" creationId="{EF749FCF-1022-451D-A247-DA3DBFF70986}"/>
          </ac:spMkLst>
        </pc:spChg>
        <pc:spChg chg="mod">
          <ac:chgData name="Zenos Zenica" userId="de3ee720dba36952" providerId="Windows Live" clId="Web-{87EC33F8-20F9-4A9B-8B0C-47C86D280FAD}" dt="2020-11-23T09:21:32.239" v="249" actId="1076"/>
          <ac:spMkLst>
            <pc:docMk/>
            <pc:sldMk cId="2254485972" sldId="324"/>
            <ac:spMk id="23" creationId="{CE0950E1-18B8-4FC8-B404-314FCDD775AD}"/>
          </ac:spMkLst>
        </pc:spChg>
        <pc:spChg chg="mod">
          <ac:chgData name="Zenos Zenica" userId="de3ee720dba36952" providerId="Windows Live" clId="Web-{87EC33F8-20F9-4A9B-8B0C-47C86D280FAD}" dt="2020-11-23T09:19:33.157" v="213" actId="1076"/>
          <ac:spMkLst>
            <pc:docMk/>
            <pc:sldMk cId="2254485972" sldId="324"/>
            <ac:spMk id="24" creationId="{5469B736-DF39-4D11-A744-23E93CB730DF}"/>
          </ac:spMkLst>
        </pc:spChg>
        <pc:spChg chg="mod">
          <ac:chgData name="Zenos Zenica" userId="de3ee720dba36952" providerId="Windows Live" clId="Web-{87EC33F8-20F9-4A9B-8B0C-47C86D280FAD}" dt="2020-11-23T09:19:33.173" v="214" actId="1076"/>
          <ac:spMkLst>
            <pc:docMk/>
            <pc:sldMk cId="2254485972" sldId="324"/>
            <ac:spMk id="25" creationId="{3EC296D2-01F5-4282-8CB3-C8A4BD9A3A17}"/>
          </ac:spMkLst>
        </pc:spChg>
        <pc:spChg chg="mod">
          <ac:chgData name="Zenos Zenica" userId="de3ee720dba36952" providerId="Windows Live" clId="Web-{87EC33F8-20F9-4A9B-8B0C-47C86D280FAD}" dt="2020-11-23T09:19:32.939" v="196" actId="1076"/>
          <ac:spMkLst>
            <pc:docMk/>
            <pc:sldMk cId="2254485972" sldId="324"/>
            <ac:spMk id="31" creationId="{76B1E94E-634D-44F0-8634-92AAFEC14166}"/>
          </ac:spMkLst>
        </pc:spChg>
      </pc:sldChg>
      <pc:sldChg chg="add del">
        <pc:chgData name="Zenos Zenica" userId="de3ee720dba36952" providerId="Windows Live" clId="Web-{87EC33F8-20F9-4A9B-8B0C-47C86D280FAD}" dt="2020-11-23T08:03:44.580" v="11"/>
        <pc:sldMkLst>
          <pc:docMk/>
          <pc:sldMk cId="352265661" sldId="325"/>
        </pc:sldMkLst>
      </pc:sldChg>
      <pc:sldChg chg="modSp add">
        <pc:chgData name="Zenos Zenica" userId="de3ee720dba36952" providerId="Windows Live" clId="Web-{87EC33F8-20F9-4A9B-8B0C-47C86D280FAD}" dt="2020-11-23T09:23:16.461" v="277" actId="1076"/>
        <pc:sldMkLst>
          <pc:docMk/>
          <pc:sldMk cId="523023032" sldId="325"/>
        </pc:sldMkLst>
        <pc:spChg chg="mod">
          <ac:chgData name="Zenos Zenica" userId="de3ee720dba36952" providerId="Windows Live" clId="Web-{87EC33F8-20F9-4A9B-8B0C-47C86D280FAD}" dt="2020-11-23T09:23:16.461" v="277" actId="1076"/>
          <ac:spMkLst>
            <pc:docMk/>
            <pc:sldMk cId="523023032" sldId="325"/>
            <ac:spMk id="4" creationId="{B8CB9108-1583-4A1C-846B-3263D00D0833}"/>
          </ac:spMkLst>
        </pc:spChg>
        <pc:spChg chg="mod">
          <ac:chgData name="Zenos Zenica" userId="de3ee720dba36952" providerId="Windows Live" clId="Web-{87EC33F8-20F9-4A9B-8B0C-47C86D280FAD}" dt="2020-11-23T09:22:04.427" v="256" actId="1076"/>
          <ac:spMkLst>
            <pc:docMk/>
            <pc:sldMk cId="523023032" sldId="325"/>
            <ac:spMk id="31" creationId="{76B1E94E-634D-44F0-8634-92AAFEC14166}"/>
          </ac:spMkLst>
        </pc:spChg>
        <pc:graphicFrameChg chg="mod">
          <ac:chgData name="Zenos Zenica" userId="de3ee720dba36952" providerId="Windows Live" clId="Web-{87EC33F8-20F9-4A9B-8B0C-47C86D280FAD}" dt="2020-11-23T09:22:04.490" v="257" actId="1076"/>
          <ac:graphicFrameMkLst>
            <pc:docMk/>
            <pc:sldMk cId="523023032" sldId="325"/>
            <ac:graphicFrameMk id="9" creationId="{4084F88F-310F-4939-89AE-ABB1BEA6E22B}"/>
          </ac:graphicFrameMkLst>
        </pc:graphicFrameChg>
      </pc:sldChg>
      <pc:sldChg chg="modSp add">
        <pc:chgData name="Zenos Zenica" userId="de3ee720dba36952" providerId="Windows Live" clId="Web-{87EC33F8-20F9-4A9B-8B0C-47C86D280FAD}" dt="2020-11-23T09:23:44.071" v="284" actId="20577"/>
        <pc:sldMkLst>
          <pc:docMk/>
          <pc:sldMk cId="506849899" sldId="326"/>
        </pc:sldMkLst>
        <pc:spChg chg="mod">
          <ac:chgData name="Zenos Zenica" userId="de3ee720dba36952" providerId="Windows Live" clId="Web-{87EC33F8-20F9-4A9B-8B0C-47C86D280FAD}" dt="2020-11-23T09:23:44.071" v="284" actId="20577"/>
          <ac:spMkLst>
            <pc:docMk/>
            <pc:sldMk cId="506849899" sldId="326"/>
            <ac:spMk id="4" creationId="{B8CB9108-1583-4A1C-846B-3263D00D0833}"/>
          </ac:spMkLst>
        </pc:spChg>
      </pc:sldChg>
      <pc:sldChg chg="modSp add">
        <pc:chgData name="Zenos Zenica" userId="de3ee720dba36952" providerId="Windows Live" clId="Web-{87EC33F8-20F9-4A9B-8B0C-47C86D280FAD}" dt="2020-11-23T09:24:29.603" v="297" actId="1076"/>
        <pc:sldMkLst>
          <pc:docMk/>
          <pc:sldMk cId="3469663873" sldId="327"/>
        </pc:sldMkLst>
        <pc:spChg chg="mod">
          <ac:chgData name="Zenos Zenica" userId="de3ee720dba36952" providerId="Windows Live" clId="Web-{87EC33F8-20F9-4A9B-8B0C-47C86D280FAD}" dt="2020-11-23T09:24:29.603" v="297" actId="1076"/>
          <ac:spMkLst>
            <pc:docMk/>
            <pc:sldMk cId="3469663873" sldId="327"/>
            <ac:spMk id="4" creationId="{B8CB9108-1583-4A1C-846B-3263D00D0833}"/>
          </ac:spMkLst>
        </pc:spChg>
      </pc:sldChg>
      <pc:sldChg chg="modSp add">
        <pc:chgData name="Zenos Zenica" userId="de3ee720dba36952" providerId="Windows Live" clId="Web-{87EC33F8-20F9-4A9B-8B0C-47C86D280FAD}" dt="2020-11-23T09:25:04.667" v="310" actId="20577"/>
        <pc:sldMkLst>
          <pc:docMk/>
          <pc:sldMk cId="2308220853" sldId="328"/>
        </pc:sldMkLst>
        <pc:spChg chg="mod">
          <ac:chgData name="Zenos Zenica" userId="de3ee720dba36952" providerId="Windows Live" clId="Web-{87EC33F8-20F9-4A9B-8B0C-47C86D280FAD}" dt="2020-11-23T09:25:04.667" v="310" actId="20577"/>
          <ac:spMkLst>
            <pc:docMk/>
            <pc:sldMk cId="2308220853" sldId="328"/>
            <ac:spMk id="4" creationId="{B8CB9108-1583-4A1C-846B-3263D00D0833}"/>
          </ac:spMkLst>
        </pc:spChg>
      </pc:sldChg>
      <pc:sldChg chg="modSp add">
        <pc:chgData name="Zenos Zenica" userId="de3ee720dba36952" providerId="Windows Live" clId="Web-{87EC33F8-20F9-4A9B-8B0C-47C86D280FAD}" dt="2020-11-23T09:26:27.669" v="327" actId="1076"/>
        <pc:sldMkLst>
          <pc:docMk/>
          <pc:sldMk cId="1558340480" sldId="329"/>
        </pc:sldMkLst>
        <pc:spChg chg="mod">
          <ac:chgData name="Zenos Zenica" userId="de3ee720dba36952" providerId="Windows Live" clId="Web-{87EC33F8-20F9-4A9B-8B0C-47C86D280FAD}" dt="2020-11-23T09:26:27.669" v="327" actId="1076"/>
          <ac:spMkLst>
            <pc:docMk/>
            <pc:sldMk cId="1558340480" sldId="329"/>
            <ac:spMk id="4" creationId="{B8CB9108-1583-4A1C-846B-3263D00D0833}"/>
          </ac:spMkLst>
        </pc:spChg>
        <pc:spChg chg="mod">
          <ac:chgData name="Zenos Zenica" userId="de3ee720dba36952" providerId="Windows Live" clId="Web-{87EC33F8-20F9-4A9B-8B0C-47C86D280FAD}" dt="2020-11-23T09:25:29.745" v="317" actId="1076"/>
          <ac:spMkLst>
            <pc:docMk/>
            <pc:sldMk cId="1558340480" sldId="329"/>
            <ac:spMk id="31" creationId="{76B1E94E-634D-44F0-8634-92AAFEC14166}"/>
          </ac:spMkLst>
        </pc:spChg>
        <pc:graphicFrameChg chg="mod">
          <ac:chgData name="Zenos Zenica" userId="de3ee720dba36952" providerId="Windows Live" clId="Web-{87EC33F8-20F9-4A9B-8B0C-47C86D280FAD}" dt="2020-11-23T09:25:29.808" v="318" actId="1076"/>
          <ac:graphicFrameMkLst>
            <pc:docMk/>
            <pc:sldMk cId="1558340480" sldId="329"/>
            <ac:graphicFrameMk id="9" creationId="{4084F88F-310F-4939-89AE-ABB1BEA6E22B}"/>
          </ac:graphicFrameMkLst>
        </pc:graphicFrameChg>
      </pc:sldChg>
      <pc:sldChg chg="modSp add">
        <pc:chgData name="Zenos Zenica" userId="de3ee720dba36952" providerId="Windows Live" clId="Web-{87EC33F8-20F9-4A9B-8B0C-47C86D280FAD}" dt="2020-11-23T10:27:22.196" v="1002" actId="1076"/>
        <pc:sldMkLst>
          <pc:docMk/>
          <pc:sldMk cId="1086466466" sldId="330"/>
        </pc:sldMkLst>
        <pc:spChg chg="mod">
          <ac:chgData name="Zenos Zenica" userId="de3ee720dba36952" providerId="Windows Live" clId="Web-{87EC33F8-20F9-4A9B-8B0C-47C86D280FAD}" dt="2020-11-23T09:27:09.498" v="338" actId="14100"/>
          <ac:spMkLst>
            <pc:docMk/>
            <pc:sldMk cId="1086466466" sldId="330"/>
            <ac:spMk id="4" creationId="{B8CB9108-1583-4A1C-846B-3263D00D0833}"/>
          </ac:spMkLst>
        </pc:spChg>
        <pc:spChg chg="mod">
          <ac:chgData name="Zenos Zenica" userId="de3ee720dba36952" providerId="Windows Live" clId="Web-{87EC33F8-20F9-4A9B-8B0C-47C86D280FAD}" dt="2020-11-23T10:27:22.196" v="1002" actId="1076"/>
          <ac:spMkLst>
            <pc:docMk/>
            <pc:sldMk cId="1086466466" sldId="330"/>
            <ac:spMk id="28" creationId="{0DE3AD2B-9117-4DBA-9198-3C73FFF53E49}"/>
          </ac:spMkLst>
        </pc:spChg>
        <pc:spChg chg="mod">
          <ac:chgData name="Zenos Zenica" userId="de3ee720dba36952" providerId="Windows Live" clId="Web-{87EC33F8-20F9-4A9B-8B0C-47C86D280FAD}" dt="2020-11-23T10:27:03.555" v="997" actId="20577"/>
          <ac:spMkLst>
            <pc:docMk/>
            <pc:sldMk cId="1086466466" sldId="330"/>
            <ac:spMk id="30" creationId="{2C82B87E-962C-4EE5-93AA-C26A29CCA8E9}"/>
          </ac:spMkLst>
        </pc:spChg>
        <pc:spChg chg="mod">
          <ac:chgData name="Zenos Zenica" userId="de3ee720dba36952" providerId="Windows Live" clId="Web-{87EC33F8-20F9-4A9B-8B0C-47C86D280FAD}" dt="2020-11-23T10:27:03.461" v="993" actId="20577"/>
          <ac:spMkLst>
            <pc:docMk/>
            <pc:sldMk cId="1086466466" sldId="330"/>
            <ac:spMk id="33" creationId="{4E47BE71-C20B-4078-BE15-0711F414BD88}"/>
          </ac:spMkLst>
        </pc:spChg>
      </pc:sldChg>
      <pc:sldChg chg="modSp add">
        <pc:chgData name="Zenos Zenica" userId="de3ee720dba36952" providerId="Windows Live" clId="Web-{87EC33F8-20F9-4A9B-8B0C-47C86D280FAD}" dt="2020-11-23T10:27:49.181" v="1010" actId="14100"/>
        <pc:sldMkLst>
          <pc:docMk/>
          <pc:sldMk cId="2788202291" sldId="331"/>
        </pc:sldMkLst>
        <pc:spChg chg="mod">
          <ac:chgData name="Zenos Zenica" userId="de3ee720dba36952" providerId="Windows Live" clId="Web-{87EC33F8-20F9-4A9B-8B0C-47C86D280FAD}" dt="2020-11-23T09:28:22.063" v="363" actId="20577"/>
          <ac:spMkLst>
            <pc:docMk/>
            <pc:sldMk cId="2788202291" sldId="331"/>
            <ac:spMk id="4" creationId="{B8CB9108-1583-4A1C-846B-3263D00D0833}"/>
          </ac:spMkLst>
        </pc:spChg>
        <pc:spChg chg="mod">
          <ac:chgData name="Zenos Zenica" userId="de3ee720dba36952" providerId="Windows Live" clId="Web-{87EC33F8-20F9-4A9B-8B0C-47C86D280FAD}" dt="2020-11-23T10:27:31.196" v="1004" actId="20577"/>
          <ac:spMkLst>
            <pc:docMk/>
            <pc:sldMk cId="2788202291" sldId="331"/>
            <ac:spMk id="123" creationId="{3D655CBB-E809-4EE7-A175-CBFD4507899E}"/>
          </ac:spMkLst>
        </pc:spChg>
        <pc:spChg chg="mod">
          <ac:chgData name="Zenos Zenica" userId="de3ee720dba36952" providerId="Windows Live" clId="Web-{87EC33F8-20F9-4A9B-8B0C-47C86D280FAD}" dt="2020-11-23T10:27:49.181" v="1010" actId="14100"/>
          <ac:spMkLst>
            <pc:docMk/>
            <pc:sldMk cId="2788202291" sldId="331"/>
            <ac:spMk id="125" creationId="{262C86DE-342F-4BDE-8FD0-9AD6359F3184}"/>
          </ac:spMkLst>
        </pc:spChg>
        <pc:spChg chg="mod">
          <ac:chgData name="Zenos Zenica" userId="de3ee720dba36952" providerId="Windows Live" clId="Web-{87EC33F8-20F9-4A9B-8B0C-47C86D280FAD}" dt="2020-11-23T09:28:51.814" v="379" actId="20577"/>
          <ac:spMkLst>
            <pc:docMk/>
            <pc:sldMk cId="2788202291" sldId="331"/>
            <ac:spMk id="128" creationId="{BB11CE60-292A-4FF1-8DC3-1B06FC17E4E7}"/>
          </ac:spMkLst>
        </pc:spChg>
        <pc:spChg chg="mod">
          <ac:chgData name="Zenos Zenica" userId="de3ee720dba36952" providerId="Windows Live" clId="Web-{87EC33F8-20F9-4A9B-8B0C-47C86D280FAD}" dt="2020-11-23T09:28:46.204" v="376" actId="20577"/>
          <ac:spMkLst>
            <pc:docMk/>
            <pc:sldMk cId="2788202291" sldId="331"/>
            <ac:spMk id="129" creationId="{F7A12BFB-4CBB-42C0-AF3D-8C6DECC14714}"/>
          </ac:spMkLst>
        </pc:spChg>
      </pc:sldChg>
      <pc:sldChg chg="modSp add">
        <pc:chgData name="Zenos Zenica" userId="de3ee720dba36952" providerId="Windows Live" clId="Web-{87EC33F8-20F9-4A9B-8B0C-47C86D280FAD}" dt="2020-11-23T10:28:18.150" v="1011" actId="1076"/>
        <pc:sldMkLst>
          <pc:docMk/>
          <pc:sldMk cId="2636251642" sldId="332"/>
        </pc:sldMkLst>
        <pc:spChg chg="mod">
          <ac:chgData name="Zenos Zenica" userId="de3ee720dba36952" providerId="Windows Live" clId="Web-{87EC33F8-20F9-4A9B-8B0C-47C86D280FAD}" dt="2020-11-23T09:31:38.803" v="407" actId="1076"/>
          <ac:spMkLst>
            <pc:docMk/>
            <pc:sldMk cId="2636251642" sldId="332"/>
            <ac:spMk id="4" creationId="{B8CB9108-1583-4A1C-846B-3263D00D0833}"/>
          </ac:spMkLst>
        </pc:spChg>
        <pc:spChg chg="mod">
          <ac:chgData name="Zenos Zenica" userId="de3ee720dba36952" providerId="Windows Live" clId="Web-{87EC33F8-20F9-4A9B-8B0C-47C86D280FAD}" dt="2020-11-23T10:28:18.150" v="1011" actId="1076"/>
          <ac:spMkLst>
            <pc:docMk/>
            <pc:sldMk cId="2636251642" sldId="332"/>
            <ac:spMk id="5" creationId="{EAAAF5E9-9D28-408A-8433-C6C1F2DDB694}"/>
          </ac:spMkLst>
        </pc:spChg>
        <pc:spChg chg="mod">
          <ac:chgData name="Zenos Zenica" userId="de3ee720dba36952" providerId="Windows Live" clId="Web-{87EC33F8-20F9-4A9B-8B0C-47C86D280FAD}" dt="2020-11-23T09:29:59.456" v="390"/>
          <ac:spMkLst>
            <pc:docMk/>
            <pc:sldMk cId="2636251642" sldId="332"/>
            <ac:spMk id="16" creationId="{8B76932D-C135-4443-BF1A-006126A5E79F}"/>
          </ac:spMkLst>
        </pc:spChg>
        <pc:spChg chg="mod">
          <ac:chgData name="Zenos Zenica" userId="de3ee720dba36952" providerId="Windows Live" clId="Web-{87EC33F8-20F9-4A9B-8B0C-47C86D280FAD}" dt="2020-11-23T09:29:59.440" v="389"/>
          <ac:spMkLst>
            <pc:docMk/>
            <pc:sldMk cId="2636251642" sldId="332"/>
            <ac:spMk id="18" creationId="{14640D88-9435-4FAD-80EC-3DCEB5597EF8}"/>
          </ac:spMkLst>
        </pc:spChg>
        <pc:spChg chg="mod">
          <ac:chgData name="Zenos Zenica" userId="de3ee720dba36952" providerId="Windows Live" clId="Web-{87EC33F8-20F9-4A9B-8B0C-47C86D280FAD}" dt="2020-11-23T09:30:33.863" v="394" actId="1076"/>
          <ac:spMkLst>
            <pc:docMk/>
            <pc:sldMk cId="2636251642" sldId="332"/>
            <ac:spMk id="20" creationId="{FAB51C40-F94A-46DE-8632-4C99C0B8BA1F}"/>
          </ac:spMkLst>
        </pc:spChg>
        <pc:spChg chg="mod">
          <ac:chgData name="Zenos Zenica" userId="de3ee720dba36952" providerId="Windows Live" clId="Web-{87EC33F8-20F9-4A9B-8B0C-47C86D280FAD}" dt="2020-11-23T09:30:44.723" v="395" actId="1076"/>
          <ac:spMkLst>
            <pc:docMk/>
            <pc:sldMk cId="2636251642" sldId="332"/>
            <ac:spMk id="22" creationId="{2AF7CB74-E67E-4A0E-B2B1-C0DDF5128C78}"/>
          </ac:spMkLst>
        </pc:spChg>
        <pc:spChg chg="mod">
          <ac:chgData name="Zenos Zenica" userId="de3ee720dba36952" providerId="Windows Live" clId="Web-{87EC33F8-20F9-4A9B-8B0C-47C86D280FAD}" dt="2020-11-23T09:30:50.926" v="396" actId="1076"/>
          <ac:spMkLst>
            <pc:docMk/>
            <pc:sldMk cId="2636251642" sldId="332"/>
            <ac:spMk id="24" creationId="{BCAB0464-046C-44C2-9B02-A34F24F88794}"/>
          </ac:spMkLst>
        </pc:spChg>
        <pc:grpChg chg="mod">
          <ac:chgData name="Zenos Zenica" userId="de3ee720dba36952" providerId="Windows Live" clId="Web-{87EC33F8-20F9-4A9B-8B0C-47C86D280FAD}" dt="2020-11-23T09:30:14.238" v="392" actId="1076"/>
          <ac:grpSpMkLst>
            <pc:docMk/>
            <pc:sldMk cId="2636251642" sldId="332"/>
            <ac:grpSpMk id="6" creationId="{B8A35022-020A-48C5-BE00-CDE4BA786E94}"/>
          </ac:grpSpMkLst>
        </pc:grpChg>
      </pc:sldChg>
      <pc:sldChg chg="add del replId">
        <pc:chgData name="Zenos Zenica" userId="de3ee720dba36952" providerId="Windows Live" clId="Web-{87EC33F8-20F9-4A9B-8B0C-47C86D280FAD}" dt="2020-11-23T08:05:38.763" v="21"/>
        <pc:sldMkLst>
          <pc:docMk/>
          <pc:sldMk cId="1251769725" sldId="333"/>
        </pc:sldMkLst>
      </pc:sldChg>
      <pc:sldChg chg="modSp add ord">
        <pc:chgData name="Zenos Zenica" userId="de3ee720dba36952" providerId="Windows Live" clId="Web-{87EC33F8-20F9-4A9B-8B0C-47C86D280FAD}" dt="2020-11-23T10:52:06.315" v="1149" actId="1076"/>
        <pc:sldMkLst>
          <pc:docMk/>
          <pc:sldMk cId="1594379500" sldId="333"/>
        </pc:sldMkLst>
        <pc:spChg chg="mod">
          <ac:chgData name="Zenos Zenica" userId="de3ee720dba36952" providerId="Windows Live" clId="Web-{87EC33F8-20F9-4A9B-8B0C-47C86D280FAD}" dt="2020-11-23T09:37:20.171" v="454" actId="20577"/>
          <ac:spMkLst>
            <pc:docMk/>
            <pc:sldMk cId="1594379500" sldId="333"/>
            <ac:spMk id="4" creationId="{B8CB9108-1583-4A1C-846B-3263D00D0833}"/>
          </ac:spMkLst>
        </pc:spChg>
        <pc:spChg chg="mod">
          <ac:chgData name="Zenos Zenica" userId="de3ee720dba36952" providerId="Windows Live" clId="Web-{87EC33F8-20F9-4A9B-8B0C-47C86D280FAD}" dt="2020-11-23T10:48:44.028" v="1125" actId="14100"/>
          <ac:spMkLst>
            <pc:docMk/>
            <pc:sldMk cId="1594379500" sldId="333"/>
            <ac:spMk id="17" creationId="{ECEB0251-5E77-4893-BE63-82157A629DCB}"/>
          </ac:spMkLst>
        </pc:spChg>
        <pc:spChg chg="mod">
          <ac:chgData name="Zenos Zenica" userId="de3ee720dba36952" providerId="Windows Live" clId="Web-{87EC33F8-20F9-4A9B-8B0C-47C86D280FAD}" dt="2020-11-23T10:51:55.534" v="1147" actId="1076"/>
          <ac:spMkLst>
            <pc:docMk/>
            <pc:sldMk cId="1594379500" sldId="333"/>
            <ac:spMk id="19" creationId="{D4C0B170-39E1-45CD-B11E-1BDE66F82314}"/>
          </ac:spMkLst>
        </pc:spChg>
        <pc:spChg chg="mod">
          <ac:chgData name="Zenos Zenica" userId="de3ee720dba36952" providerId="Windows Live" clId="Web-{87EC33F8-20F9-4A9B-8B0C-47C86D280FAD}" dt="2020-11-23T10:50:19.312" v="1135" actId="14100"/>
          <ac:spMkLst>
            <pc:docMk/>
            <pc:sldMk cId="1594379500" sldId="333"/>
            <ac:spMk id="21" creationId="{372084C7-436F-49A0-B770-CD49E24481DA}"/>
          </ac:spMkLst>
        </pc:spChg>
        <pc:spChg chg="mod">
          <ac:chgData name="Zenos Zenica" userId="de3ee720dba36952" providerId="Windows Live" clId="Web-{87EC33F8-20F9-4A9B-8B0C-47C86D280FAD}" dt="2020-11-23T10:51:41.221" v="1145" actId="1076"/>
          <ac:spMkLst>
            <pc:docMk/>
            <pc:sldMk cId="1594379500" sldId="333"/>
            <ac:spMk id="23" creationId="{80407A1B-3379-4379-ADAA-B83C4A6B5122}"/>
          </ac:spMkLst>
        </pc:spChg>
        <pc:spChg chg="mod">
          <ac:chgData name="Zenos Zenica" userId="de3ee720dba36952" providerId="Windows Live" clId="Web-{87EC33F8-20F9-4A9B-8B0C-47C86D280FAD}" dt="2020-11-23T10:49:19.764" v="1130" actId="14100"/>
          <ac:spMkLst>
            <pc:docMk/>
            <pc:sldMk cId="1594379500" sldId="333"/>
            <ac:spMk id="25" creationId="{570D8E36-E49E-43CE-8EED-26E340F60E24}"/>
          </ac:spMkLst>
        </pc:spChg>
        <pc:spChg chg="mod">
          <ac:chgData name="Zenos Zenica" userId="de3ee720dba36952" providerId="Windows Live" clId="Web-{87EC33F8-20F9-4A9B-8B0C-47C86D280FAD}" dt="2020-11-23T10:51:52.237" v="1146" actId="1076"/>
          <ac:spMkLst>
            <pc:docMk/>
            <pc:sldMk cId="1594379500" sldId="333"/>
            <ac:spMk id="26" creationId="{D913C906-D0BA-4E37-A6C9-5D95C7DBE638}"/>
          </ac:spMkLst>
        </pc:spChg>
        <pc:spChg chg="mod">
          <ac:chgData name="Zenos Zenica" userId="de3ee720dba36952" providerId="Windows Live" clId="Web-{87EC33F8-20F9-4A9B-8B0C-47C86D280FAD}" dt="2020-11-23T10:50:52.594" v="1139" actId="14100"/>
          <ac:spMkLst>
            <pc:docMk/>
            <pc:sldMk cId="1594379500" sldId="333"/>
            <ac:spMk id="27" creationId="{C8F42D1E-78C2-4781-B45F-A9AAD1EF1342}"/>
          </ac:spMkLst>
        </pc:spChg>
        <pc:spChg chg="mod">
          <ac:chgData name="Zenos Zenica" userId="de3ee720dba36952" providerId="Windows Live" clId="Web-{87EC33F8-20F9-4A9B-8B0C-47C86D280FAD}" dt="2020-11-23T10:51:32.720" v="1144" actId="1076"/>
          <ac:spMkLst>
            <pc:docMk/>
            <pc:sldMk cId="1594379500" sldId="333"/>
            <ac:spMk id="28" creationId="{25968062-ED97-462D-B304-1041893FBF14}"/>
          </ac:spMkLst>
        </pc:spChg>
        <pc:spChg chg="mod">
          <ac:chgData name="Zenos Zenica" userId="de3ee720dba36952" providerId="Windows Live" clId="Web-{87EC33F8-20F9-4A9B-8B0C-47C86D280FAD}" dt="2020-11-23T10:49:45.936" v="1132" actId="14100"/>
          <ac:spMkLst>
            <pc:docMk/>
            <pc:sldMk cId="1594379500" sldId="333"/>
            <ac:spMk id="29" creationId="{1C407B39-9532-4B90-B586-D24A77CA0727}"/>
          </ac:spMkLst>
        </pc:spChg>
        <pc:spChg chg="mod">
          <ac:chgData name="Zenos Zenica" userId="de3ee720dba36952" providerId="Windows Live" clId="Web-{87EC33F8-20F9-4A9B-8B0C-47C86D280FAD}" dt="2020-11-23T10:52:06.315" v="1149" actId="1076"/>
          <ac:spMkLst>
            <pc:docMk/>
            <pc:sldMk cId="1594379500" sldId="333"/>
            <ac:spMk id="30" creationId="{906E69D6-1AD3-493F-BAB3-C51ECFA4BD34}"/>
          </ac:spMkLst>
        </pc:spChg>
        <pc:spChg chg="mod">
          <ac:chgData name="Zenos Zenica" userId="de3ee720dba36952" providerId="Windows Live" clId="Web-{87EC33F8-20F9-4A9B-8B0C-47C86D280FAD}" dt="2020-11-23T10:51:09.110" v="1141" actId="14100"/>
          <ac:spMkLst>
            <pc:docMk/>
            <pc:sldMk cId="1594379500" sldId="333"/>
            <ac:spMk id="31" creationId="{33A1570D-4040-40B2-834F-288C0AB9A346}"/>
          </ac:spMkLst>
        </pc:spChg>
        <pc:spChg chg="mod">
          <ac:chgData name="Zenos Zenica" userId="de3ee720dba36952" providerId="Windows Live" clId="Web-{87EC33F8-20F9-4A9B-8B0C-47C86D280FAD}" dt="2020-11-23T10:51:24.876" v="1143" actId="1076"/>
          <ac:spMkLst>
            <pc:docMk/>
            <pc:sldMk cId="1594379500" sldId="333"/>
            <ac:spMk id="32" creationId="{6270A8B0-B17F-445E-B447-7A1B33859038}"/>
          </ac:spMkLst>
        </pc:spChg>
        <pc:spChg chg="mod">
          <ac:chgData name="Zenos Zenica" userId="de3ee720dba36952" providerId="Windows Live" clId="Web-{87EC33F8-20F9-4A9B-8B0C-47C86D280FAD}" dt="2020-11-23T10:48:31.794" v="1120" actId="20577"/>
          <ac:spMkLst>
            <pc:docMk/>
            <pc:sldMk cId="1594379500" sldId="333"/>
            <ac:spMk id="33" creationId="{E10DE08E-05A2-4BA2-A349-D26B4140A52C}"/>
          </ac:spMkLst>
        </pc:spChg>
        <pc:spChg chg="mod">
          <ac:chgData name="Zenos Zenica" userId="de3ee720dba36952" providerId="Windows Live" clId="Web-{87EC33F8-20F9-4A9B-8B0C-47C86D280FAD}" dt="2020-11-23T10:48:18.528" v="1103" actId="20577"/>
          <ac:spMkLst>
            <pc:docMk/>
            <pc:sldMk cId="1594379500" sldId="333"/>
            <ac:spMk id="35" creationId="{9ABD22C3-08CC-45FE-9221-C374548E2892}"/>
          </ac:spMkLst>
        </pc:spChg>
        <pc:spChg chg="mod">
          <ac:chgData name="Zenos Zenica" userId="de3ee720dba36952" providerId="Windows Live" clId="Web-{87EC33F8-20F9-4A9B-8B0C-47C86D280FAD}" dt="2020-11-23T10:48:21.637" v="1114" actId="20577"/>
          <ac:spMkLst>
            <pc:docMk/>
            <pc:sldMk cId="1594379500" sldId="333"/>
            <ac:spMk id="37" creationId="{40A71B33-5B2E-4121-AB91-C3937FE19AA4}"/>
          </ac:spMkLst>
        </pc:spChg>
        <pc:spChg chg="mod">
          <ac:chgData name="Zenos Zenica" userId="de3ee720dba36952" providerId="Windows Live" clId="Web-{87EC33F8-20F9-4A9B-8B0C-47C86D280FAD}" dt="2020-11-23T10:52:03.581" v="1148" actId="1076"/>
          <ac:spMkLst>
            <pc:docMk/>
            <pc:sldMk cId="1594379500" sldId="333"/>
            <ac:spMk id="39" creationId="{CEC49EAC-C535-45A2-89C1-00A30D3B97C1}"/>
          </ac:spMkLst>
        </pc:spChg>
        <pc:spChg chg="mod">
          <ac:chgData name="Zenos Zenica" userId="de3ee720dba36952" providerId="Windows Live" clId="Web-{87EC33F8-20F9-4A9B-8B0C-47C86D280FAD}" dt="2020-11-23T10:50:42.235" v="1138" actId="1076"/>
          <ac:spMkLst>
            <pc:docMk/>
            <pc:sldMk cId="1594379500" sldId="333"/>
            <ac:spMk id="41" creationId="{FC00461B-375B-4BFF-B977-DA72C1E1F3E1}"/>
          </ac:spMkLst>
        </pc:spChg>
        <pc:spChg chg="mod">
          <ac:chgData name="Zenos Zenica" userId="de3ee720dba36952" providerId="Windows Live" clId="Web-{87EC33F8-20F9-4A9B-8B0C-47C86D280FAD}" dt="2020-11-23T10:50:35" v="1137" actId="1076"/>
          <ac:spMkLst>
            <pc:docMk/>
            <pc:sldMk cId="1594379500" sldId="333"/>
            <ac:spMk id="42" creationId="{D623B23D-BA39-45F1-A88F-2E15FA967617}"/>
          </ac:spMkLst>
        </pc:spChg>
        <pc:spChg chg="mod">
          <ac:chgData name="Zenos Zenica" userId="de3ee720dba36952" providerId="Windows Live" clId="Web-{87EC33F8-20F9-4A9B-8B0C-47C86D280FAD}" dt="2020-11-23T10:48:53.310" v="1127" actId="1076"/>
          <ac:spMkLst>
            <pc:docMk/>
            <pc:sldMk cId="1594379500" sldId="333"/>
            <ac:spMk id="43" creationId="{D58755C9-57D4-4E13-B2AA-8F9B9913EEEC}"/>
          </ac:spMkLst>
        </pc:spChg>
        <pc:spChg chg="mod">
          <ac:chgData name="Zenos Zenica" userId="de3ee720dba36952" providerId="Windows Live" clId="Web-{87EC33F8-20F9-4A9B-8B0C-47C86D280FAD}" dt="2020-11-23T10:48:50.153" v="1126" actId="1076"/>
          <ac:spMkLst>
            <pc:docMk/>
            <pc:sldMk cId="1594379500" sldId="333"/>
            <ac:spMk id="44" creationId="{15950AA9-664D-4F7E-8D68-5D88A72171A5}"/>
          </ac:spMkLst>
        </pc:spChg>
      </pc:sldChg>
      <pc:sldChg chg="modSp add">
        <pc:chgData name="Zenos Zenica" userId="de3ee720dba36952" providerId="Windows Live" clId="Web-{87EC33F8-20F9-4A9B-8B0C-47C86D280FAD}" dt="2020-11-23T11:29:25.472" v="1310" actId="20577"/>
        <pc:sldMkLst>
          <pc:docMk/>
          <pc:sldMk cId="205666530" sldId="334"/>
        </pc:sldMkLst>
        <pc:spChg chg="mod">
          <ac:chgData name="Zenos Zenica" userId="de3ee720dba36952" providerId="Windows Live" clId="Web-{87EC33F8-20F9-4A9B-8B0C-47C86D280FAD}" dt="2020-11-23T09:38:48.205" v="482" actId="20577"/>
          <ac:spMkLst>
            <pc:docMk/>
            <pc:sldMk cId="205666530" sldId="334"/>
            <ac:spMk id="4" creationId="{B8CB9108-1583-4A1C-846B-3263D00D0833}"/>
          </ac:spMkLst>
        </pc:spChg>
        <pc:spChg chg="mod">
          <ac:chgData name="Zenos Zenica" userId="de3ee720dba36952" providerId="Windows Live" clId="Web-{87EC33F8-20F9-4A9B-8B0C-47C86D280FAD}" dt="2020-11-23T10:55:05.117" v="1171" actId="14100"/>
          <ac:spMkLst>
            <pc:docMk/>
            <pc:sldMk cId="205666530" sldId="334"/>
            <ac:spMk id="8" creationId="{C504D179-549E-430C-924D-AE1460210201}"/>
          </ac:spMkLst>
        </pc:spChg>
        <pc:spChg chg="mod">
          <ac:chgData name="Zenos Zenica" userId="de3ee720dba36952" providerId="Windows Live" clId="Web-{87EC33F8-20F9-4A9B-8B0C-47C86D280FAD}" dt="2020-11-23T10:58:46.998" v="1205" actId="14100"/>
          <ac:spMkLst>
            <pc:docMk/>
            <pc:sldMk cId="205666530" sldId="334"/>
            <ac:spMk id="12" creationId="{10B9F30F-497C-401A-9384-ACCC5B5048AA}"/>
          </ac:spMkLst>
        </pc:spChg>
        <pc:spChg chg="mod">
          <ac:chgData name="Zenos Zenica" userId="de3ee720dba36952" providerId="Windows Live" clId="Web-{87EC33F8-20F9-4A9B-8B0C-47C86D280FAD}" dt="2020-11-23T10:59:10.780" v="1209" actId="1076"/>
          <ac:spMkLst>
            <pc:docMk/>
            <pc:sldMk cId="205666530" sldId="334"/>
            <ac:spMk id="13" creationId="{8D48B857-CB4D-4F13-A688-42313E3DE8A9}"/>
          </ac:spMkLst>
        </pc:spChg>
        <pc:spChg chg="mod">
          <ac:chgData name="Zenos Zenica" userId="de3ee720dba36952" providerId="Windows Live" clId="Web-{87EC33F8-20F9-4A9B-8B0C-47C86D280FAD}" dt="2020-11-23T10:58:11.872" v="1201" actId="1076"/>
          <ac:spMkLst>
            <pc:docMk/>
            <pc:sldMk cId="205666530" sldId="334"/>
            <ac:spMk id="18" creationId="{D0464D69-1123-4620-8E89-9B77E10005EF}"/>
          </ac:spMkLst>
        </pc:spChg>
        <pc:spChg chg="mod">
          <ac:chgData name="Zenos Zenica" userId="de3ee720dba36952" providerId="Windows Live" clId="Web-{87EC33F8-20F9-4A9B-8B0C-47C86D280FAD}" dt="2020-11-23T11:27:02.093" v="1297" actId="1076"/>
          <ac:spMkLst>
            <pc:docMk/>
            <pc:sldMk cId="205666530" sldId="334"/>
            <ac:spMk id="22" creationId="{4824B841-4170-4FB1-A04B-76561D9D7555}"/>
          </ac:spMkLst>
        </pc:spChg>
        <pc:spChg chg="mod">
          <ac:chgData name="Zenos Zenica" userId="de3ee720dba36952" providerId="Windows Live" clId="Web-{87EC33F8-20F9-4A9B-8B0C-47C86D280FAD}" dt="2020-11-23T11:28:19.408" v="1306" actId="1076"/>
          <ac:spMkLst>
            <pc:docMk/>
            <pc:sldMk cId="205666530" sldId="334"/>
            <ac:spMk id="24" creationId="{9A7DEF16-A518-4A44-97E4-09C2F85D11E4}"/>
          </ac:spMkLst>
        </pc:spChg>
        <pc:spChg chg="mod">
          <ac:chgData name="Zenos Zenica" userId="de3ee720dba36952" providerId="Windows Live" clId="Web-{87EC33F8-20F9-4A9B-8B0C-47C86D280FAD}" dt="2020-11-23T11:29:25.472" v="1310" actId="20577"/>
          <ac:spMkLst>
            <pc:docMk/>
            <pc:sldMk cId="205666530" sldId="334"/>
            <ac:spMk id="33" creationId="{E10DE08E-05A2-4BA2-A349-D26B4140A52C}"/>
          </ac:spMkLst>
        </pc:spChg>
        <pc:spChg chg="mod">
          <ac:chgData name="Zenos Zenica" userId="de3ee720dba36952" providerId="Windows Live" clId="Web-{87EC33F8-20F9-4A9B-8B0C-47C86D280FAD}" dt="2020-11-23T10:54:08.350" v="1166" actId="20577"/>
          <ac:spMkLst>
            <pc:docMk/>
            <pc:sldMk cId="205666530" sldId="334"/>
            <ac:spMk id="35" creationId="{9ABD22C3-08CC-45FE-9221-C374548E2892}"/>
          </ac:spMkLst>
        </pc:spChg>
        <pc:spChg chg="mod">
          <ac:chgData name="Zenos Zenica" userId="de3ee720dba36952" providerId="Windows Live" clId="Web-{87EC33F8-20F9-4A9B-8B0C-47C86D280FAD}" dt="2020-11-23T10:58:52.920" v="1207" actId="20577"/>
          <ac:spMkLst>
            <pc:docMk/>
            <pc:sldMk cId="205666530" sldId="334"/>
            <ac:spMk id="41" creationId="{FC00461B-375B-4BFF-B977-DA72C1E1F3E1}"/>
          </ac:spMkLst>
        </pc:spChg>
        <pc:spChg chg="mod">
          <ac:chgData name="Zenos Zenica" userId="de3ee720dba36952" providerId="Windows Live" clId="Web-{87EC33F8-20F9-4A9B-8B0C-47C86D280FAD}" dt="2020-11-23T09:38:18.798" v="469" actId="1076"/>
          <ac:spMkLst>
            <pc:docMk/>
            <pc:sldMk cId="205666530" sldId="334"/>
            <ac:spMk id="42" creationId="{D623B23D-BA39-45F1-A88F-2E15FA967617}"/>
          </ac:spMkLst>
        </pc:spChg>
        <pc:spChg chg="mod">
          <ac:chgData name="Zenos Zenica" userId="de3ee720dba36952" providerId="Windows Live" clId="Web-{87EC33F8-20F9-4A9B-8B0C-47C86D280FAD}" dt="2020-11-23T10:52:31.128" v="1152" actId="20577"/>
          <ac:spMkLst>
            <pc:docMk/>
            <pc:sldMk cId="205666530" sldId="334"/>
            <ac:spMk id="43" creationId="{D58755C9-57D4-4E13-B2AA-8F9B9913EEEC}"/>
          </ac:spMkLst>
        </pc:spChg>
        <pc:spChg chg="mod">
          <ac:chgData name="Zenos Zenica" userId="de3ee720dba36952" providerId="Windows Live" clId="Web-{87EC33F8-20F9-4A9B-8B0C-47C86D280FAD}" dt="2020-11-23T09:37:50.329" v="460" actId="1076"/>
          <ac:spMkLst>
            <pc:docMk/>
            <pc:sldMk cId="205666530" sldId="334"/>
            <ac:spMk id="44" creationId="{15950AA9-664D-4F7E-8D68-5D88A72171A5}"/>
          </ac:spMkLst>
        </pc:spChg>
        <pc:spChg chg="mod">
          <ac:chgData name="Zenos Zenica" userId="de3ee720dba36952" providerId="Windows Live" clId="Web-{87EC33F8-20F9-4A9B-8B0C-47C86D280FAD}" dt="2020-11-23T10:57:48.637" v="1195" actId="14100"/>
          <ac:spMkLst>
            <pc:docMk/>
            <pc:sldMk cId="205666530" sldId="334"/>
            <ac:spMk id="51" creationId="{0752F142-B8B2-4648-936D-0F80B02EF3FF}"/>
          </ac:spMkLst>
        </pc:spChg>
        <pc:spChg chg="mod">
          <ac:chgData name="Zenos Zenica" userId="de3ee720dba36952" providerId="Windows Live" clId="Web-{87EC33F8-20F9-4A9B-8B0C-47C86D280FAD}" dt="2020-11-23T10:57:25.652" v="1191" actId="14100"/>
          <ac:spMkLst>
            <pc:docMk/>
            <pc:sldMk cId="205666530" sldId="334"/>
            <ac:spMk id="52" creationId="{96395282-A677-4A2A-BD49-780B13CAF386}"/>
          </ac:spMkLst>
        </pc:spChg>
        <pc:spChg chg="mod">
          <ac:chgData name="Zenos Zenica" userId="de3ee720dba36952" providerId="Windows Live" clId="Web-{87EC33F8-20F9-4A9B-8B0C-47C86D280FAD}" dt="2020-11-23T11:29:00.081" v="1308" actId="14100"/>
          <ac:spMkLst>
            <pc:docMk/>
            <pc:sldMk cId="205666530" sldId="334"/>
            <ac:spMk id="54" creationId="{31DC9D47-2AF8-4B70-8539-1536E8D22A75}"/>
          </ac:spMkLst>
        </pc:spChg>
        <pc:spChg chg="mod">
          <ac:chgData name="Zenos Zenica" userId="de3ee720dba36952" providerId="Windows Live" clId="Web-{87EC33F8-20F9-4A9B-8B0C-47C86D280FAD}" dt="2020-11-23T11:01:24.440" v="1224" actId="14100"/>
          <ac:spMkLst>
            <pc:docMk/>
            <pc:sldMk cId="205666530" sldId="334"/>
            <ac:spMk id="55" creationId="{C4A9EBEA-AFD3-4C5E-A096-C3A2DECBD6EF}"/>
          </ac:spMkLst>
        </pc:spChg>
        <pc:spChg chg="mod">
          <ac:chgData name="Zenos Zenica" userId="de3ee720dba36952" providerId="Windows Live" clId="Web-{87EC33F8-20F9-4A9B-8B0C-47C86D280FAD}" dt="2020-11-23T11:27:52.829" v="1303" actId="14100"/>
          <ac:spMkLst>
            <pc:docMk/>
            <pc:sldMk cId="205666530" sldId="334"/>
            <ac:spMk id="60" creationId="{96743CEC-B6D6-42EA-8499-E74FA8B136E9}"/>
          </ac:spMkLst>
        </pc:spChg>
        <pc:spChg chg="mod">
          <ac:chgData name="Zenos Zenica" userId="de3ee720dba36952" providerId="Windows Live" clId="Web-{87EC33F8-20F9-4A9B-8B0C-47C86D280FAD}" dt="2020-11-23T11:22:52.368" v="1278" actId="14100"/>
          <ac:spMkLst>
            <pc:docMk/>
            <pc:sldMk cId="205666530" sldId="334"/>
            <ac:spMk id="61" creationId="{0309BC7A-A16E-47DC-901D-608967475CD1}"/>
          </ac:spMkLst>
        </pc:spChg>
        <pc:spChg chg="mod">
          <ac:chgData name="Zenos Zenica" userId="de3ee720dba36952" providerId="Windows Live" clId="Web-{87EC33F8-20F9-4A9B-8B0C-47C86D280FAD}" dt="2020-11-23T11:28:45.487" v="1307" actId="1076"/>
          <ac:spMkLst>
            <pc:docMk/>
            <pc:sldMk cId="205666530" sldId="334"/>
            <ac:spMk id="62" creationId="{96308D3D-624D-4687-A1AA-B59FABD81090}"/>
          </ac:spMkLst>
        </pc:spChg>
        <pc:grpChg chg="mod">
          <ac:chgData name="Zenos Zenica" userId="de3ee720dba36952" providerId="Windows Live" clId="Web-{87EC33F8-20F9-4A9B-8B0C-47C86D280FAD}" dt="2020-11-23T11:27:55.610" v="1304" actId="1076"/>
          <ac:grpSpMkLst>
            <pc:docMk/>
            <pc:sldMk cId="205666530" sldId="334"/>
            <ac:grpSpMk id="63" creationId="{5AA573D5-0A86-4A11-ACE1-C915D3688092}"/>
          </ac:grpSpMkLst>
        </pc:grpChg>
        <pc:picChg chg="mod">
          <ac:chgData name="Zenos Zenica" userId="de3ee720dba36952" providerId="Windows Live" clId="Web-{87EC33F8-20F9-4A9B-8B0C-47C86D280FAD}" dt="2020-11-23T10:55:19.586" v="1172" actId="14100"/>
          <ac:picMkLst>
            <pc:docMk/>
            <pc:sldMk cId="205666530" sldId="334"/>
            <ac:picMk id="7" creationId="{0D7D054B-E331-40A9-B209-57CDA8FF6287}"/>
          </ac:picMkLst>
        </pc:picChg>
        <pc:picChg chg="mod">
          <ac:chgData name="Zenos Zenica" userId="de3ee720dba36952" providerId="Windows Live" clId="Web-{87EC33F8-20F9-4A9B-8B0C-47C86D280FAD}" dt="2020-11-23T11:03:00.177" v="1241" actId="1076"/>
          <ac:picMkLst>
            <pc:docMk/>
            <pc:sldMk cId="205666530" sldId="334"/>
            <ac:picMk id="11" creationId="{DF08BE97-04E9-4CBB-9DB3-0D08CD72A041}"/>
          </ac:picMkLst>
        </pc:picChg>
        <pc:picChg chg="mod">
          <ac:chgData name="Zenos Zenica" userId="de3ee720dba36952" providerId="Windows Live" clId="Web-{87EC33F8-20F9-4A9B-8B0C-47C86D280FAD}" dt="2020-11-23T10:58:28.482" v="1204" actId="14100"/>
          <ac:picMkLst>
            <pc:docMk/>
            <pc:sldMk cId="205666530" sldId="334"/>
            <ac:picMk id="15" creationId="{CE19AED4-A627-4B97-88F8-DE860B3C536C}"/>
          </ac:picMkLst>
        </pc:picChg>
        <pc:picChg chg="mod">
          <ac:chgData name="Zenos Zenica" userId="de3ee720dba36952" providerId="Windows Live" clId="Web-{87EC33F8-20F9-4A9B-8B0C-47C86D280FAD}" dt="2020-11-23T11:28:05.751" v="1305" actId="1076"/>
          <ac:picMkLst>
            <pc:docMk/>
            <pc:sldMk cId="205666530" sldId="334"/>
            <ac:picMk id="20" creationId="{83D7ADA3-5C20-48FF-A662-0852EFAA58AD}"/>
          </ac:picMkLst>
        </pc:picChg>
      </pc:sldChg>
      <pc:sldChg chg="modSp add">
        <pc:chgData name="Zenos Zenica" userId="de3ee720dba36952" providerId="Windows Live" clId="Web-{87EC33F8-20F9-4A9B-8B0C-47C86D280FAD}" dt="2020-11-23T11:37:10.129" v="1345" actId="1076"/>
        <pc:sldMkLst>
          <pc:docMk/>
          <pc:sldMk cId="1179442141" sldId="335"/>
        </pc:sldMkLst>
        <pc:spChg chg="mod">
          <ac:chgData name="Zenos Zenica" userId="de3ee720dba36952" providerId="Windows Live" clId="Web-{87EC33F8-20F9-4A9B-8B0C-47C86D280FAD}" dt="2020-11-23T09:44:23.170" v="527" actId="20577"/>
          <ac:spMkLst>
            <pc:docMk/>
            <pc:sldMk cId="1179442141" sldId="335"/>
            <ac:spMk id="4" creationId="{B8CB9108-1583-4A1C-846B-3263D00D0833}"/>
          </ac:spMkLst>
        </pc:spChg>
        <pc:spChg chg="mod">
          <ac:chgData name="Zenos Zenica" userId="de3ee720dba36952" providerId="Windows Live" clId="Web-{87EC33F8-20F9-4A9B-8B0C-47C86D280FAD}" dt="2020-11-23T11:35:27.360" v="1328" actId="1076"/>
          <ac:spMkLst>
            <pc:docMk/>
            <pc:sldMk cId="1179442141" sldId="335"/>
            <ac:spMk id="37" creationId="{A0EBBBD1-F287-47AD-8E4D-B2C7350A5A25}"/>
          </ac:spMkLst>
        </pc:spChg>
        <pc:spChg chg="mod">
          <ac:chgData name="Zenos Zenica" userId="de3ee720dba36952" providerId="Windows Live" clId="Web-{87EC33F8-20F9-4A9B-8B0C-47C86D280FAD}" dt="2020-11-23T11:36:20.502" v="1336" actId="1076"/>
          <ac:spMkLst>
            <pc:docMk/>
            <pc:sldMk cId="1179442141" sldId="335"/>
            <ac:spMk id="68" creationId="{FA8FEC39-5864-4A7C-9E85-191BA8B16FDA}"/>
          </ac:spMkLst>
        </pc:spChg>
        <pc:spChg chg="mod">
          <ac:chgData name="Zenos Zenica" userId="de3ee720dba36952" providerId="Windows Live" clId="Web-{87EC33F8-20F9-4A9B-8B0C-47C86D280FAD}" dt="2020-11-23T11:36:16.361" v="1335" actId="1076"/>
          <ac:spMkLst>
            <pc:docMk/>
            <pc:sldMk cId="1179442141" sldId="335"/>
            <ac:spMk id="69" creationId="{EB452655-6B3B-4836-ADCC-CFC1ECD5CD26}"/>
          </ac:spMkLst>
        </pc:spChg>
        <pc:spChg chg="mod">
          <ac:chgData name="Zenos Zenica" userId="de3ee720dba36952" providerId="Windows Live" clId="Web-{87EC33F8-20F9-4A9B-8B0C-47C86D280FAD}" dt="2020-11-23T11:36:34.909" v="1341" actId="1076"/>
          <ac:spMkLst>
            <pc:docMk/>
            <pc:sldMk cId="1179442141" sldId="335"/>
            <ac:spMk id="70" creationId="{9F21CB7B-18EA-40CC-B989-C2FC18616514}"/>
          </ac:spMkLst>
        </pc:spChg>
        <pc:spChg chg="mod">
          <ac:chgData name="Zenos Zenica" userId="de3ee720dba36952" providerId="Windows Live" clId="Web-{87EC33F8-20F9-4A9B-8B0C-47C86D280FAD}" dt="2020-11-23T11:36:29.799" v="1340" actId="1076"/>
          <ac:spMkLst>
            <pc:docMk/>
            <pc:sldMk cId="1179442141" sldId="335"/>
            <ac:spMk id="71" creationId="{15988530-D171-4EBC-BF69-B690587B0E32}"/>
          </ac:spMkLst>
        </pc:spChg>
        <pc:spChg chg="mod">
          <ac:chgData name="Zenos Zenica" userId="de3ee720dba36952" providerId="Windows Live" clId="Web-{87EC33F8-20F9-4A9B-8B0C-47C86D280FAD}" dt="2020-11-23T11:37:10.129" v="1345" actId="1076"/>
          <ac:spMkLst>
            <pc:docMk/>
            <pc:sldMk cId="1179442141" sldId="335"/>
            <ac:spMk id="72" creationId="{6C54F31E-E62D-4496-B3A5-16BCEB6AF122}"/>
          </ac:spMkLst>
        </pc:spChg>
        <pc:spChg chg="mod">
          <ac:chgData name="Zenos Zenica" userId="de3ee720dba36952" providerId="Windows Live" clId="Web-{87EC33F8-20F9-4A9B-8B0C-47C86D280FAD}" dt="2020-11-23T11:37:04.191" v="1344" actId="1076"/>
          <ac:spMkLst>
            <pc:docMk/>
            <pc:sldMk cId="1179442141" sldId="335"/>
            <ac:spMk id="73" creationId="{7DE623F0-3751-464F-872E-A2A4A39A44D8}"/>
          </ac:spMkLst>
        </pc:spChg>
        <pc:spChg chg="mod">
          <ac:chgData name="Zenos Zenica" userId="de3ee720dba36952" providerId="Windows Live" clId="Web-{87EC33F8-20F9-4A9B-8B0C-47C86D280FAD}" dt="2020-11-23T11:35:43.501" v="1331" actId="1076"/>
          <ac:spMkLst>
            <pc:docMk/>
            <pc:sldMk cId="1179442141" sldId="335"/>
            <ac:spMk id="74" creationId="{E7EAA186-74D2-44B9-9680-8CE76F00AF4F}"/>
          </ac:spMkLst>
        </pc:spChg>
        <pc:spChg chg="mod">
          <ac:chgData name="Zenos Zenica" userId="de3ee720dba36952" providerId="Windows Live" clId="Web-{87EC33F8-20F9-4A9B-8B0C-47C86D280FAD}" dt="2020-11-23T11:35:39.532" v="1330" actId="1076"/>
          <ac:spMkLst>
            <pc:docMk/>
            <pc:sldMk cId="1179442141" sldId="335"/>
            <ac:spMk id="75" creationId="{E6D0B63D-4B85-40C3-AD04-982EF4B7D848}"/>
          </ac:spMkLst>
        </pc:spChg>
        <pc:spChg chg="mod">
          <ac:chgData name="Zenos Zenica" userId="de3ee720dba36952" providerId="Windows Live" clId="Web-{87EC33F8-20F9-4A9B-8B0C-47C86D280FAD}" dt="2020-11-23T11:36:03.658" v="1334" actId="1076"/>
          <ac:spMkLst>
            <pc:docMk/>
            <pc:sldMk cId="1179442141" sldId="335"/>
            <ac:spMk id="76" creationId="{AF08BC43-008A-439D-87BE-7A3D0CD82B85}"/>
          </ac:spMkLst>
        </pc:spChg>
        <pc:spChg chg="mod">
          <ac:chgData name="Zenos Zenica" userId="de3ee720dba36952" providerId="Windows Live" clId="Web-{87EC33F8-20F9-4A9B-8B0C-47C86D280FAD}" dt="2020-11-23T11:35:57.095" v="1333" actId="1076"/>
          <ac:spMkLst>
            <pc:docMk/>
            <pc:sldMk cId="1179442141" sldId="335"/>
            <ac:spMk id="77" creationId="{5B6AC39C-0D37-4F0C-BACB-2421CAC34219}"/>
          </ac:spMkLst>
        </pc:spChg>
        <pc:grpChg chg="mod">
          <ac:chgData name="Zenos Zenica" userId="de3ee720dba36952" providerId="Windows Live" clId="Web-{87EC33F8-20F9-4A9B-8B0C-47C86D280FAD}" dt="2020-11-23T11:36:49.878" v="1343" actId="1076"/>
          <ac:grpSpMkLst>
            <pc:docMk/>
            <pc:sldMk cId="1179442141" sldId="335"/>
            <ac:grpSpMk id="3" creationId="{102F3914-350E-4629-BD47-D479A4289A90}"/>
          </ac:grpSpMkLst>
        </pc:grpChg>
      </pc:sldChg>
      <pc:sldChg chg="modSp add">
        <pc:chgData name="Zenos Zenica" userId="de3ee720dba36952" providerId="Windows Live" clId="Web-{87EC33F8-20F9-4A9B-8B0C-47C86D280FAD}" dt="2020-11-23T11:37:36.036" v="1353" actId="20577"/>
        <pc:sldMkLst>
          <pc:docMk/>
          <pc:sldMk cId="1950463891" sldId="336"/>
        </pc:sldMkLst>
        <pc:spChg chg="mod">
          <ac:chgData name="Zenos Zenica" userId="de3ee720dba36952" providerId="Windows Live" clId="Web-{87EC33F8-20F9-4A9B-8B0C-47C86D280FAD}" dt="2020-11-23T09:52:10.667" v="535" actId="1076"/>
          <ac:spMkLst>
            <pc:docMk/>
            <pc:sldMk cId="1950463891" sldId="336"/>
            <ac:spMk id="4" creationId="{B8CB9108-1583-4A1C-846B-3263D00D0833}"/>
          </ac:spMkLst>
        </pc:spChg>
        <pc:spChg chg="mod">
          <ac:chgData name="Zenos Zenica" userId="de3ee720dba36952" providerId="Windows Live" clId="Web-{87EC33F8-20F9-4A9B-8B0C-47C86D280FAD}" dt="2020-11-23T09:52:19.027" v="543"/>
          <ac:spMkLst>
            <pc:docMk/>
            <pc:sldMk cId="1950463891" sldId="336"/>
            <ac:spMk id="56" creationId="{7863407F-31F9-455F-9091-FB4A09BC17A3}"/>
          </ac:spMkLst>
        </pc:spChg>
        <pc:spChg chg="mod">
          <ac:chgData name="Zenos Zenica" userId="de3ee720dba36952" providerId="Windows Live" clId="Web-{87EC33F8-20F9-4A9B-8B0C-47C86D280FAD}" dt="2020-11-23T09:52:19.058" v="544"/>
          <ac:spMkLst>
            <pc:docMk/>
            <pc:sldMk cId="1950463891" sldId="336"/>
            <ac:spMk id="64" creationId="{87E30826-A9C8-4169-AA03-4512D1660660}"/>
          </ac:spMkLst>
        </pc:spChg>
        <pc:spChg chg="mod">
          <ac:chgData name="Zenos Zenica" userId="de3ee720dba36952" providerId="Windows Live" clId="Web-{87EC33F8-20F9-4A9B-8B0C-47C86D280FAD}" dt="2020-11-23T09:52:19.105" v="545"/>
          <ac:spMkLst>
            <pc:docMk/>
            <pc:sldMk cId="1950463891" sldId="336"/>
            <ac:spMk id="65" creationId="{7E73F8D5-5393-4B89-A5F3-727B18226DD1}"/>
          </ac:spMkLst>
        </pc:spChg>
        <pc:spChg chg="mod">
          <ac:chgData name="Zenos Zenica" userId="de3ee720dba36952" providerId="Windows Live" clId="Web-{87EC33F8-20F9-4A9B-8B0C-47C86D280FAD}" dt="2020-11-23T09:53:44.170" v="568" actId="1076"/>
          <ac:spMkLst>
            <pc:docMk/>
            <pc:sldMk cId="1950463891" sldId="336"/>
            <ac:spMk id="67" creationId="{53AF438A-65E6-462F-82C0-A02F5CC4B3AF}"/>
          </ac:spMkLst>
        </pc:spChg>
        <pc:spChg chg="mod">
          <ac:chgData name="Zenos Zenica" userId="de3ee720dba36952" providerId="Windows Live" clId="Web-{87EC33F8-20F9-4A9B-8B0C-47C86D280FAD}" dt="2020-11-23T09:52:19.183" v="547"/>
          <ac:spMkLst>
            <pc:docMk/>
            <pc:sldMk cId="1950463891" sldId="336"/>
            <ac:spMk id="69" creationId="{E97C74B9-3D40-4C05-89E6-6D60E108BA2F}"/>
          </ac:spMkLst>
        </pc:spChg>
        <pc:spChg chg="mod">
          <ac:chgData name="Zenos Zenica" userId="de3ee720dba36952" providerId="Windows Live" clId="Web-{87EC33F8-20F9-4A9B-8B0C-47C86D280FAD}" dt="2020-11-23T09:53:38.857" v="567" actId="1076"/>
          <ac:spMkLst>
            <pc:docMk/>
            <pc:sldMk cId="1950463891" sldId="336"/>
            <ac:spMk id="71" creationId="{2591DEE7-16C9-41F4-9D5E-ADD3F688DD1B}"/>
          </ac:spMkLst>
        </pc:spChg>
        <pc:spChg chg="mod">
          <ac:chgData name="Zenos Zenica" userId="de3ee720dba36952" providerId="Windows Live" clId="Web-{87EC33F8-20F9-4A9B-8B0C-47C86D280FAD}" dt="2020-11-23T11:37:26.879" v="1347" actId="20577"/>
          <ac:spMkLst>
            <pc:docMk/>
            <pc:sldMk cId="1950463891" sldId="336"/>
            <ac:spMk id="72" creationId="{A00ABA79-0538-415D-BDA8-FAD3B3DDFC56}"/>
          </ac:spMkLst>
        </pc:spChg>
        <pc:spChg chg="mod">
          <ac:chgData name="Zenos Zenica" userId="de3ee720dba36952" providerId="Windows Live" clId="Web-{87EC33F8-20F9-4A9B-8B0C-47C86D280FAD}" dt="2020-11-23T09:53:00.559" v="562" actId="1076"/>
          <ac:spMkLst>
            <pc:docMk/>
            <pc:sldMk cId="1950463891" sldId="336"/>
            <ac:spMk id="73" creationId="{5083A07E-8B8D-4BBF-BB11-6FC6C46F34A9}"/>
          </ac:spMkLst>
        </pc:spChg>
        <pc:spChg chg="mod">
          <ac:chgData name="Zenos Zenica" userId="de3ee720dba36952" providerId="Windows Live" clId="Web-{87EC33F8-20F9-4A9B-8B0C-47C86D280FAD}" dt="2020-11-23T11:37:36.036" v="1353" actId="20577"/>
          <ac:spMkLst>
            <pc:docMk/>
            <pc:sldMk cId="1950463891" sldId="336"/>
            <ac:spMk id="74" creationId="{9030C19A-A471-40C6-8190-09ED32A0EC9B}"/>
          </ac:spMkLst>
        </pc:spChg>
        <pc:spChg chg="mod">
          <ac:chgData name="Zenos Zenica" userId="de3ee720dba36952" providerId="Windows Live" clId="Web-{87EC33F8-20F9-4A9B-8B0C-47C86D280FAD}" dt="2020-11-23T09:53:26.091" v="566" actId="1076"/>
          <ac:spMkLst>
            <pc:docMk/>
            <pc:sldMk cId="1950463891" sldId="336"/>
            <ac:spMk id="75" creationId="{2E5CFBC4-6391-4373-99CC-B63A99322B7C}"/>
          </ac:spMkLst>
        </pc:spChg>
        <pc:spChg chg="mod">
          <ac:chgData name="Zenos Zenica" userId="de3ee720dba36952" providerId="Windows Live" clId="Web-{87EC33F8-20F9-4A9B-8B0C-47C86D280FAD}" dt="2020-11-23T11:37:31.457" v="1350" actId="20577"/>
          <ac:spMkLst>
            <pc:docMk/>
            <pc:sldMk cId="1950463891" sldId="336"/>
            <ac:spMk id="76" creationId="{1A99DFFC-7E0D-4A06-B8C7-C32F9E0DCBD0}"/>
          </ac:spMkLst>
        </pc:spChg>
        <pc:spChg chg="mod">
          <ac:chgData name="Zenos Zenica" userId="de3ee720dba36952" providerId="Windows Live" clId="Web-{87EC33F8-20F9-4A9B-8B0C-47C86D280FAD}" dt="2020-11-23T09:53:19.357" v="565" actId="1076"/>
          <ac:spMkLst>
            <pc:docMk/>
            <pc:sldMk cId="1950463891" sldId="336"/>
            <ac:spMk id="77" creationId="{F4137F18-C25E-4562-8961-677540C1F9AA}"/>
          </ac:spMkLst>
        </pc:spChg>
      </pc:sldChg>
      <pc:sldChg chg="modSp add">
        <pc:chgData name="Zenos Zenica" userId="de3ee720dba36952" providerId="Windows Live" clId="Web-{87EC33F8-20F9-4A9B-8B0C-47C86D280FAD}" dt="2020-11-23T10:30:41.982" v="1026"/>
        <pc:sldMkLst>
          <pc:docMk/>
          <pc:sldMk cId="2372930145" sldId="337"/>
        </pc:sldMkLst>
        <pc:spChg chg="mod">
          <ac:chgData name="Zenos Zenica" userId="de3ee720dba36952" providerId="Windows Live" clId="Web-{87EC33F8-20F9-4A9B-8B0C-47C86D280FAD}" dt="2020-11-23T09:54:17.609" v="578" actId="20577"/>
          <ac:spMkLst>
            <pc:docMk/>
            <pc:sldMk cId="2372930145" sldId="337"/>
            <ac:spMk id="4" creationId="{B8CB9108-1583-4A1C-846B-3263D00D0833}"/>
          </ac:spMkLst>
        </pc:spChg>
        <pc:spChg chg="mod">
          <ac:chgData name="Zenos Zenica" userId="de3ee720dba36952" providerId="Windows Live" clId="Web-{87EC33F8-20F9-4A9B-8B0C-47C86D280FAD}" dt="2020-11-23T09:54:39.718" v="580"/>
          <ac:spMkLst>
            <pc:docMk/>
            <pc:sldMk cId="2372930145" sldId="337"/>
            <ac:spMk id="100" creationId="{66CEFA19-A89E-45AE-A8AA-9EB88B09DB08}"/>
          </ac:spMkLst>
        </pc:spChg>
        <pc:spChg chg="mod">
          <ac:chgData name="Zenos Zenica" userId="de3ee720dba36952" providerId="Windows Live" clId="Web-{87EC33F8-20F9-4A9B-8B0C-47C86D280FAD}" dt="2020-11-23T09:54:39.750" v="581"/>
          <ac:spMkLst>
            <pc:docMk/>
            <pc:sldMk cId="2372930145" sldId="337"/>
            <ac:spMk id="101" creationId="{C29A9824-A266-4814-8C3A-75D6F3DE3181}"/>
          </ac:spMkLst>
        </pc:spChg>
        <pc:spChg chg="mod">
          <ac:chgData name="Zenos Zenica" userId="de3ee720dba36952" providerId="Windows Live" clId="Web-{87EC33F8-20F9-4A9B-8B0C-47C86D280FAD}" dt="2020-11-23T09:54:55.594" v="597" actId="1076"/>
          <ac:spMkLst>
            <pc:docMk/>
            <pc:sldMk cId="2372930145" sldId="337"/>
            <ac:spMk id="102" creationId="{C052CC27-414E-44EE-9A77-8F7CDF8B78F5}"/>
          </ac:spMkLst>
        </pc:spChg>
        <pc:spChg chg="mod">
          <ac:chgData name="Zenos Zenica" userId="de3ee720dba36952" providerId="Windows Live" clId="Web-{87EC33F8-20F9-4A9B-8B0C-47C86D280FAD}" dt="2020-11-23T10:30:41.951" v="1025"/>
          <ac:spMkLst>
            <pc:docMk/>
            <pc:sldMk cId="2372930145" sldId="337"/>
            <ac:spMk id="103" creationId="{318408D4-9A61-40B2-94BD-FD964F95BD07}"/>
          </ac:spMkLst>
        </pc:spChg>
        <pc:spChg chg="mod">
          <ac:chgData name="Zenos Zenica" userId="de3ee720dba36952" providerId="Windows Live" clId="Web-{87EC33F8-20F9-4A9B-8B0C-47C86D280FAD}" dt="2020-11-23T09:54:39.781" v="583"/>
          <ac:spMkLst>
            <pc:docMk/>
            <pc:sldMk cId="2372930145" sldId="337"/>
            <ac:spMk id="104" creationId="{70B4A29E-8037-4EE2-9D63-11CF1D211005}"/>
          </ac:spMkLst>
        </pc:spChg>
        <pc:spChg chg="mod">
          <ac:chgData name="Zenos Zenica" userId="de3ee720dba36952" providerId="Windows Live" clId="Web-{87EC33F8-20F9-4A9B-8B0C-47C86D280FAD}" dt="2020-11-23T10:30:41.982" v="1026"/>
          <ac:spMkLst>
            <pc:docMk/>
            <pc:sldMk cId="2372930145" sldId="337"/>
            <ac:spMk id="105" creationId="{3AC794CA-AA8F-467F-847C-62A8604F6D10}"/>
          </ac:spMkLst>
        </pc:spChg>
        <pc:spChg chg="mod">
          <ac:chgData name="Zenos Zenica" userId="de3ee720dba36952" providerId="Windows Live" clId="Web-{87EC33F8-20F9-4A9B-8B0C-47C86D280FAD}" dt="2020-11-23T09:54:39.797" v="584"/>
          <ac:spMkLst>
            <pc:docMk/>
            <pc:sldMk cId="2372930145" sldId="337"/>
            <ac:spMk id="106" creationId="{6077AAAB-6C6F-41AC-A2C2-4FCA395DCE30}"/>
          </ac:spMkLst>
        </pc:spChg>
        <pc:spChg chg="mod">
          <ac:chgData name="Zenos Zenica" userId="de3ee720dba36952" providerId="Windows Live" clId="Web-{87EC33F8-20F9-4A9B-8B0C-47C86D280FAD}" dt="2020-11-23T09:54:39.812" v="585"/>
          <ac:spMkLst>
            <pc:docMk/>
            <pc:sldMk cId="2372930145" sldId="337"/>
            <ac:spMk id="107" creationId="{4744A9A4-8AC4-46A6-A784-861EFD07F2F9}"/>
          </ac:spMkLst>
        </pc:spChg>
        <pc:spChg chg="mod">
          <ac:chgData name="Zenos Zenica" userId="de3ee720dba36952" providerId="Windows Live" clId="Web-{87EC33F8-20F9-4A9B-8B0C-47C86D280FAD}" dt="2020-11-23T09:54:39.828" v="586"/>
          <ac:spMkLst>
            <pc:docMk/>
            <pc:sldMk cId="2372930145" sldId="337"/>
            <ac:spMk id="108" creationId="{8EAB3F3E-2F7F-4ED6-9B87-30E73612FAA7}"/>
          </ac:spMkLst>
        </pc:spChg>
        <pc:spChg chg="mod">
          <ac:chgData name="Zenos Zenica" userId="de3ee720dba36952" providerId="Windows Live" clId="Web-{87EC33F8-20F9-4A9B-8B0C-47C86D280FAD}" dt="2020-11-23T09:54:39.843" v="587"/>
          <ac:spMkLst>
            <pc:docMk/>
            <pc:sldMk cId="2372930145" sldId="337"/>
            <ac:spMk id="109" creationId="{EA1FDA2C-E256-484F-8B31-C3222332BA30}"/>
          </ac:spMkLst>
        </pc:spChg>
        <pc:spChg chg="mod">
          <ac:chgData name="Zenos Zenica" userId="de3ee720dba36952" providerId="Windows Live" clId="Web-{87EC33F8-20F9-4A9B-8B0C-47C86D280FAD}" dt="2020-11-23T09:54:39.859" v="588"/>
          <ac:spMkLst>
            <pc:docMk/>
            <pc:sldMk cId="2372930145" sldId="337"/>
            <ac:spMk id="110" creationId="{66ECA8CB-E40F-470C-A49A-76ACABC7E6B1}"/>
          </ac:spMkLst>
        </pc:spChg>
        <pc:spChg chg="mod">
          <ac:chgData name="Zenos Zenica" userId="de3ee720dba36952" providerId="Windows Live" clId="Web-{87EC33F8-20F9-4A9B-8B0C-47C86D280FAD}" dt="2020-11-23T09:54:39.875" v="589"/>
          <ac:spMkLst>
            <pc:docMk/>
            <pc:sldMk cId="2372930145" sldId="337"/>
            <ac:spMk id="111" creationId="{0C89E7C0-182C-404B-9454-B71D6F489831}"/>
          </ac:spMkLst>
        </pc:spChg>
        <pc:spChg chg="mod">
          <ac:chgData name="Zenos Zenica" userId="de3ee720dba36952" providerId="Windows Live" clId="Web-{87EC33F8-20F9-4A9B-8B0C-47C86D280FAD}" dt="2020-11-23T09:54:39.890" v="590"/>
          <ac:spMkLst>
            <pc:docMk/>
            <pc:sldMk cId="2372930145" sldId="337"/>
            <ac:spMk id="112" creationId="{371C5938-9B5D-49E4-A68A-2D02D9397766}"/>
          </ac:spMkLst>
        </pc:spChg>
        <pc:spChg chg="mod">
          <ac:chgData name="Zenos Zenica" userId="de3ee720dba36952" providerId="Windows Live" clId="Web-{87EC33F8-20F9-4A9B-8B0C-47C86D280FAD}" dt="2020-11-23T09:54:52.531" v="596" actId="1076"/>
          <ac:spMkLst>
            <pc:docMk/>
            <pc:sldMk cId="2372930145" sldId="337"/>
            <ac:spMk id="113" creationId="{54DA122E-6EFC-4230-AE94-0D5A8D6F16C6}"/>
          </ac:spMkLst>
        </pc:spChg>
        <pc:spChg chg="mod">
          <ac:chgData name="Zenos Zenica" userId="de3ee720dba36952" providerId="Windows Live" clId="Web-{87EC33F8-20F9-4A9B-8B0C-47C86D280FAD}" dt="2020-11-23T09:54:39.937" v="592"/>
          <ac:spMkLst>
            <pc:docMk/>
            <pc:sldMk cId="2372930145" sldId="337"/>
            <ac:spMk id="114" creationId="{020F18B5-9864-4AA1-9741-33FF5BD2D559}"/>
          </ac:spMkLst>
        </pc:spChg>
        <pc:spChg chg="mod">
          <ac:chgData name="Zenos Zenica" userId="de3ee720dba36952" providerId="Windows Live" clId="Web-{87EC33F8-20F9-4A9B-8B0C-47C86D280FAD}" dt="2020-11-23T09:54:39.953" v="593"/>
          <ac:spMkLst>
            <pc:docMk/>
            <pc:sldMk cId="2372930145" sldId="337"/>
            <ac:spMk id="115" creationId="{F268F469-D081-44C4-B2AA-5CDD99B51C2A}"/>
          </ac:spMkLst>
        </pc:spChg>
        <pc:spChg chg="mod">
          <ac:chgData name="Zenos Zenica" userId="de3ee720dba36952" providerId="Windows Live" clId="Web-{87EC33F8-20F9-4A9B-8B0C-47C86D280FAD}" dt="2020-11-23T09:54:39.968" v="594"/>
          <ac:spMkLst>
            <pc:docMk/>
            <pc:sldMk cId="2372930145" sldId="337"/>
            <ac:spMk id="116" creationId="{7499E1F9-F85E-467B-B487-835BC3AF8BBF}"/>
          </ac:spMkLst>
        </pc:spChg>
        <pc:spChg chg="mod">
          <ac:chgData name="Zenos Zenica" userId="de3ee720dba36952" providerId="Windows Live" clId="Web-{87EC33F8-20F9-4A9B-8B0C-47C86D280FAD}" dt="2020-11-23T09:54:39.984" v="595"/>
          <ac:spMkLst>
            <pc:docMk/>
            <pc:sldMk cId="2372930145" sldId="337"/>
            <ac:spMk id="117" creationId="{9B6E41B4-4AA6-484F-97E5-FF927B991270}"/>
          </ac:spMkLst>
        </pc:spChg>
      </pc:sldChg>
      <pc:sldChg chg="modSp add del">
        <pc:chgData name="Zenos Zenica" userId="de3ee720dba36952" providerId="Windows Live" clId="Web-{87EC33F8-20F9-4A9B-8B0C-47C86D280FAD}" dt="2020-11-23T10:01:28.575" v="809"/>
        <pc:sldMkLst>
          <pc:docMk/>
          <pc:sldMk cId="3339269484" sldId="338"/>
        </pc:sldMkLst>
        <pc:spChg chg="mod">
          <ac:chgData name="Zenos Zenica" userId="de3ee720dba36952" providerId="Windows Live" clId="Web-{87EC33F8-20F9-4A9B-8B0C-47C86D280FAD}" dt="2020-11-23T09:56:58.316" v="701" actId="14100"/>
          <ac:spMkLst>
            <pc:docMk/>
            <pc:sldMk cId="3339269484" sldId="338"/>
            <ac:spMk id="4" creationId="{B8CB9108-1583-4A1C-846B-3263D00D0833}"/>
          </ac:spMkLst>
        </pc:spChg>
        <pc:spChg chg="mod">
          <ac:chgData name="Zenos Zenica" userId="de3ee720dba36952" providerId="Windows Live" clId="Web-{87EC33F8-20F9-4A9B-8B0C-47C86D280FAD}" dt="2020-11-23T09:57:12.113" v="702" actId="1076"/>
          <ac:spMkLst>
            <pc:docMk/>
            <pc:sldMk cId="3339269484" sldId="338"/>
            <ac:spMk id="5" creationId="{CF6E12EC-3064-424E-99AB-27EF93034598}"/>
          </ac:spMkLst>
        </pc:spChg>
        <pc:spChg chg="mod">
          <ac:chgData name="Zenos Zenica" userId="de3ee720dba36952" providerId="Windows Live" clId="Web-{87EC33F8-20F9-4A9B-8B0C-47C86D280FAD}" dt="2020-11-23T09:57:12.129" v="703" actId="1076"/>
          <ac:spMkLst>
            <pc:docMk/>
            <pc:sldMk cId="3339269484" sldId="338"/>
            <ac:spMk id="6" creationId="{7AFD10B8-A55E-493C-B803-0909E20D1ADC}"/>
          </ac:spMkLst>
        </pc:spChg>
        <pc:spChg chg="mod">
          <ac:chgData name="Zenos Zenica" userId="de3ee720dba36952" providerId="Windows Live" clId="Web-{87EC33F8-20F9-4A9B-8B0C-47C86D280FAD}" dt="2020-11-23T09:57:12.176" v="705" actId="1076"/>
          <ac:spMkLst>
            <pc:docMk/>
            <pc:sldMk cId="3339269484" sldId="338"/>
            <ac:spMk id="8" creationId="{A5EC3197-DC2C-4E82-858E-870868436FA4}"/>
          </ac:spMkLst>
        </pc:spChg>
        <pc:spChg chg="mod">
          <ac:chgData name="Zenos Zenica" userId="de3ee720dba36952" providerId="Windows Live" clId="Web-{87EC33F8-20F9-4A9B-8B0C-47C86D280FAD}" dt="2020-11-23T09:57:12.191" v="706" actId="1076"/>
          <ac:spMkLst>
            <pc:docMk/>
            <pc:sldMk cId="3339269484" sldId="338"/>
            <ac:spMk id="9" creationId="{7926C7F8-FD8D-412D-934E-84DD69B312B5}"/>
          </ac:spMkLst>
        </pc:spChg>
        <pc:spChg chg="mod">
          <ac:chgData name="Zenos Zenica" userId="de3ee720dba36952" providerId="Windows Live" clId="Web-{87EC33F8-20F9-4A9B-8B0C-47C86D280FAD}" dt="2020-11-23T09:57:12.223" v="707" actId="1076"/>
          <ac:spMkLst>
            <pc:docMk/>
            <pc:sldMk cId="3339269484" sldId="338"/>
            <ac:spMk id="11" creationId="{3A5594C2-1E3E-4291-9129-C3A085C3DA8E}"/>
          </ac:spMkLst>
        </pc:spChg>
        <pc:spChg chg="mod">
          <ac:chgData name="Zenos Zenica" userId="de3ee720dba36952" providerId="Windows Live" clId="Web-{87EC33F8-20F9-4A9B-8B0C-47C86D280FAD}" dt="2020-11-23T09:57:37.833" v="769"/>
          <ac:spMkLst>
            <pc:docMk/>
            <pc:sldMk cId="3339269484" sldId="338"/>
            <ac:spMk id="12" creationId="{4CA5A7F4-79DA-4F54-9C1A-80DB48EE45CC}"/>
          </ac:spMkLst>
        </pc:spChg>
        <pc:spChg chg="mod">
          <ac:chgData name="Zenos Zenica" userId="de3ee720dba36952" providerId="Windows Live" clId="Web-{87EC33F8-20F9-4A9B-8B0C-47C86D280FAD}" dt="2020-11-23T09:57:37.770" v="766"/>
          <ac:spMkLst>
            <pc:docMk/>
            <pc:sldMk cId="3339269484" sldId="338"/>
            <ac:spMk id="13" creationId="{3D92640E-971F-4EF2-A920-262094760C77}"/>
          </ac:spMkLst>
        </pc:spChg>
        <pc:spChg chg="mod">
          <ac:chgData name="Zenos Zenica" userId="de3ee720dba36952" providerId="Windows Live" clId="Web-{87EC33F8-20F9-4A9B-8B0C-47C86D280FAD}" dt="2020-11-23T09:57:37.864" v="770"/>
          <ac:spMkLst>
            <pc:docMk/>
            <pc:sldMk cId="3339269484" sldId="338"/>
            <ac:spMk id="14" creationId="{A6B27BEF-B0BE-46C8-9F9C-DA90B7BA119B}"/>
          </ac:spMkLst>
        </pc:spChg>
        <pc:spChg chg="mod">
          <ac:chgData name="Zenos Zenica" userId="de3ee720dba36952" providerId="Windows Live" clId="Web-{87EC33F8-20F9-4A9B-8B0C-47C86D280FAD}" dt="2020-11-23T09:57:37.895" v="771"/>
          <ac:spMkLst>
            <pc:docMk/>
            <pc:sldMk cId="3339269484" sldId="338"/>
            <ac:spMk id="15" creationId="{C9955025-9C8B-4B84-8FFE-EB55C634A7C8}"/>
          </ac:spMkLst>
        </pc:spChg>
        <pc:spChg chg="mod">
          <ac:chgData name="Zenos Zenica" userId="de3ee720dba36952" providerId="Windows Live" clId="Web-{87EC33F8-20F9-4A9B-8B0C-47C86D280FAD}" dt="2020-11-23T09:57:37.911" v="772"/>
          <ac:spMkLst>
            <pc:docMk/>
            <pc:sldMk cId="3339269484" sldId="338"/>
            <ac:spMk id="16" creationId="{7F4DD27C-E5D1-4062-B8A8-137F33C55EA7}"/>
          </ac:spMkLst>
        </pc:spChg>
        <pc:spChg chg="mod">
          <ac:chgData name="Zenos Zenica" userId="de3ee720dba36952" providerId="Windows Live" clId="Web-{87EC33F8-20F9-4A9B-8B0C-47C86D280FAD}" dt="2020-11-23T09:57:37.942" v="773"/>
          <ac:spMkLst>
            <pc:docMk/>
            <pc:sldMk cId="3339269484" sldId="338"/>
            <ac:spMk id="17" creationId="{D32FF549-170C-4C50-9807-AF048FB42FD1}"/>
          </ac:spMkLst>
        </pc:spChg>
        <pc:spChg chg="mod">
          <ac:chgData name="Zenos Zenica" userId="de3ee720dba36952" providerId="Windows Live" clId="Web-{87EC33F8-20F9-4A9B-8B0C-47C86D280FAD}" dt="2020-11-23T09:59:00.164" v="795" actId="1076"/>
          <ac:spMkLst>
            <pc:docMk/>
            <pc:sldMk cId="3339269484" sldId="338"/>
            <ac:spMk id="18" creationId="{F2E7F9C6-4FF5-4F56-AE82-6D243BD5BAF0}"/>
          </ac:spMkLst>
        </pc:spChg>
        <pc:spChg chg="mod">
          <ac:chgData name="Zenos Zenica" userId="de3ee720dba36952" providerId="Windows Live" clId="Web-{87EC33F8-20F9-4A9B-8B0C-47C86D280FAD}" dt="2020-11-23T09:59:23.274" v="796" actId="1076"/>
          <ac:spMkLst>
            <pc:docMk/>
            <pc:sldMk cId="3339269484" sldId="338"/>
            <ac:spMk id="19" creationId="{EDB86EC3-2D25-4E95-A0D2-817022D7628E}"/>
          </ac:spMkLst>
        </pc:spChg>
        <pc:spChg chg="mod">
          <ac:chgData name="Zenos Zenica" userId="de3ee720dba36952" providerId="Windows Live" clId="Web-{87EC33F8-20F9-4A9B-8B0C-47C86D280FAD}" dt="2020-11-23T09:57:37.786" v="767"/>
          <ac:spMkLst>
            <pc:docMk/>
            <pc:sldMk cId="3339269484" sldId="338"/>
            <ac:spMk id="31" creationId="{541219AF-7231-4D85-AEEA-84AB564D7731}"/>
          </ac:spMkLst>
        </pc:spChg>
        <pc:spChg chg="mod">
          <ac:chgData name="Zenos Zenica" userId="de3ee720dba36952" providerId="Windows Live" clId="Web-{87EC33F8-20F9-4A9B-8B0C-47C86D280FAD}" dt="2020-11-23T09:57:38.020" v="776"/>
          <ac:spMkLst>
            <pc:docMk/>
            <pc:sldMk cId="3339269484" sldId="338"/>
            <ac:spMk id="32" creationId="{EA0BC6A4-4511-49F4-AAAC-3EDC0F0ECDF7}"/>
          </ac:spMkLst>
        </pc:spChg>
        <pc:spChg chg="mod">
          <ac:chgData name="Zenos Zenica" userId="de3ee720dba36952" providerId="Windows Live" clId="Web-{87EC33F8-20F9-4A9B-8B0C-47C86D280FAD}" dt="2020-11-23T09:57:37.817" v="768"/>
          <ac:spMkLst>
            <pc:docMk/>
            <pc:sldMk cId="3339269484" sldId="338"/>
            <ac:spMk id="33" creationId="{AF55BD10-3706-4355-B254-BEEDFC25B39B}"/>
          </ac:spMkLst>
        </pc:spChg>
        <pc:spChg chg="mod">
          <ac:chgData name="Zenos Zenica" userId="de3ee720dba36952" providerId="Windows Live" clId="Web-{87EC33F8-20F9-4A9B-8B0C-47C86D280FAD}" dt="2020-11-23T09:57:38.036" v="777"/>
          <ac:spMkLst>
            <pc:docMk/>
            <pc:sldMk cId="3339269484" sldId="338"/>
            <ac:spMk id="34" creationId="{69EBEA4B-F480-40C6-8763-63BCBFB0B2EE}"/>
          </ac:spMkLst>
        </pc:spChg>
        <pc:spChg chg="mod">
          <ac:chgData name="Zenos Zenica" userId="de3ee720dba36952" providerId="Windows Live" clId="Web-{87EC33F8-20F9-4A9B-8B0C-47C86D280FAD}" dt="2020-11-23T09:57:38.067" v="778"/>
          <ac:spMkLst>
            <pc:docMk/>
            <pc:sldMk cId="3339269484" sldId="338"/>
            <ac:spMk id="35" creationId="{CD656288-28BA-4D67-9430-3E342764AA04}"/>
          </ac:spMkLst>
        </pc:spChg>
        <pc:spChg chg="mod">
          <ac:chgData name="Zenos Zenica" userId="de3ee720dba36952" providerId="Windows Live" clId="Web-{87EC33F8-20F9-4A9B-8B0C-47C86D280FAD}" dt="2020-11-23T09:57:38.098" v="779"/>
          <ac:spMkLst>
            <pc:docMk/>
            <pc:sldMk cId="3339269484" sldId="338"/>
            <ac:spMk id="36" creationId="{A1BD55F8-211E-4282-A9EF-9E433E8858F2}"/>
          </ac:spMkLst>
        </pc:spChg>
        <pc:spChg chg="mod">
          <ac:chgData name="Zenos Zenica" userId="de3ee720dba36952" providerId="Windows Live" clId="Web-{87EC33F8-20F9-4A9B-8B0C-47C86D280FAD}" dt="2020-11-23T09:57:38.114" v="780"/>
          <ac:spMkLst>
            <pc:docMk/>
            <pc:sldMk cId="3339269484" sldId="338"/>
            <ac:spMk id="37" creationId="{A3F0BEAD-3DCB-4B2B-A045-88A5FF4A7EA2}"/>
          </ac:spMkLst>
        </pc:spChg>
        <pc:spChg chg="mod">
          <ac:chgData name="Zenos Zenica" userId="de3ee720dba36952" providerId="Windows Live" clId="Web-{87EC33F8-20F9-4A9B-8B0C-47C86D280FAD}" dt="2020-11-23T09:57:38.145" v="781"/>
          <ac:spMkLst>
            <pc:docMk/>
            <pc:sldMk cId="3339269484" sldId="338"/>
            <ac:spMk id="38" creationId="{66E5971D-93E9-4F8B-AE27-23B099D5AD33}"/>
          </ac:spMkLst>
        </pc:spChg>
        <pc:spChg chg="mod">
          <ac:chgData name="Zenos Zenica" userId="de3ee720dba36952" providerId="Windows Live" clId="Web-{87EC33F8-20F9-4A9B-8B0C-47C86D280FAD}" dt="2020-11-23T09:57:38.177" v="782"/>
          <ac:spMkLst>
            <pc:docMk/>
            <pc:sldMk cId="3339269484" sldId="338"/>
            <ac:spMk id="39" creationId="{A6410869-2043-4D10-97B2-0624AF83C68C}"/>
          </ac:spMkLst>
        </pc:spChg>
        <pc:spChg chg="mod">
          <ac:chgData name="Zenos Zenica" userId="de3ee720dba36952" providerId="Windows Live" clId="Web-{87EC33F8-20F9-4A9B-8B0C-47C86D280FAD}" dt="2020-11-23T09:57:38.192" v="783"/>
          <ac:spMkLst>
            <pc:docMk/>
            <pc:sldMk cId="3339269484" sldId="338"/>
            <ac:spMk id="40" creationId="{4F4EB2D6-AD44-4BA5-BADC-A0A930AFB7C7}"/>
          </ac:spMkLst>
        </pc:spChg>
        <pc:spChg chg="mod">
          <ac:chgData name="Zenos Zenica" userId="de3ee720dba36952" providerId="Windows Live" clId="Web-{87EC33F8-20F9-4A9B-8B0C-47C86D280FAD}" dt="2020-11-23T09:57:38.223" v="784"/>
          <ac:spMkLst>
            <pc:docMk/>
            <pc:sldMk cId="3339269484" sldId="338"/>
            <ac:spMk id="41" creationId="{433EC9BD-65B1-4D37-B427-D8FB4F315BB9}"/>
          </ac:spMkLst>
        </pc:spChg>
        <pc:spChg chg="mod">
          <ac:chgData name="Zenos Zenica" userId="de3ee720dba36952" providerId="Windows Live" clId="Web-{87EC33F8-20F9-4A9B-8B0C-47C86D280FAD}" dt="2020-11-23T09:57:38.239" v="785"/>
          <ac:spMkLst>
            <pc:docMk/>
            <pc:sldMk cId="3339269484" sldId="338"/>
            <ac:spMk id="42" creationId="{4BECA545-7965-49FB-B838-1397AEE572F8}"/>
          </ac:spMkLst>
        </pc:spChg>
        <pc:spChg chg="mod">
          <ac:chgData name="Zenos Zenica" userId="de3ee720dba36952" providerId="Windows Live" clId="Web-{87EC33F8-20F9-4A9B-8B0C-47C86D280FAD}" dt="2020-11-23T09:57:38.270" v="786"/>
          <ac:spMkLst>
            <pc:docMk/>
            <pc:sldMk cId="3339269484" sldId="338"/>
            <ac:spMk id="43" creationId="{723CDEF9-51B3-4030-8645-A97C2414595B}"/>
          </ac:spMkLst>
        </pc:spChg>
        <pc:spChg chg="mod">
          <ac:chgData name="Zenos Zenica" userId="de3ee720dba36952" providerId="Windows Live" clId="Web-{87EC33F8-20F9-4A9B-8B0C-47C86D280FAD}" dt="2020-11-23T09:57:38.302" v="787"/>
          <ac:spMkLst>
            <pc:docMk/>
            <pc:sldMk cId="3339269484" sldId="338"/>
            <ac:spMk id="44" creationId="{BDB70FC9-AFAF-4C13-8EC0-2CCCFE3A839A}"/>
          </ac:spMkLst>
        </pc:spChg>
        <pc:spChg chg="mod">
          <ac:chgData name="Zenos Zenica" userId="de3ee720dba36952" providerId="Windows Live" clId="Web-{87EC33F8-20F9-4A9B-8B0C-47C86D280FAD}" dt="2020-11-23T09:57:38.333" v="788"/>
          <ac:spMkLst>
            <pc:docMk/>
            <pc:sldMk cId="3339269484" sldId="338"/>
            <ac:spMk id="45" creationId="{24DE69D9-CB2E-4B15-A171-A1C731F20958}"/>
          </ac:spMkLst>
        </pc:spChg>
        <pc:spChg chg="mod">
          <ac:chgData name="Zenos Zenica" userId="de3ee720dba36952" providerId="Windows Live" clId="Web-{87EC33F8-20F9-4A9B-8B0C-47C86D280FAD}" dt="2020-11-23T09:57:38.348" v="789"/>
          <ac:spMkLst>
            <pc:docMk/>
            <pc:sldMk cId="3339269484" sldId="338"/>
            <ac:spMk id="46" creationId="{271FAAC0-6CFD-43AD-840A-DF329A02722A}"/>
          </ac:spMkLst>
        </pc:spChg>
        <pc:spChg chg="mod">
          <ac:chgData name="Zenos Zenica" userId="de3ee720dba36952" providerId="Windows Live" clId="Web-{87EC33F8-20F9-4A9B-8B0C-47C86D280FAD}" dt="2020-11-23T09:57:38.380" v="790"/>
          <ac:spMkLst>
            <pc:docMk/>
            <pc:sldMk cId="3339269484" sldId="338"/>
            <ac:spMk id="47" creationId="{4E90BEB9-2F27-4213-A751-C4144271E858}"/>
          </ac:spMkLst>
        </pc:spChg>
        <pc:cxnChg chg="mod">
          <ac:chgData name="Zenos Zenica" userId="de3ee720dba36952" providerId="Windows Live" clId="Web-{87EC33F8-20F9-4A9B-8B0C-47C86D280FAD}" dt="2020-11-23T09:57:12.145" v="704" actId="1076"/>
          <ac:cxnSpMkLst>
            <pc:docMk/>
            <pc:sldMk cId="3339269484" sldId="338"/>
            <ac:cxnSpMk id="7" creationId="{603779D5-5B18-48BC-94DA-0EF1783FE7BF}"/>
          </ac:cxnSpMkLst>
        </pc:cxnChg>
        <pc:cxnChg chg="mod">
          <ac:chgData name="Zenos Zenica" userId="de3ee720dba36952" providerId="Windows Live" clId="Web-{87EC33F8-20F9-4A9B-8B0C-47C86D280FAD}" dt="2020-11-23T10:00:54.980" v="804" actId="14100"/>
          <ac:cxnSpMkLst>
            <pc:docMk/>
            <pc:sldMk cId="3339269484" sldId="338"/>
            <ac:cxnSpMk id="20" creationId="{5AEF793C-7643-4AB8-A064-B13AB4AECAD4}"/>
          </ac:cxnSpMkLst>
        </pc:cxnChg>
        <pc:cxnChg chg="mod">
          <ac:chgData name="Zenos Zenica" userId="de3ee720dba36952" providerId="Windows Live" clId="Web-{87EC33F8-20F9-4A9B-8B0C-47C86D280FAD}" dt="2020-11-23T10:00:58.589" v="805" actId="14100"/>
          <ac:cxnSpMkLst>
            <pc:docMk/>
            <pc:sldMk cId="3339269484" sldId="338"/>
            <ac:cxnSpMk id="21" creationId="{E4FF55ED-CFC1-4C92-BD68-5EDBB930BFE7}"/>
          </ac:cxnSpMkLst>
        </pc:cxnChg>
        <pc:cxnChg chg="mod">
          <ac:chgData name="Zenos Zenica" userId="de3ee720dba36952" providerId="Windows Live" clId="Web-{87EC33F8-20F9-4A9B-8B0C-47C86D280FAD}" dt="2020-11-23T10:01:05.215" v="807" actId="14100"/>
          <ac:cxnSpMkLst>
            <pc:docMk/>
            <pc:sldMk cId="3339269484" sldId="338"/>
            <ac:cxnSpMk id="22" creationId="{8F597672-0665-4195-A210-D7632E3B8951}"/>
          </ac:cxnSpMkLst>
        </pc:cxnChg>
        <pc:cxnChg chg="mod">
          <ac:chgData name="Zenos Zenica" userId="de3ee720dba36952" providerId="Windows Live" clId="Web-{87EC33F8-20F9-4A9B-8B0C-47C86D280FAD}" dt="2020-11-23T10:00:50.245" v="803" actId="14100"/>
          <ac:cxnSpMkLst>
            <pc:docMk/>
            <pc:sldMk cId="3339269484" sldId="338"/>
            <ac:cxnSpMk id="23" creationId="{5325C71B-D438-4169-81DC-B8D92B0C4F9B}"/>
          </ac:cxnSpMkLst>
        </pc:cxnChg>
        <pc:cxnChg chg="mod">
          <ac:chgData name="Zenos Zenica" userId="de3ee720dba36952" providerId="Windows Live" clId="Web-{87EC33F8-20F9-4A9B-8B0C-47C86D280FAD}" dt="2020-11-23T09:57:12.535" v="720" actId="1076"/>
          <ac:cxnSpMkLst>
            <pc:docMk/>
            <pc:sldMk cId="3339269484" sldId="338"/>
            <ac:cxnSpMk id="24" creationId="{1828C4E9-0FD4-475F-BD87-23EC688AAD27}"/>
          </ac:cxnSpMkLst>
        </pc:cxnChg>
        <pc:cxnChg chg="mod">
          <ac:chgData name="Zenos Zenica" userId="de3ee720dba36952" providerId="Windows Live" clId="Web-{87EC33F8-20F9-4A9B-8B0C-47C86D280FAD}" dt="2020-11-23T09:57:12.551" v="721" actId="1076"/>
          <ac:cxnSpMkLst>
            <pc:docMk/>
            <pc:sldMk cId="3339269484" sldId="338"/>
            <ac:cxnSpMk id="25" creationId="{EE8435AB-358C-4DA9-94CC-5D9D0EC43299}"/>
          </ac:cxnSpMkLst>
        </pc:cxnChg>
        <pc:cxnChg chg="mod">
          <ac:chgData name="Zenos Zenica" userId="de3ee720dba36952" providerId="Windows Live" clId="Web-{87EC33F8-20F9-4A9B-8B0C-47C86D280FAD}" dt="2020-11-23T09:57:12.566" v="722" actId="1076"/>
          <ac:cxnSpMkLst>
            <pc:docMk/>
            <pc:sldMk cId="3339269484" sldId="338"/>
            <ac:cxnSpMk id="26" creationId="{74AF5596-0F4E-4927-A373-C83AB7B182AB}"/>
          </ac:cxnSpMkLst>
        </pc:cxnChg>
        <pc:cxnChg chg="mod">
          <ac:chgData name="Zenos Zenica" userId="de3ee720dba36952" providerId="Windows Live" clId="Web-{87EC33F8-20F9-4A9B-8B0C-47C86D280FAD}" dt="2020-11-23T09:57:12.598" v="723" actId="1076"/>
          <ac:cxnSpMkLst>
            <pc:docMk/>
            <pc:sldMk cId="3339269484" sldId="338"/>
            <ac:cxnSpMk id="27" creationId="{5FA714B1-84F5-4F20-9CDE-5E1D3E206DBC}"/>
          </ac:cxnSpMkLst>
        </pc:cxnChg>
        <pc:cxnChg chg="mod">
          <ac:chgData name="Zenos Zenica" userId="de3ee720dba36952" providerId="Windows Live" clId="Web-{87EC33F8-20F9-4A9B-8B0C-47C86D280FAD}" dt="2020-11-23T09:57:12.613" v="724" actId="1076"/>
          <ac:cxnSpMkLst>
            <pc:docMk/>
            <pc:sldMk cId="3339269484" sldId="338"/>
            <ac:cxnSpMk id="28" creationId="{2C8168A5-670E-423A-BE63-D562F301A42F}"/>
          </ac:cxnSpMkLst>
        </pc:cxnChg>
        <pc:cxnChg chg="mod">
          <ac:chgData name="Zenos Zenica" userId="de3ee720dba36952" providerId="Windows Live" clId="Web-{87EC33F8-20F9-4A9B-8B0C-47C86D280FAD}" dt="2020-11-23T09:56:11.768" v="678" actId="1076"/>
          <ac:cxnSpMkLst>
            <pc:docMk/>
            <pc:sldMk cId="3339269484" sldId="338"/>
            <ac:cxnSpMk id="29" creationId="{13B092AE-FC8C-47FC-BC0B-063B5FCE2355}"/>
          </ac:cxnSpMkLst>
        </pc:cxnChg>
        <pc:cxnChg chg="mod">
          <ac:chgData name="Zenos Zenica" userId="de3ee720dba36952" providerId="Windows Live" clId="Web-{87EC33F8-20F9-4A9B-8B0C-47C86D280FAD}" dt="2020-11-23T09:56:11.799" v="679" actId="1076"/>
          <ac:cxnSpMkLst>
            <pc:docMk/>
            <pc:sldMk cId="3339269484" sldId="338"/>
            <ac:cxnSpMk id="30" creationId="{6F5038EE-DD07-455F-B13D-D39553987A31}"/>
          </ac:cxnSpMkLst>
        </pc:cxnChg>
        <pc:cxnChg chg="mod">
          <ac:chgData name="Zenos Zenica" userId="de3ee720dba36952" providerId="Windows Live" clId="Web-{87EC33F8-20F9-4A9B-8B0C-47C86D280FAD}" dt="2020-11-23T09:57:13.051" v="742" actId="1076"/>
          <ac:cxnSpMkLst>
            <pc:docMk/>
            <pc:sldMk cId="3339269484" sldId="338"/>
            <ac:cxnSpMk id="86" creationId="{984B88F0-B36A-40C8-9C6B-15511BDFF620}"/>
          </ac:cxnSpMkLst>
        </pc:cxnChg>
        <pc:cxnChg chg="mod">
          <ac:chgData name="Zenos Zenica" userId="de3ee720dba36952" providerId="Windows Live" clId="Web-{87EC33F8-20F9-4A9B-8B0C-47C86D280FAD}" dt="2020-11-23T09:57:13.066" v="743" actId="1076"/>
          <ac:cxnSpMkLst>
            <pc:docMk/>
            <pc:sldMk cId="3339269484" sldId="338"/>
            <ac:cxnSpMk id="97" creationId="{94E2AD73-98BA-4F73-B917-257DDBEE707E}"/>
          </ac:cxnSpMkLst>
        </pc:cxnChg>
      </pc:sldChg>
      <pc:sldChg chg="modSp add">
        <pc:chgData name="Zenos Zenica" userId="de3ee720dba36952" providerId="Windows Live" clId="Web-{87EC33F8-20F9-4A9B-8B0C-47C86D280FAD}" dt="2020-11-23T11:48:47.758" v="1521" actId="20577"/>
        <pc:sldMkLst>
          <pc:docMk/>
          <pc:sldMk cId="2946432182" sldId="339"/>
        </pc:sldMkLst>
        <pc:spChg chg="mod">
          <ac:chgData name="Zenos Zenica" userId="de3ee720dba36952" providerId="Windows Live" clId="Web-{87EC33F8-20F9-4A9B-8B0C-47C86D280FAD}" dt="2020-11-23T10:06:05.254" v="854" actId="1076"/>
          <ac:spMkLst>
            <pc:docMk/>
            <pc:sldMk cId="2946432182" sldId="339"/>
            <ac:spMk id="4" creationId="{B8CB9108-1583-4A1C-846B-3263D00D0833}"/>
          </ac:spMkLst>
        </pc:spChg>
        <pc:spChg chg="mod">
          <ac:chgData name="Zenos Zenica" userId="de3ee720dba36952" providerId="Windows Live" clId="Web-{87EC33F8-20F9-4A9B-8B0C-47C86D280FAD}" dt="2020-11-23T11:48:47.758" v="1521" actId="20577"/>
          <ac:spMkLst>
            <pc:docMk/>
            <pc:sldMk cId="2946432182" sldId="339"/>
            <ac:spMk id="5" creationId="{CF6E12EC-3064-424E-99AB-27EF93034598}"/>
          </ac:spMkLst>
        </pc:spChg>
        <pc:spChg chg="mod">
          <ac:chgData name="Zenos Zenica" userId="de3ee720dba36952" providerId="Windows Live" clId="Web-{87EC33F8-20F9-4A9B-8B0C-47C86D280FAD}" dt="2020-11-23T11:48:40.898" v="1520" actId="20577"/>
          <ac:spMkLst>
            <pc:docMk/>
            <pc:sldMk cId="2946432182" sldId="339"/>
            <ac:spMk id="49" creationId="{F6313C2A-A173-48F9-B296-F2E25D12908F}"/>
          </ac:spMkLst>
        </pc:spChg>
        <pc:spChg chg="mod">
          <ac:chgData name="Zenos Zenica" userId="de3ee720dba36952" providerId="Windows Live" clId="Web-{87EC33F8-20F9-4A9B-8B0C-47C86D280FAD}" dt="2020-11-23T11:48:36.132" v="1519" actId="20577"/>
          <ac:spMkLst>
            <pc:docMk/>
            <pc:sldMk cId="2946432182" sldId="339"/>
            <ac:spMk id="50" creationId="{3BF69443-F382-4888-B9D3-6A5DFD9B0C83}"/>
          </ac:spMkLst>
        </pc:spChg>
        <pc:spChg chg="mod">
          <ac:chgData name="Zenos Zenica" userId="de3ee720dba36952" providerId="Windows Live" clId="Web-{87EC33F8-20F9-4A9B-8B0C-47C86D280FAD}" dt="2020-11-23T11:46:51.020" v="1507" actId="14100"/>
          <ac:spMkLst>
            <pc:docMk/>
            <pc:sldMk cId="2946432182" sldId="339"/>
            <ac:spMk id="51" creationId="{E87835AB-937C-4B61-A780-46F0B814AF1C}"/>
          </ac:spMkLst>
        </pc:spChg>
        <pc:spChg chg="mod">
          <ac:chgData name="Zenos Zenica" userId="de3ee720dba36952" providerId="Windows Live" clId="Web-{87EC33F8-20F9-4A9B-8B0C-47C86D280FAD}" dt="2020-11-23T11:46:48.208" v="1506" actId="14100"/>
          <ac:spMkLst>
            <pc:docMk/>
            <pc:sldMk cId="2946432182" sldId="339"/>
            <ac:spMk id="52" creationId="{20D934C4-EC05-441C-A2E0-DC6DA1643DD4}"/>
          </ac:spMkLst>
        </pc:spChg>
        <pc:spChg chg="mod">
          <ac:chgData name="Zenos Zenica" userId="de3ee720dba36952" providerId="Windows Live" clId="Web-{87EC33F8-20F9-4A9B-8B0C-47C86D280FAD}" dt="2020-11-23T11:46:43.926" v="1505" actId="14100"/>
          <ac:spMkLst>
            <pc:docMk/>
            <pc:sldMk cId="2946432182" sldId="339"/>
            <ac:spMk id="53" creationId="{D2B2C36F-4CBC-4513-B303-9866FF356EEC}"/>
          </ac:spMkLst>
        </pc:spChg>
        <pc:spChg chg="mod">
          <ac:chgData name="Zenos Zenica" userId="de3ee720dba36952" providerId="Windows Live" clId="Web-{87EC33F8-20F9-4A9B-8B0C-47C86D280FAD}" dt="2020-11-23T11:48:00.210" v="1514" actId="20577"/>
          <ac:spMkLst>
            <pc:docMk/>
            <pc:sldMk cId="2946432182" sldId="339"/>
            <ac:spMk id="54" creationId="{94EB0462-59E0-413A-9534-0A3F498AA1EE}"/>
          </ac:spMkLst>
        </pc:spChg>
        <pc:spChg chg="mod">
          <ac:chgData name="Zenos Zenica" userId="de3ee720dba36952" providerId="Windows Live" clId="Web-{87EC33F8-20F9-4A9B-8B0C-47C86D280FAD}" dt="2020-11-23T11:48:05.553" v="1515" actId="20577"/>
          <ac:spMkLst>
            <pc:docMk/>
            <pc:sldMk cId="2946432182" sldId="339"/>
            <ac:spMk id="55" creationId="{7421CE5F-EC57-4ECB-8C46-6192C30470D5}"/>
          </ac:spMkLst>
        </pc:spChg>
        <pc:spChg chg="mod">
          <ac:chgData name="Zenos Zenica" userId="de3ee720dba36952" providerId="Windows Live" clId="Web-{87EC33F8-20F9-4A9B-8B0C-47C86D280FAD}" dt="2020-11-23T11:48:11.569" v="1516" actId="20577"/>
          <ac:spMkLst>
            <pc:docMk/>
            <pc:sldMk cId="2946432182" sldId="339"/>
            <ac:spMk id="56" creationId="{CB43238E-BF05-4C71-A60E-76AD72D04798}"/>
          </ac:spMkLst>
        </pc:spChg>
        <pc:spChg chg="mod">
          <ac:chgData name="Zenos Zenica" userId="de3ee720dba36952" providerId="Windows Live" clId="Web-{87EC33F8-20F9-4A9B-8B0C-47C86D280FAD}" dt="2020-11-23T11:48:17.851" v="1517" actId="20577"/>
          <ac:spMkLst>
            <pc:docMk/>
            <pc:sldMk cId="2946432182" sldId="339"/>
            <ac:spMk id="57" creationId="{B9CBDAD9-C1FF-4546-A96F-4B0EE2025BD4}"/>
          </ac:spMkLst>
        </pc:spChg>
        <pc:spChg chg="mod">
          <ac:chgData name="Zenos Zenica" userId="de3ee720dba36952" providerId="Windows Live" clId="Web-{87EC33F8-20F9-4A9B-8B0C-47C86D280FAD}" dt="2020-11-23T10:05:58.926" v="852" actId="20577"/>
          <ac:spMkLst>
            <pc:docMk/>
            <pc:sldMk cId="2946432182" sldId="339"/>
            <ac:spMk id="100" creationId="{56855E61-FBFA-4AA1-AF7A-5645026907FD}"/>
          </ac:spMkLst>
        </pc:spChg>
        <pc:cxnChg chg="mod">
          <ac:chgData name="Zenos Zenica" userId="de3ee720dba36952" providerId="Windows Live" clId="Web-{87EC33F8-20F9-4A9B-8B0C-47C86D280FAD}" dt="2020-11-23T11:46:09.222" v="1500" actId="14100"/>
          <ac:cxnSpMkLst>
            <pc:docMk/>
            <pc:sldMk cId="2946432182" sldId="339"/>
            <ac:cxnSpMk id="61" creationId="{79B2B378-83B9-4B61-8C14-250D32DACF65}"/>
          </ac:cxnSpMkLst>
        </pc:cxnChg>
        <pc:cxnChg chg="mod">
          <ac:chgData name="Zenos Zenica" userId="de3ee720dba36952" providerId="Windows Live" clId="Web-{87EC33F8-20F9-4A9B-8B0C-47C86D280FAD}" dt="2020-11-23T11:45:58.159" v="1499" actId="14100"/>
          <ac:cxnSpMkLst>
            <pc:docMk/>
            <pc:sldMk cId="2946432182" sldId="339"/>
            <ac:cxnSpMk id="64" creationId="{C03B179C-E6B2-4D7C-B8B0-B278C6821ECB}"/>
          </ac:cxnSpMkLst>
        </pc:cxnChg>
        <pc:cxnChg chg="mod">
          <ac:chgData name="Zenos Zenica" userId="de3ee720dba36952" providerId="Windows Live" clId="Web-{87EC33F8-20F9-4A9B-8B0C-47C86D280FAD}" dt="2020-11-23T11:47:51.147" v="1513" actId="14100"/>
          <ac:cxnSpMkLst>
            <pc:docMk/>
            <pc:sldMk cId="2946432182" sldId="339"/>
            <ac:cxnSpMk id="67" creationId="{DF3163E7-A004-449E-8337-4BC1BDAA5800}"/>
          </ac:cxnSpMkLst>
        </pc:cxnChg>
        <pc:cxnChg chg="mod">
          <ac:chgData name="Zenos Zenica" userId="de3ee720dba36952" providerId="Windows Live" clId="Web-{87EC33F8-20F9-4A9B-8B0C-47C86D280FAD}" dt="2020-11-23T11:48:29.523" v="1518" actId="1076"/>
          <ac:cxnSpMkLst>
            <pc:docMk/>
            <pc:sldMk cId="2946432182" sldId="339"/>
            <ac:cxnSpMk id="70" creationId="{3A9B9856-BC87-43C0-BD0A-562B37CE1BDE}"/>
          </ac:cxnSpMkLst>
        </pc:cxnChg>
        <pc:cxnChg chg="mod">
          <ac:chgData name="Zenos Zenica" userId="de3ee720dba36952" providerId="Windows Live" clId="Web-{87EC33F8-20F9-4A9B-8B0C-47C86D280FAD}" dt="2020-11-23T11:46:43.926" v="1505" actId="14100"/>
          <ac:cxnSpMkLst>
            <pc:docMk/>
            <pc:sldMk cId="2946432182" sldId="339"/>
            <ac:cxnSpMk id="74" creationId="{542D386F-A12E-4182-98C2-A04ABB6B5ED5}"/>
          </ac:cxnSpMkLst>
        </pc:cxnChg>
        <pc:cxnChg chg="mod">
          <ac:chgData name="Zenos Zenica" userId="de3ee720dba36952" providerId="Windows Live" clId="Web-{87EC33F8-20F9-4A9B-8B0C-47C86D280FAD}" dt="2020-11-23T11:46:48.208" v="1506" actId="14100"/>
          <ac:cxnSpMkLst>
            <pc:docMk/>
            <pc:sldMk cId="2946432182" sldId="339"/>
            <ac:cxnSpMk id="77" creationId="{79A47B39-EB2F-4994-A1B3-39D0AB823CEC}"/>
          </ac:cxnSpMkLst>
        </pc:cxnChg>
        <pc:cxnChg chg="mod">
          <ac:chgData name="Zenos Zenica" userId="de3ee720dba36952" providerId="Windows Live" clId="Web-{87EC33F8-20F9-4A9B-8B0C-47C86D280FAD}" dt="2020-11-23T11:46:51.020" v="1507" actId="14100"/>
          <ac:cxnSpMkLst>
            <pc:docMk/>
            <pc:sldMk cId="2946432182" sldId="339"/>
            <ac:cxnSpMk id="80" creationId="{8073B33E-F516-4CFF-BA68-4302DB95D6AD}"/>
          </ac:cxnSpMkLst>
        </pc:cxnChg>
        <pc:cxnChg chg="mod">
          <ac:chgData name="Zenos Zenica" userId="de3ee720dba36952" providerId="Windows Live" clId="Web-{87EC33F8-20F9-4A9B-8B0C-47C86D280FAD}" dt="2020-11-23T11:47:51.147" v="1513" actId="14100"/>
          <ac:cxnSpMkLst>
            <pc:docMk/>
            <pc:sldMk cId="2946432182" sldId="339"/>
            <ac:cxnSpMk id="83" creationId="{86B86325-154A-4ED5-BA1A-B90C5C52310C}"/>
          </ac:cxnSpMkLst>
        </pc:cxnChg>
        <pc:cxnChg chg="mod">
          <ac:chgData name="Zenos Zenica" userId="de3ee720dba36952" providerId="Windows Live" clId="Web-{87EC33F8-20F9-4A9B-8B0C-47C86D280FAD}" dt="2020-11-23T11:46:21.066" v="1501" actId="14100"/>
          <ac:cxnSpMkLst>
            <pc:docMk/>
            <pc:sldMk cId="2946432182" sldId="339"/>
            <ac:cxnSpMk id="103" creationId="{8D5ECE90-0ED7-4F05-A0CA-A8A1866C9187}"/>
          </ac:cxnSpMkLst>
        </pc:cxnChg>
      </pc:sldChg>
      <pc:sldChg chg="modSp add">
        <pc:chgData name="Zenos Zenica" userId="de3ee720dba36952" providerId="Windows Live" clId="Web-{87EC33F8-20F9-4A9B-8B0C-47C86D280FAD}" dt="2020-11-23T10:08:17.789" v="898" actId="1076"/>
        <pc:sldMkLst>
          <pc:docMk/>
          <pc:sldMk cId="1215170767" sldId="340"/>
        </pc:sldMkLst>
        <pc:spChg chg="mod">
          <ac:chgData name="Zenos Zenica" userId="de3ee720dba36952" providerId="Windows Live" clId="Web-{87EC33F8-20F9-4A9B-8B0C-47C86D280FAD}" dt="2020-11-23T10:07:21.366" v="886" actId="1076"/>
          <ac:spMkLst>
            <pc:docMk/>
            <pc:sldMk cId="1215170767" sldId="340"/>
            <ac:spMk id="4" creationId="{B8CB9108-1583-4A1C-846B-3263D00D0833}"/>
          </ac:spMkLst>
        </pc:spChg>
        <pc:spChg chg="mod">
          <ac:chgData name="Zenos Zenica" userId="de3ee720dba36952" providerId="Windows Live" clId="Web-{87EC33F8-20F9-4A9B-8B0C-47C86D280FAD}" dt="2020-11-23T10:07:31.538" v="891"/>
          <ac:spMkLst>
            <pc:docMk/>
            <pc:sldMk cId="1215170767" sldId="340"/>
            <ac:spMk id="5" creationId="{CF6E12EC-3064-424E-99AB-27EF93034598}"/>
          </ac:spMkLst>
        </pc:spChg>
        <pc:spChg chg="mod">
          <ac:chgData name="Zenos Zenica" userId="de3ee720dba36952" providerId="Windows Live" clId="Web-{87EC33F8-20F9-4A9B-8B0C-47C86D280FAD}" dt="2020-11-23T10:07:31.569" v="893"/>
          <ac:spMkLst>
            <pc:docMk/>
            <pc:sldMk cId="1215170767" sldId="340"/>
            <ac:spMk id="30" creationId="{CB52A941-8526-411B-A506-44A1ABD1E91B}"/>
          </ac:spMkLst>
        </pc:spChg>
        <pc:spChg chg="mod">
          <ac:chgData name="Zenos Zenica" userId="de3ee720dba36952" providerId="Windows Live" clId="Web-{87EC33F8-20F9-4A9B-8B0C-47C86D280FAD}" dt="2020-11-23T10:07:31.585" v="894"/>
          <ac:spMkLst>
            <pc:docMk/>
            <pc:sldMk cId="1215170767" sldId="340"/>
            <ac:spMk id="31" creationId="{3D027F2A-C7BB-442C-BE44-DB66F4D99BEB}"/>
          </ac:spMkLst>
        </pc:spChg>
        <pc:spChg chg="mod">
          <ac:chgData name="Zenos Zenica" userId="de3ee720dba36952" providerId="Windows Live" clId="Web-{87EC33F8-20F9-4A9B-8B0C-47C86D280FAD}" dt="2020-11-23T10:07:45.741" v="895" actId="1076"/>
          <ac:spMkLst>
            <pc:docMk/>
            <pc:sldMk cId="1215170767" sldId="340"/>
            <ac:spMk id="32" creationId="{F018B139-7093-4A7C-9C0C-F33399D05A5B}"/>
          </ac:spMkLst>
        </pc:spChg>
        <pc:spChg chg="mod">
          <ac:chgData name="Zenos Zenica" userId="de3ee720dba36952" providerId="Windows Live" clId="Web-{87EC33F8-20F9-4A9B-8B0C-47C86D280FAD}" dt="2020-11-23T10:08:08.383" v="896" actId="1076"/>
          <ac:spMkLst>
            <pc:docMk/>
            <pc:sldMk cId="1215170767" sldId="340"/>
            <ac:spMk id="33" creationId="{81C8664D-65B7-4E46-B309-63E75FA4E9F2}"/>
          </ac:spMkLst>
        </pc:spChg>
        <pc:spChg chg="mod">
          <ac:chgData name="Zenos Zenica" userId="de3ee720dba36952" providerId="Windows Live" clId="Web-{87EC33F8-20F9-4A9B-8B0C-47C86D280FAD}" dt="2020-11-23T10:08:13.445" v="897" actId="1076"/>
          <ac:spMkLst>
            <pc:docMk/>
            <pc:sldMk cId="1215170767" sldId="340"/>
            <ac:spMk id="34" creationId="{365AF5B4-2041-47CE-9087-5C8F30BDBAD3}"/>
          </ac:spMkLst>
        </pc:spChg>
        <pc:spChg chg="mod">
          <ac:chgData name="Zenos Zenica" userId="de3ee720dba36952" providerId="Windows Live" clId="Web-{87EC33F8-20F9-4A9B-8B0C-47C86D280FAD}" dt="2020-11-23T10:08:17.789" v="898" actId="1076"/>
          <ac:spMkLst>
            <pc:docMk/>
            <pc:sldMk cId="1215170767" sldId="340"/>
            <ac:spMk id="35" creationId="{3DF426D4-10A2-4A28-8CDC-C88E76EDFB2B}"/>
          </ac:spMkLst>
        </pc:spChg>
        <pc:spChg chg="mod">
          <ac:chgData name="Zenos Zenica" userId="de3ee720dba36952" providerId="Windows Live" clId="Web-{87EC33F8-20F9-4A9B-8B0C-47C86D280FAD}" dt="2020-11-23T10:07:31.553" v="892"/>
          <ac:spMkLst>
            <pc:docMk/>
            <pc:sldMk cId="1215170767" sldId="340"/>
            <ac:spMk id="49" creationId="{F6313C2A-A173-48F9-B296-F2E25D12908F}"/>
          </ac:spMkLst>
        </pc:spChg>
        <pc:spChg chg="mod">
          <ac:chgData name="Zenos Zenica" userId="de3ee720dba36952" providerId="Windows Live" clId="Web-{87EC33F8-20F9-4A9B-8B0C-47C86D280FAD}" dt="2020-11-23T10:06:21.255" v="861" actId="1076"/>
          <ac:spMkLst>
            <pc:docMk/>
            <pc:sldMk cId="1215170767" sldId="340"/>
            <ac:spMk id="100" creationId="{56855E61-FBFA-4AA1-AF7A-5645026907FD}"/>
          </ac:spMkLst>
        </pc:spChg>
        <pc:cxnChg chg="mod">
          <ac:chgData name="Zenos Zenica" userId="de3ee720dba36952" providerId="Windows Live" clId="Web-{87EC33F8-20F9-4A9B-8B0C-47C86D280FAD}" dt="2020-11-23T10:06:21.286" v="864" actId="1076"/>
          <ac:cxnSpMkLst>
            <pc:docMk/>
            <pc:sldMk cId="1215170767" sldId="340"/>
            <ac:cxnSpMk id="7" creationId="{CB4BCE39-4255-4997-9BF0-DB788D061721}"/>
          </ac:cxnSpMkLst>
        </pc:cxnChg>
      </pc:sldChg>
      <pc:sldChg chg="modSp add">
        <pc:chgData name="Zenos Zenica" userId="de3ee720dba36952" providerId="Windows Live" clId="Web-{87EC33F8-20F9-4A9B-8B0C-47C86D280FAD}" dt="2020-11-23T10:11:09.325" v="946" actId="1076"/>
        <pc:sldMkLst>
          <pc:docMk/>
          <pc:sldMk cId="208483610" sldId="341"/>
        </pc:sldMkLst>
        <pc:spChg chg="mod">
          <ac:chgData name="Zenos Zenica" userId="de3ee720dba36952" providerId="Windows Live" clId="Web-{87EC33F8-20F9-4A9B-8B0C-47C86D280FAD}" dt="2020-11-23T10:10:25.105" v="931" actId="1076"/>
          <ac:spMkLst>
            <pc:docMk/>
            <pc:sldMk cId="208483610" sldId="341"/>
            <ac:spMk id="4" creationId="{B8CB9108-1583-4A1C-846B-3263D00D0833}"/>
          </ac:spMkLst>
        </pc:spChg>
        <pc:spChg chg="mod">
          <ac:chgData name="Zenos Zenica" userId="de3ee720dba36952" providerId="Windows Live" clId="Web-{87EC33F8-20F9-4A9B-8B0C-47C86D280FAD}" dt="2020-11-23T10:10:34.683" v="932"/>
          <ac:spMkLst>
            <pc:docMk/>
            <pc:sldMk cId="208483610" sldId="341"/>
            <ac:spMk id="15" creationId="{8EDE0225-25D9-4A5D-937B-C1B3B531F6B2}"/>
          </ac:spMkLst>
        </pc:spChg>
        <pc:spChg chg="mod">
          <ac:chgData name="Zenos Zenica" userId="de3ee720dba36952" providerId="Windows Live" clId="Web-{87EC33F8-20F9-4A9B-8B0C-47C86D280FAD}" dt="2020-11-23T10:10:34.746" v="933"/>
          <ac:spMkLst>
            <pc:docMk/>
            <pc:sldMk cId="208483610" sldId="341"/>
            <ac:spMk id="16" creationId="{16AE0FC8-7583-4919-A369-3E1B34DC5C04}"/>
          </ac:spMkLst>
        </pc:spChg>
        <pc:spChg chg="mod">
          <ac:chgData name="Zenos Zenica" userId="de3ee720dba36952" providerId="Windows Live" clId="Web-{87EC33F8-20F9-4A9B-8B0C-47C86D280FAD}" dt="2020-11-23T10:10:34.824" v="934"/>
          <ac:spMkLst>
            <pc:docMk/>
            <pc:sldMk cId="208483610" sldId="341"/>
            <ac:spMk id="17" creationId="{7E93E9F9-3FF7-4606-A59B-D8D903F0FDA9}"/>
          </ac:spMkLst>
        </pc:spChg>
        <pc:spChg chg="mod">
          <ac:chgData name="Zenos Zenica" userId="de3ee720dba36952" providerId="Windows Live" clId="Web-{87EC33F8-20F9-4A9B-8B0C-47C86D280FAD}" dt="2020-11-23T10:10:34.902" v="935"/>
          <ac:spMkLst>
            <pc:docMk/>
            <pc:sldMk cId="208483610" sldId="341"/>
            <ac:spMk id="18" creationId="{AEEBB382-01E1-4868-891D-33C37437EC4E}"/>
          </ac:spMkLst>
        </pc:spChg>
        <pc:spChg chg="mod">
          <ac:chgData name="Zenos Zenica" userId="de3ee720dba36952" providerId="Windows Live" clId="Web-{87EC33F8-20F9-4A9B-8B0C-47C86D280FAD}" dt="2020-11-23T10:10:34.965" v="936"/>
          <ac:spMkLst>
            <pc:docMk/>
            <pc:sldMk cId="208483610" sldId="341"/>
            <ac:spMk id="20" creationId="{062D07B8-00B6-4F0A-A8A6-5C88DCB3E2A3}"/>
          </ac:spMkLst>
        </pc:spChg>
        <pc:spChg chg="mod">
          <ac:chgData name="Zenos Zenica" userId="de3ee720dba36952" providerId="Windows Live" clId="Web-{87EC33F8-20F9-4A9B-8B0C-47C86D280FAD}" dt="2020-11-23T10:10:35.043" v="937"/>
          <ac:spMkLst>
            <pc:docMk/>
            <pc:sldMk cId="208483610" sldId="341"/>
            <ac:spMk id="21" creationId="{CF70DE15-9BE8-40DD-A4E0-E82287C12258}"/>
          </ac:spMkLst>
        </pc:spChg>
        <pc:spChg chg="mod">
          <ac:chgData name="Zenos Zenica" userId="de3ee720dba36952" providerId="Windows Live" clId="Web-{87EC33F8-20F9-4A9B-8B0C-47C86D280FAD}" dt="2020-11-23T10:11:03.169" v="945" actId="1076"/>
          <ac:spMkLst>
            <pc:docMk/>
            <pc:sldMk cId="208483610" sldId="341"/>
            <ac:spMk id="22" creationId="{D3DC1898-6275-4144-AE76-CED6333A4068}"/>
          </ac:spMkLst>
        </pc:spChg>
        <pc:spChg chg="mod">
          <ac:chgData name="Zenos Zenica" userId="de3ee720dba36952" providerId="Windows Live" clId="Web-{87EC33F8-20F9-4A9B-8B0C-47C86D280FAD}" dt="2020-11-23T10:11:09.325" v="946" actId="1076"/>
          <ac:spMkLst>
            <pc:docMk/>
            <pc:sldMk cId="208483610" sldId="341"/>
            <ac:spMk id="23" creationId="{175DD395-C0D3-4565-B465-BB6ECC957B3F}"/>
          </ac:spMkLst>
        </pc:spChg>
        <pc:spChg chg="mod">
          <ac:chgData name="Zenos Zenica" userId="de3ee720dba36952" providerId="Windows Live" clId="Web-{87EC33F8-20F9-4A9B-8B0C-47C86D280FAD}" dt="2020-11-23T10:10:35.262" v="940"/>
          <ac:spMkLst>
            <pc:docMk/>
            <pc:sldMk cId="208483610" sldId="341"/>
            <ac:spMk id="24" creationId="{3053E684-6E0D-45A0-9C61-C9628CBF964C}"/>
          </ac:spMkLst>
        </pc:spChg>
        <pc:spChg chg="mod">
          <ac:chgData name="Zenos Zenica" userId="de3ee720dba36952" providerId="Windows Live" clId="Web-{87EC33F8-20F9-4A9B-8B0C-47C86D280FAD}" dt="2020-11-23T10:10:44.902" v="944" actId="1076"/>
          <ac:spMkLst>
            <pc:docMk/>
            <pc:sldMk cId="208483610" sldId="341"/>
            <ac:spMk id="25" creationId="{2B63EF41-C744-40AC-9070-4071716CB85A}"/>
          </ac:spMkLst>
        </pc:spChg>
        <pc:spChg chg="mod">
          <ac:chgData name="Zenos Zenica" userId="de3ee720dba36952" providerId="Windows Live" clId="Web-{87EC33F8-20F9-4A9B-8B0C-47C86D280FAD}" dt="2020-11-23T10:10:35.402" v="942"/>
          <ac:spMkLst>
            <pc:docMk/>
            <pc:sldMk cId="208483610" sldId="341"/>
            <ac:spMk id="26" creationId="{C35268F3-A728-411A-B2B9-9925690FCD38}"/>
          </ac:spMkLst>
        </pc:spChg>
        <pc:spChg chg="mod">
          <ac:chgData name="Zenos Zenica" userId="de3ee720dba36952" providerId="Windows Live" clId="Web-{87EC33F8-20F9-4A9B-8B0C-47C86D280FAD}" dt="2020-11-23T10:10:35.480" v="943"/>
          <ac:spMkLst>
            <pc:docMk/>
            <pc:sldMk cId="208483610" sldId="341"/>
            <ac:spMk id="27" creationId="{63CF15F4-E96F-4DEC-B6F8-6B270256BC65}"/>
          </ac:spMkLst>
        </pc:spChg>
        <pc:spChg chg="mod">
          <ac:chgData name="Zenos Zenica" userId="de3ee720dba36952" providerId="Windows Live" clId="Web-{87EC33F8-20F9-4A9B-8B0C-47C86D280FAD}" dt="2020-11-23T10:10:22.386" v="930" actId="1076"/>
          <ac:spMkLst>
            <pc:docMk/>
            <pc:sldMk cId="208483610" sldId="341"/>
            <ac:spMk id="37" creationId="{86D52415-A876-4FD2-86D3-CCBAFB219034}"/>
          </ac:spMkLst>
        </pc:spChg>
        <pc:grpChg chg="mod">
          <ac:chgData name="Zenos Zenica" userId="de3ee720dba36952" providerId="Windows Live" clId="Web-{87EC33F8-20F9-4A9B-8B0C-47C86D280FAD}" dt="2020-11-23T10:08:38.805" v="899" actId="1076"/>
          <ac:grpSpMkLst>
            <pc:docMk/>
            <pc:sldMk cId="208483610" sldId="341"/>
            <ac:grpSpMk id="3" creationId="{90702F68-82C1-42CC-9582-7CD198FA5AC1}"/>
          </ac:grpSpMkLst>
        </pc:grpChg>
      </pc:sldChg>
      <pc:sldChg chg="modSp add">
        <pc:chgData name="Zenos Zenica" userId="de3ee720dba36952" providerId="Windows Live" clId="Web-{87EC33F8-20F9-4A9B-8B0C-47C86D280FAD}" dt="2020-11-23T10:13:41.564" v="989" actId="1076"/>
        <pc:sldMkLst>
          <pc:docMk/>
          <pc:sldMk cId="4099653127" sldId="342"/>
        </pc:sldMkLst>
        <pc:spChg chg="mod">
          <ac:chgData name="Zenos Zenica" userId="de3ee720dba36952" providerId="Windows Live" clId="Web-{87EC33F8-20F9-4A9B-8B0C-47C86D280FAD}" dt="2020-11-23T10:11:40.904" v="957" actId="1076"/>
          <ac:spMkLst>
            <pc:docMk/>
            <pc:sldMk cId="4099653127" sldId="342"/>
            <ac:spMk id="4" creationId="{B8CB9108-1583-4A1C-846B-3263D00D0833}"/>
          </ac:spMkLst>
        </pc:spChg>
        <pc:spChg chg="mod">
          <ac:chgData name="Zenos Zenica" userId="de3ee720dba36952" providerId="Windows Live" clId="Web-{87EC33F8-20F9-4A9B-8B0C-47C86D280FAD}" dt="2020-11-23T10:11:57.733" v="960"/>
          <ac:spMkLst>
            <pc:docMk/>
            <pc:sldMk cId="4099653127" sldId="342"/>
            <ac:spMk id="15" creationId="{8EDE0225-25D9-4A5D-937B-C1B3B531F6B2}"/>
          </ac:spMkLst>
        </pc:spChg>
        <pc:spChg chg="mod">
          <ac:chgData name="Zenos Zenica" userId="de3ee720dba36952" providerId="Windows Live" clId="Web-{87EC33F8-20F9-4A9B-8B0C-47C86D280FAD}" dt="2020-11-23T10:12:13.577" v="961"/>
          <ac:spMkLst>
            <pc:docMk/>
            <pc:sldMk cId="4099653127" sldId="342"/>
            <ac:spMk id="16" creationId="{16AE0FC8-7583-4919-A369-3E1B34DC5C04}"/>
          </ac:spMkLst>
        </pc:spChg>
        <pc:spChg chg="mod">
          <ac:chgData name="Zenos Zenica" userId="de3ee720dba36952" providerId="Windows Live" clId="Web-{87EC33F8-20F9-4A9B-8B0C-47C86D280FAD}" dt="2020-11-23T10:12:13.655" v="962"/>
          <ac:spMkLst>
            <pc:docMk/>
            <pc:sldMk cId="4099653127" sldId="342"/>
            <ac:spMk id="17" creationId="{7E93E9F9-3FF7-4606-A59B-D8D903F0FDA9}"/>
          </ac:spMkLst>
        </pc:spChg>
        <pc:spChg chg="mod">
          <ac:chgData name="Zenos Zenica" userId="de3ee720dba36952" providerId="Windows Live" clId="Web-{87EC33F8-20F9-4A9B-8B0C-47C86D280FAD}" dt="2020-11-23T10:12:13.733" v="963"/>
          <ac:spMkLst>
            <pc:docMk/>
            <pc:sldMk cId="4099653127" sldId="342"/>
            <ac:spMk id="18" creationId="{AEEBB382-01E1-4868-891D-33C37437EC4E}"/>
          </ac:spMkLst>
        </pc:spChg>
        <pc:spChg chg="mod">
          <ac:chgData name="Zenos Zenica" userId="de3ee720dba36952" providerId="Windows Live" clId="Web-{87EC33F8-20F9-4A9B-8B0C-47C86D280FAD}" dt="2020-11-23T10:12:13.811" v="964"/>
          <ac:spMkLst>
            <pc:docMk/>
            <pc:sldMk cId="4099653127" sldId="342"/>
            <ac:spMk id="20" creationId="{062D07B8-00B6-4F0A-A8A6-5C88DCB3E2A3}"/>
          </ac:spMkLst>
        </pc:spChg>
        <pc:spChg chg="mod">
          <ac:chgData name="Zenos Zenica" userId="de3ee720dba36952" providerId="Windows Live" clId="Web-{87EC33F8-20F9-4A9B-8B0C-47C86D280FAD}" dt="2020-11-23T10:12:13.889" v="965"/>
          <ac:spMkLst>
            <pc:docMk/>
            <pc:sldMk cId="4099653127" sldId="342"/>
            <ac:spMk id="21" creationId="{CF70DE15-9BE8-40DD-A4E0-E82287C12258}"/>
          </ac:spMkLst>
        </pc:spChg>
        <pc:spChg chg="mod">
          <ac:chgData name="Zenos Zenica" userId="de3ee720dba36952" providerId="Windows Live" clId="Web-{87EC33F8-20F9-4A9B-8B0C-47C86D280FAD}" dt="2020-11-23T10:12:35.749" v="974" actId="1076"/>
          <ac:spMkLst>
            <pc:docMk/>
            <pc:sldMk cId="4099653127" sldId="342"/>
            <ac:spMk id="22" creationId="{D3DC1898-6275-4144-AE76-CED6333A4068}"/>
          </ac:spMkLst>
        </pc:spChg>
        <pc:spChg chg="mod">
          <ac:chgData name="Zenos Zenica" userId="de3ee720dba36952" providerId="Windows Live" clId="Web-{87EC33F8-20F9-4A9B-8B0C-47C86D280FAD}" dt="2020-11-23T10:12:29.765" v="973" actId="1076"/>
          <ac:spMkLst>
            <pc:docMk/>
            <pc:sldMk cId="4099653127" sldId="342"/>
            <ac:spMk id="23" creationId="{175DD395-C0D3-4565-B465-BB6ECC957B3F}"/>
          </ac:spMkLst>
        </pc:spChg>
        <pc:spChg chg="mod">
          <ac:chgData name="Zenos Zenica" userId="de3ee720dba36952" providerId="Windows Live" clId="Web-{87EC33F8-20F9-4A9B-8B0C-47C86D280FAD}" dt="2020-11-23T10:12:14.046" v="967"/>
          <ac:spMkLst>
            <pc:docMk/>
            <pc:sldMk cId="4099653127" sldId="342"/>
            <ac:spMk id="24" creationId="{3053E684-6E0D-45A0-9C61-C9628CBF964C}"/>
          </ac:spMkLst>
        </pc:spChg>
        <pc:spChg chg="mod">
          <ac:chgData name="Zenos Zenica" userId="de3ee720dba36952" providerId="Windows Live" clId="Web-{87EC33F8-20F9-4A9B-8B0C-47C86D280FAD}" dt="2020-11-23T10:12:40.171" v="975" actId="1076"/>
          <ac:spMkLst>
            <pc:docMk/>
            <pc:sldMk cId="4099653127" sldId="342"/>
            <ac:spMk id="25" creationId="{2B63EF41-C744-40AC-9070-4071716CB85A}"/>
          </ac:spMkLst>
        </pc:spChg>
        <pc:spChg chg="mod">
          <ac:chgData name="Zenos Zenica" userId="de3ee720dba36952" providerId="Windows Live" clId="Web-{87EC33F8-20F9-4A9B-8B0C-47C86D280FAD}" dt="2020-11-23T10:12:14.202" v="969"/>
          <ac:spMkLst>
            <pc:docMk/>
            <pc:sldMk cId="4099653127" sldId="342"/>
            <ac:spMk id="26" creationId="{C35268F3-A728-411A-B2B9-9925690FCD38}"/>
          </ac:spMkLst>
        </pc:spChg>
        <pc:spChg chg="mod">
          <ac:chgData name="Zenos Zenica" userId="de3ee720dba36952" providerId="Windows Live" clId="Web-{87EC33F8-20F9-4A9B-8B0C-47C86D280FAD}" dt="2020-11-23T10:12:14.280" v="970"/>
          <ac:spMkLst>
            <pc:docMk/>
            <pc:sldMk cId="4099653127" sldId="342"/>
            <ac:spMk id="27" creationId="{63CF15F4-E96F-4DEC-B6F8-6B270256BC65}"/>
          </ac:spMkLst>
        </pc:spChg>
        <pc:spChg chg="mod">
          <ac:chgData name="Zenos Zenica" userId="de3ee720dba36952" providerId="Windows Live" clId="Web-{87EC33F8-20F9-4A9B-8B0C-47C86D280FAD}" dt="2020-11-23T10:13:40.142" v="988" actId="1076"/>
          <ac:spMkLst>
            <pc:docMk/>
            <pc:sldMk cId="4099653127" sldId="342"/>
            <ac:spMk id="28" creationId="{1874CCDC-64E5-4C2F-B847-E5475F5C7605}"/>
          </ac:spMkLst>
        </pc:spChg>
        <pc:grpChg chg="mod">
          <ac:chgData name="Zenos Zenica" userId="de3ee720dba36952" providerId="Windows Live" clId="Web-{87EC33F8-20F9-4A9B-8B0C-47C86D280FAD}" dt="2020-11-23T10:13:41.564" v="989" actId="1076"/>
          <ac:grpSpMkLst>
            <pc:docMk/>
            <pc:sldMk cId="4099653127" sldId="342"/>
            <ac:grpSpMk id="3" creationId="{90702F68-82C1-42CC-9582-7CD198FA5AC1}"/>
          </ac:grpSpMkLst>
        </pc:grpChg>
      </pc:sldChg>
      <pc:sldChg chg="modSp add">
        <pc:chgData name="Zenos Zenica" userId="de3ee720dba36952" providerId="Windows Live" clId="Web-{87EC33F8-20F9-4A9B-8B0C-47C86D280FAD}" dt="2020-11-23T10:32:05.735" v="1041" actId="1076"/>
        <pc:sldMkLst>
          <pc:docMk/>
          <pc:sldMk cId="1295120203" sldId="343"/>
        </pc:sldMkLst>
        <pc:spChg chg="mod">
          <ac:chgData name="Zenos Zenica" userId="de3ee720dba36952" providerId="Windows Live" clId="Web-{87EC33F8-20F9-4A9B-8B0C-47C86D280FAD}" dt="2020-11-23T10:31:25.781" v="1033" actId="14100"/>
          <ac:spMkLst>
            <pc:docMk/>
            <pc:sldMk cId="1295120203" sldId="343"/>
            <ac:spMk id="4" creationId="{B8CB9108-1583-4A1C-846B-3263D00D0833}"/>
          </ac:spMkLst>
        </pc:spChg>
        <pc:spChg chg="mod">
          <ac:chgData name="Zenos Zenica" userId="de3ee720dba36952" providerId="Windows Live" clId="Web-{87EC33F8-20F9-4A9B-8B0C-47C86D280FAD}" dt="2020-11-23T10:31:44.437" v="1035" actId="1076"/>
          <ac:spMkLst>
            <pc:docMk/>
            <pc:sldMk cId="1295120203" sldId="343"/>
            <ac:spMk id="22" creationId="{D3DC1898-6275-4144-AE76-CED6333A4068}"/>
          </ac:spMkLst>
        </pc:spChg>
        <pc:spChg chg="mod">
          <ac:chgData name="Zenos Zenica" userId="de3ee720dba36952" providerId="Windows Live" clId="Web-{87EC33F8-20F9-4A9B-8B0C-47C86D280FAD}" dt="2020-11-23T10:31:40.187" v="1034" actId="1076"/>
          <ac:spMkLst>
            <pc:docMk/>
            <pc:sldMk cId="1295120203" sldId="343"/>
            <ac:spMk id="23" creationId="{175DD395-C0D3-4565-B465-BB6ECC957B3F}"/>
          </ac:spMkLst>
        </pc:spChg>
        <pc:spChg chg="mod">
          <ac:chgData name="Zenos Zenica" userId="de3ee720dba36952" providerId="Windows Live" clId="Web-{87EC33F8-20F9-4A9B-8B0C-47C86D280FAD}" dt="2020-11-23T10:32:05.735" v="1041" actId="1076"/>
          <ac:spMkLst>
            <pc:docMk/>
            <pc:sldMk cId="1295120203" sldId="343"/>
            <ac:spMk id="28" creationId="{1874CCDC-64E5-4C2F-B847-E5475F5C7605}"/>
          </ac:spMkLst>
        </pc:spChg>
      </pc:sldChg>
      <pc:sldChg chg="modSp add">
        <pc:chgData name="Zenos Zenica" userId="de3ee720dba36952" providerId="Windows Live" clId="Web-{87EC33F8-20F9-4A9B-8B0C-47C86D280FAD}" dt="2020-11-23T10:36:22.883" v="1095" actId="20577"/>
        <pc:sldMkLst>
          <pc:docMk/>
          <pc:sldMk cId="1932800815" sldId="344"/>
        </pc:sldMkLst>
        <pc:spChg chg="mod">
          <ac:chgData name="Zenos Zenica" userId="de3ee720dba36952" providerId="Windows Live" clId="Web-{87EC33F8-20F9-4A9B-8B0C-47C86D280FAD}" dt="2020-11-23T10:33:33.565" v="1047" actId="20577"/>
          <ac:spMkLst>
            <pc:docMk/>
            <pc:sldMk cId="1932800815" sldId="344"/>
            <ac:spMk id="4" creationId="{B8CB9108-1583-4A1C-846B-3263D00D0833}"/>
          </ac:spMkLst>
        </pc:spChg>
        <pc:spChg chg="mod">
          <ac:chgData name="Zenos Zenica" userId="de3ee720dba36952" providerId="Windows Live" clId="Web-{87EC33F8-20F9-4A9B-8B0C-47C86D280FAD}" dt="2020-11-23T10:35:26.631" v="1065"/>
          <ac:spMkLst>
            <pc:docMk/>
            <pc:sldMk cId="1932800815" sldId="344"/>
            <ac:spMk id="15" creationId="{8EDE0225-25D9-4A5D-937B-C1B3B531F6B2}"/>
          </ac:spMkLst>
        </pc:spChg>
        <pc:spChg chg="mod">
          <ac:chgData name="Zenos Zenica" userId="de3ee720dba36952" providerId="Windows Live" clId="Web-{87EC33F8-20F9-4A9B-8B0C-47C86D280FAD}" dt="2020-11-23T10:35:26.693" v="1066"/>
          <ac:spMkLst>
            <pc:docMk/>
            <pc:sldMk cId="1932800815" sldId="344"/>
            <ac:spMk id="16" creationId="{16AE0FC8-7583-4919-A369-3E1B34DC5C04}"/>
          </ac:spMkLst>
        </pc:spChg>
        <pc:spChg chg="mod">
          <ac:chgData name="Zenos Zenica" userId="de3ee720dba36952" providerId="Windows Live" clId="Web-{87EC33F8-20F9-4A9B-8B0C-47C86D280FAD}" dt="2020-11-23T10:35:26.756" v="1067"/>
          <ac:spMkLst>
            <pc:docMk/>
            <pc:sldMk cId="1932800815" sldId="344"/>
            <ac:spMk id="17" creationId="{7E93E9F9-3FF7-4606-A59B-D8D903F0FDA9}"/>
          </ac:spMkLst>
        </pc:spChg>
        <pc:spChg chg="mod">
          <ac:chgData name="Zenos Zenica" userId="de3ee720dba36952" providerId="Windows Live" clId="Web-{87EC33F8-20F9-4A9B-8B0C-47C86D280FAD}" dt="2020-11-23T10:35:26.818" v="1068"/>
          <ac:spMkLst>
            <pc:docMk/>
            <pc:sldMk cId="1932800815" sldId="344"/>
            <ac:spMk id="18" creationId="{AEEBB382-01E1-4868-891D-33C37437EC4E}"/>
          </ac:spMkLst>
        </pc:spChg>
        <pc:spChg chg="mod">
          <ac:chgData name="Zenos Zenica" userId="de3ee720dba36952" providerId="Windows Live" clId="Web-{87EC33F8-20F9-4A9B-8B0C-47C86D280FAD}" dt="2020-11-23T10:36:22.883" v="1095" actId="20577"/>
          <ac:spMkLst>
            <pc:docMk/>
            <pc:sldMk cId="1932800815" sldId="344"/>
            <ac:spMk id="19" creationId="{AEC72BF0-11CD-4FCE-862D-B247DF65D7A2}"/>
          </ac:spMkLst>
        </pc:spChg>
        <pc:spChg chg="mod">
          <ac:chgData name="Zenos Zenica" userId="de3ee720dba36952" providerId="Windows Live" clId="Web-{87EC33F8-20F9-4A9B-8B0C-47C86D280FAD}" dt="2020-11-23T10:35:26.881" v="1069"/>
          <ac:spMkLst>
            <pc:docMk/>
            <pc:sldMk cId="1932800815" sldId="344"/>
            <ac:spMk id="20" creationId="{062D07B8-00B6-4F0A-A8A6-5C88DCB3E2A3}"/>
          </ac:spMkLst>
        </pc:spChg>
        <pc:spChg chg="mod">
          <ac:chgData name="Zenos Zenica" userId="de3ee720dba36952" providerId="Windows Live" clId="Web-{87EC33F8-20F9-4A9B-8B0C-47C86D280FAD}" dt="2020-11-23T10:35:26.943" v="1070"/>
          <ac:spMkLst>
            <pc:docMk/>
            <pc:sldMk cId="1932800815" sldId="344"/>
            <ac:spMk id="21" creationId="{CF70DE15-9BE8-40DD-A4E0-E82287C12258}"/>
          </ac:spMkLst>
        </pc:spChg>
        <pc:spChg chg="mod">
          <ac:chgData name="Zenos Zenica" userId="de3ee720dba36952" providerId="Windows Live" clId="Web-{87EC33F8-20F9-4A9B-8B0C-47C86D280FAD}" dt="2020-11-23T10:35:50.944" v="1081" actId="1076"/>
          <ac:spMkLst>
            <pc:docMk/>
            <pc:sldMk cId="1932800815" sldId="344"/>
            <ac:spMk id="22" creationId="{D3DC1898-6275-4144-AE76-CED6333A4068}"/>
          </ac:spMkLst>
        </pc:spChg>
        <pc:spChg chg="mod">
          <ac:chgData name="Zenos Zenica" userId="de3ee720dba36952" providerId="Windows Live" clId="Web-{87EC33F8-20F9-4A9B-8B0C-47C86D280FAD}" dt="2020-11-23T10:35:43.881" v="1080" actId="1076"/>
          <ac:spMkLst>
            <pc:docMk/>
            <pc:sldMk cId="1932800815" sldId="344"/>
            <ac:spMk id="23" creationId="{175DD395-C0D3-4565-B465-BB6ECC957B3F}"/>
          </ac:spMkLst>
        </pc:spChg>
        <pc:spChg chg="mod">
          <ac:chgData name="Zenos Zenica" userId="de3ee720dba36952" providerId="Windows Live" clId="Web-{87EC33F8-20F9-4A9B-8B0C-47C86D280FAD}" dt="2020-11-23T10:35:27.131" v="1073"/>
          <ac:spMkLst>
            <pc:docMk/>
            <pc:sldMk cId="1932800815" sldId="344"/>
            <ac:spMk id="24" creationId="{3053E684-6E0D-45A0-9C61-C9628CBF964C}"/>
          </ac:spMkLst>
        </pc:spChg>
        <pc:spChg chg="mod">
          <ac:chgData name="Zenos Zenica" userId="de3ee720dba36952" providerId="Windows Live" clId="Web-{87EC33F8-20F9-4A9B-8B0C-47C86D280FAD}" dt="2020-11-23T10:35:57.601" v="1082" actId="1076"/>
          <ac:spMkLst>
            <pc:docMk/>
            <pc:sldMk cId="1932800815" sldId="344"/>
            <ac:spMk id="25" creationId="{2B63EF41-C744-40AC-9070-4071716CB85A}"/>
          </ac:spMkLst>
        </pc:spChg>
        <pc:spChg chg="mod">
          <ac:chgData name="Zenos Zenica" userId="de3ee720dba36952" providerId="Windows Live" clId="Web-{87EC33F8-20F9-4A9B-8B0C-47C86D280FAD}" dt="2020-11-23T10:35:27.272" v="1075"/>
          <ac:spMkLst>
            <pc:docMk/>
            <pc:sldMk cId="1932800815" sldId="344"/>
            <ac:spMk id="26" creationId="{C35268F3-A728-411A-B2B9-9925690FCD38}"/>
          </ac:spMkLst>
        </pc:spChg>
        <pc:spChg chg="mod">
          <ac:chgData name="Zenos Zenica" userId="de3ee720dba36952" providerId="Windows Live" clId="Web-{87EC33F8-20F9-4A9B-8B0C-47C86D280FAD}" dt="2020-11-23T10:35:27.334" v="1076"/>
          <ac:spMkLst>
            <pc:docMk/>
            <pc:sldMk cId="1932800815" sldId="344"/>
            <ac:spMk id="27" creationId="{63CF15F4-E96F-4DEC-B6F8-6B270256BC65}"/>
          </ac:spMkLst>
        </pc:spChg>
        <pc:spChg chg="mod">
          <ac:chgData name="Zenos Zenica" userId="de3ee720dba36952" providerId="Windows Live" clId="Web-{87EC33F8-20F9-4A9B-8B0C-47C86D280FAD}" dt="2020-11-23T10:35:02.865" v="1063" actId="20577"/>
          <ac:spMkLst>
            <pc:docMk/>
            <pc:sldMk cId="1932800815" sldId="344"/>
            <ac:spMk id="28" creationId="{1874CCDC-64E5-4C2F-B847-E5475F5C7605}"/>
          </ac:spMkLst>
        </pc:spChg>
        <pc:grpChg chg="mod">
          <ac:chgData name="Zenos Zenica" userId="de3ee720dba36952" providerId="Windows Live" clId="Web-{87EC33F8-20F9-4A9B-8B0C-47C86D280FAD}" dt="2020-11-23T10:33:49.566" v="1049" actId="1076"/>
          <ac:grpSpMkLst>
            <pc:docMk/>
            <pc:sldMk cId="1932800815" sldId="344"/>
            <ac:grpSpMk id="3" creationId="{90702F68-82C1-42CC-9582-7CD198FA5AC1}"/>
          </ac:grpSpMkLst>
        </pc:grpChg>
      </pc:sldChg>
      <pc:sldChg chg="add">
        <pc:chgData name="Zenos Zenica" userId="de3ee720dba36952" providerId="Windows Live" clId="Web-{87EC33F8-20F9-4A9B-8B0C-47C86D280FAD}" dt="2020-11-23T08:09:23.334" v="35"/>
        <pc:sldMkLst>
          <pc:docMk/>
          <pc:sldMk cId="5770018" sldId="345"/>
        </pc:sldMkLst>
      </pc:sldChg>
      <pc:sldChg chg="modSp add">
        <pc:chgData name="Zenos Zenica" userId="de3ee720dba36952" providerId="Windows Live" clId="Web-{87EC33F8-20F9-4A9B-8B0C-47C86D280FAD}" dt="2020-11-23T11:45:11.173" v="1494" actId="20577"/>
        <pc:sldMkLst>
          <pc:docMk/>
          <pc:sldMk cId="1899659062" sldId="346"/>
        </pc:sldMkLst>
        <pc:spChg chg="mod">
          <ac:chgData name="Zenos Zenica" userId="de3ee720dba36952" providerId="Windows Live" clId="Web-{87EC33F8-20F9-4A9B-8B0C-47C86D280FAD}" dt="2020-11-23T10:36:40.680" v="1098" actId="14100"/>
          <ac:spMkLst>
            <pc:docMk/>
            <pc:sldMk cId="1899659062" sldId="346"/>
            <ac:spMk id="4" creationId="{B8CB9108-1583-4A1C-846B-3263D00D0833}"/>
          </ac:spMkLst>
        </pc:spChg>
        <pc:spChg chg="mod">
          <ac:chgData name="Zenos Zenica" userId="de3ee720dba36952" providerId="Windows Live" clId="Web-{87EC33F8-20F9-4A9B-8B0C-47C86D280FAD}" dt="2020-11-23T11:38:18.193" v="1442" actId="14100"/>
          <ac:spMkLst>
            <pc:docMk/>
            <pc:sldMk cId="1899659062" sldId="346"/>
            <ac:spMk id="5" creationId="{CF6E12EC-3064-424E-99AB-27EF93034598}"/>
          </ac:spMkLst>
        </pc:spChg>
        <pc:spChg chg="mod">
          <ac:chgData name="Zenos Zenica" userId="de3ee720dba36952" providerId="Windows Live" clId="Web-{87EC33F8-20F9-4A9B-8B0C-47C86D280FAD}" dt="2020-11-23T11:38:43.725" v="1443"/>
          <ac:spMkLst>
            <pc:docMk/>
            <pc:sldMk cId="1899659062" sldId="346"/>
            <ac:spMk id="6" creationId="{7AFD10B8-A55E-493C-B803-0909E20D1ADC}"/>
          </ac:spMkLst>
        </pc:spChg>
        <pc:spChg chg="mod">
          <ac:chgData name="Zenos Zenica" userId="de3ee720dba36952" providerId="Windows Live" clId="Web-{87EC33F8-20F9-4A9B-8B0C-47C86D280FAD}" dt="2020-11-23T11:38:18.084" v="1439" actId="14100"/>
          <ac:spMkLst>
            <pc:docMk/>
            <pc:sldMk cId="1899659062" sldId="346"/>
            <ac:spMk id="8" creationId="{A5EC3197-DC2C-4E82-858E-870868436FA4}"/>
          </ac:spMkLst>
        </pc:spChg>
        <pc:spChg chg="mod">
          <ac:chgData name="Zenos Zenica" userId="de3ee720dba36952" providerId="Windows Live" clId="Web-{87EC33F8-20F9-4A9B-8B0C-47C86D280FAD}" dt="2020-11-23T11:38:17.990" v="1438" actId="14100"/>
          <ac:spMkLst>
            <pc:docMk/>
            <pc:sldMk cId="1899659062" sldId="346"/>
            <ac:spMk id="9" creationId="{7926C7F8-FD8D-412D-934E-84DD69B312B5}"/>
          </ac:spMkLst>
        </pc:spChg>
        <pc:spChg chg="mod">
          <ac:chgData name="Zenos Zenica" userId="de3ee720dba36952" providerId="Windows Live" clId="Web-{87EC33F8-20F9-4A9B-8B0C-47C86D280FAD}" dt="2020-11-23T11:38:17.959" v="1437" actId="14100"/>
          <ac:spMkLst>
            <pc:docMk/>
            <pc:sldMk cId="1899659062" sldId="346"/>
            <ac:spMk id="11" creationId="{3A5594C2-1E3E-4291-9129-C3A085C3DA8E}"/>
          </ac:spMkLst>
        </pc:spChg>
        <pc:spChg chg="mod">
          <ac:chgData name="Zenos Zenica" userId="de3ee720dba36952" providerId="Windows Live" clId="Web-{87EC33F8-20F9-4A9B-8B0C-47C86D280FAD}" dt="2020-11-23T11:44:45.719" v="1488" actId="20577"/>
          <ac:spMkLst>
            <pc:docMk/>
            <pc:sldMk cId="1899659062" sldId="346"/>
            <ac:spMk id="12" creationId="{4CA5A7F4-79DA-4F54-9C1A-80DB48EE45CC}"/>
          </ac:spMkLst>
        </pc:spChg>
        <pc:spChg chg="mod">
          <ac:chgData name="Zenos Zenica" userId="de3ee720dba36952" providerId="Windows Live" clId="Web-{87EC33F8-20F9-4A9B-8B0C-47C86D280FAD}" dt="2020-11-23T11:38:17.755" v="1435" actId="14100"/>
          <ac:spMkLst>
            <pc:docMk/>
            <pc:sldMk cId="1899659062" sldId="346"/>
            <ac:spMk id="13" creationId="{3D92640E-971F-4EF2-A920-262094760C77}"/>
          </ac:spMkLst>
        </pc:spChg>
        <pc:spChg chg="mod">
          <ac:chgData name="Zenos Zenica" userId="de3ee720dba36952" providerId="Windows Live" clId="Web-{87EC33F8-20F9-4A9B-8B0C-47C86D280FAD}" dt="2020-11-23T11:41:36.417" v="1480" actId="20577"/>
          <ac:spMkLst>
            <pc:docMk/>
            <pc:sldMk cId="1899659062" sldId="346"/>
            <ac:spMk id="14" creationId="{A6B27BEF-B0BE-46C8-9F9C-DA90B7BA119B}"/>
          </ac:spMkLst>
        </pc:spChg>
        <pc:spChg chg="mod">
          <ac:chgData name="Zenos Zenica" userId="de3ee720dba36952" providerId="Windows Live" clId="Web-{87EC33F8-20F9-4A9B-8B0C-47C86D280FAD}" dt="2020-11-23T11:44:54.501" v="1490" actId="20577"/>
          <ac:spMkLst>
            <pc:docMk/>
            <pc:sldMk cId="1899659062" sldId="346"/>
            <ac:spMk id="15" creationId="{C9955025-9C8B-4B84-8FFE-EB55C634A7C8}"/>
          </ac:spMkLst>
        </pc:spChg>
        <pc:spChg chg="mod">
          <ac:chgData name="Zenos Zenica" userId="de3ee720dba36952" providerId="Windows Live" clId="Web-{87EC33F8-20F9-4A9B-8B0C-47C86D280FAD}" dt="2020-11-23T11:44:58.657" v="1491" actId="20577"/>
          <ac:spMkLst>
            <pc:docMk/>
            <pc:sldMk cId="1899659062" sldId="346"/>
            <ac:spMk id="16" creationId="{7F4DD27C-E5D1-4062-B8A8-137F33C55EA7}"/>
          </ac:spMkLst>
        </pc:spChg>
        <pc:spChg chg="mod">
          <ac:chgData name="Zenos Zenica" userId="de3ee720dba36952" providerId="Windows Live" clId="Web-{87EC33F8-20F9-4A9B-8B0C-47C86D280FAD}" dt="2020-11-23T11:45:07.032" v="1493" actId="20577"/>
          <ac:spMkLst>
            <pc:docMk/>
            <pc:sldMk cId="1899659062" sldId="346"/>
            <ac:spMk id="17" creationId="{D32FF549-170C-4C50-9807-AF048FB42FD1}"/>
          </ac:spMkLst>
        </pc:spChg>
        <pc:spChg chg="mod">
          <ac:chgData name="Zenos Zenica" userId="de3ee720dba36952" providerId="Windows Live" clId="Web-{87EC33F8-20F9-4A9B-8B0C-47C86D280FAD}" dt="2020-11-23T11:40:58.291" v="1476" actId="20577"/>
          <ac:spMkLst>
            <pc:docMk/>
            <pc:sldMk cId="1899659062" sldId="346"/>
            <ac:spMk id="18" creationId="{F2E7F9C6-4FF5-4F56-AE82-6D243BD5BAF0}"/>
          </ac:spMkLst>
        </pc:spChg>
        <pc:spChg chg="mod">
          <ac:chgData name="Zenos Zenica" userId="de3ee720dba36952" providerId="Windows Live" clId="Web-{87EC33F8-20F9-4A9B-8B0C-47C86D280FAD}" dt="2020-11-23T11:45:11.173" v="1494" actId="20577"/>
          <ac:spMkLst>
            <pc:docMk/>
            <pc:sldMk cId="1899659062" sldId="346"/>
            <ac:spMk id="19" creationId="{EDB86EC3-2D25-4E95-A0D2-817022D7628E}"/>
          </ac:spMkLst>
        </pc:spChg>
        <pc:spChg chg="mod">
          <ac:chgData name="Zenos Zenica" userId="de3ee720dba36952" providerId="Windows Live" clId="Web-{87EC33F8-20F9-4A9B-8B0C-47C86D280FAD}" dt="2020-11-23T11:38:17.084" v="1417" actId="14100"/>
          <ac:spMkLst>
            <pc:docMk/>
            <pc:sldMk cId="1899659062" sldId="346"/>
            <ac:spMk id="31" creationId="{541219AF-7231-4D85-AEEA-84AB564D7731}"/>
          </ac:spMkLst>
        </pc:spChg>
        <pc:spChg chg="mod">
          <ac:chgData name="Zenos Zenica" userId="de3ee720dba36952" providerId="Windows Live" clId="Web-{87EC33F8-20F9-4A9B-8B0C-47C86D280FAD}" dt="2020-11-23T11:39:46.352" v="1458" actId="20577"/>
          <ac:spMkLst>
            <pc:docMk/>
            <pc:sldMk cId="1899659062" sldId="346"/>
            <ac:spMk id="32" creationId="{EA0BC6A4-4511-49F4-AAAC-3EDC0F0ECDF7}"/>
          </ac:spMkLst>
        </pc:spChg>
        <pc:spChg chg="mod">
          <ac:chgData name="Zenos Zenica" userId="de3ee720dba36952" providerId="Windows Live" clId="Web-{87EC33F8-20F9-4A9B-8B0C-47C86D280FAD}" dt="2020-11-23T11:38:17.005" v="1415" actId="14100"/>
          <ac:spMkLst>
            <pc:docMk/>
            <pc:sldMk cId="1899659062" sldId="346"/>
            <ac:spMk id="33" creationId="{AF55BD10-3706-4355-B254-BEEDFC25B39B}"/>
          </ac:spMkLst>
        </pc:spChg>
        <pc:spChg chg="mod">
          <ac:chgData name="Zenos Zenica" userId="de3ee720dba36952" providerId="Windows Live" clId="Web-{87EC33F8-20F9-4A9B-8B0C-47C86D280FAD}" dt="2020-11-23T11:39:54.274" v="1460" actId="20577"/>
          <ac:spMkLst>
            <pc:docMk/>
            <pc:sldMk cId="1899659062" sldId="346"/>
            <ac:spMk id="34" creationId="{69EBEA4B-F480-40C6-8763-63BCBFB0B2EE}"/>
          </ac:spMkLst>
        </pc:spChg>
        <pc:spChg chg="mod">
          <ac:chgData name="Zenos Zenica" userId="de3ee720dba36952" providerId="Windows Live" clId="Web-{87EC33F8-20F9-4A9B-8B0C-47C86D280FAD}" dt="2020-11-23T11:38:43.756" v="1444"/>
          <ac:spMkLst>
            <pc:docMk/>
            <pc:sldMk cId="1899659062" sldId="346"/>
            <ac:spMk id="35" creationId="{CD656288-28BA-4D67-9430-3E342764AA04}"/>
          </ac:spMkLst>
        </pc:spChg>
        <pc:spChg chg="mod">
          <ac:chgData name="Zenos Zenica" userId="de3ee720dba36952" providerId="Windows Live" clId="Web-{87EC33F8-20F9-4A9B-8B0C-47C86D280FAD}" dt="2020-11-23T11:38:43.772" v="1445"/>
          <ac:spMkLst>
            <pc:docMk/>
            <pc:sldMk cId="1899659062" sldId="346"/>
            <ac:spMk id="36" creationId="{A1BD55F8-211E-4282-A9EF-9E433E8858F2}"/>
          </ac:spMkLst>
        </pc:spChg>
        <pc:spChg chg="mod">
          <ac:chgData name="Zenos Zenica" userId="de3ee720dba36952" providerId="Windows Live" clId="Web-{87EC33F8-20F9-4A9B-8B0C-47C86D280FAD}" dt="2020-11-23T11:38:43.803" v="1446"/>
          <ac:spMkLst>
            <pc:docMk/>
            <pc:sldMk cId="1899659062" sldId="346"/>
            <ac:spMk id="37" creationId="{A3F0BEAD-3DCB-4B2B-A045-88A5FF4A7EA2}"/>
          </ac:spMkLst>
        </pc:spChg>
        <pc:spChg chg="mod">
          <ac:chgData name="Zenos Zenica" userId="de3ee720dba36952" providerId="Windows Live" clId="Web-{87EC33F8-20F9-4A9B-8B0C-47C86D280FAD}" dt="2020-11-23T11:38:43.819" v="1447"/>
          <ac:spMkLst>
            <pc:docMk/>
            <pc:sldMk cId="1899659062" sldId="346"/>
            <ac:spMk id="38" creationId="{66E5971D-93E9-4F8B-AE27-23B099D5AD33}"/>
          </ac:spMkLst>
        </pc:spChg>
        <pc:spChg chg="mod">
          <ac:chgData name="Zenos Zenica" userId="de3ee720dba36952" providerId="Windows Live" clId="Web-{87EC33F8-20F9-4A9B-8B0C-47C86D280FAD}" dt="2020-11-23T11:38:43.850" v="1448"/>
          <ac:spMkLst>
            <pc:docMk/>
            <pc:sldMk cId="1899659062" sldId="346"/>
            <ac:spMk id="39" creationId="{A6410869-2043-4D10-97B2-0624AF83C68C}"/>
          </ac:spMkLst>
        </pc:spChg>
        <pc:spChg chg="mod">
          <ac:chgData name="Zenos Zenica" userId="de3ee720dba36952" providerId="Windows Live" clId="Web-{87EC33F8-20F9-4A9B-8B0C-47C86D280FAD}" dt="2020-11-23T11:38:43.866" v="1449"/>
          <ac:spMkLst>
            <pc:docMk/>
            <pc:sldMk cId="1899659062" sldId="346"/>
            <ac:spMk id="40" creationId="{4F4EB2D6-AD44-4BA5-BADC-A0A930AFB7C7}"/>
          </ac:spMkLst>
        </pc:spChg>
        <pc:spChg chg="mod">
          <ac:chgData name="Zenos Zenica" userId="de3ee720dba36952" providerId="Windows Live" clId="Web-{87EC33F8-20F9-4A9B-8B0C-47C86D280FAD}" dt="2020-11-23T11:38:43.897" v="1450"/>
          <ac:spMkLst>
            <pc:docMk/>
            <pc:sldMk cId="1899659062" sldId="346"/>
            <ac:spMk id="41" creationId="{433EC9BD-65B1-4D37-B427-D8FB4F315BB9}"/>
          </ac:spMkLst>
        </pc:spChg>
        <pc:spChg chg="mod">
          <ac:chgData name="Zenos Zenica" userId="de3ee720dba36952" providerId="Windows Live" clId="Web-{87EC33F8-20F9-4A9B-8B0C-47C86D280FAD}" dt="2020-11-23T11:38:43.928" v="1451"/>
          <ac:spMkLst>
            <pc:docMk/>
            <pc:sldMk cId="1899659062" sldId="346"/>
            <ac:spMk id="42" creationId="{4BECA545-7965-49FB-B838-1397AEE572F8}"/>
          </ac:spMkLst>
        </pc:spChg>
        <pc:spChg chg="mod">
          <ac:chgData name="Zenos Zenica" userId="de3ee720dba36952" providerId="Windows Live" clId="Web-{87EC33F8-20F9-4A9B-8B0C-47C86D280FAD}" dt="2020-11-23T11:38:43.944" v="1452"/>
          <ac:spMkLst>
            <pc:docMk/>
            <pc:sldMk cId="1899659062" sldId="346"/>
            <ac:spMk id="43" creationId="{723CDEF9-51B3-4030-8645-A97C2414595B}"/>
          </ac:spMkLst>
        </pc:spChg>
        <pc:spChg chg="mod">
          <ac:chgData name="Zenos Zenica" userId="de3ee720dba36952" providerId="Windows Live" clId="Web-{87EC33F8-20F9-4A9B-8B0C-47C86D280FAD}" dt="2020-11-23T11:38:43.975" v="1453"/>
          <ac:spMkLst>
            <pc:docMk/>
            <pc:sldMk cId="1899659062" sldId="346"/>
            <ac:spMk id="44" creationId="{BDB70FC9-AFAF-4C13-8EC0-2CCCFE3A839A}"/>
          </ac:spMkLst>
        </pc:spChg>
        <pc:spChg chg="mod">
          <ac:chgData name="Zenos Zenica" userId="de3ee720dba36952" providerId="Windows Live" clId="Web-{87EC33F8-20F9-4A9B-8B0C-47C86D280FAD}" dt="2020-11-23T11:38:43.991" v="1454"/>
          <ac:spMkLst>
            <pc:docMk/>
            <pc:sldMk cId="1899659062" sldId="346"/>
            <ac:spMk id="45" creationId="{24DE69D9-CB2E-4B15-A171-A1C731F20958}"/>
          </ac:spMkLst>
        </pc:spChg>
        <pc:spChg chg="mod">
          <ac:chgData name="Zenos Zenica" userId="de3ee720dba36952" providerId="Windows Live" clId="Web-{87EC33F8-20F9-4A9B-8B0C-47C86D280FAD}" dt="2020-11-23T11:38:44.022" v="1455"/>
          <ac:spMkLst>
            <pc:docMk/>
            <pc:sldMk cId="1899659062" sldId="346"/>
            <ac:spMk id="46" creationId="{271FAAC0-6CFD-43AD-840A-DF329A02722A}"/>
          </ac:spMkLst>
        </pc:spChg>
        <pc:spChg chg="mod">
          <ac:chgData name="Zenos Zenica" userId="de3ee720dba36952" providerId="Windows Live" clId="Web-{87EC33F8-20F9-4A9B-8B0C-47C86D280FAD}" dt="2020-11-23T11:38:44.037" v="1456"/>
          <ac:spMkLst>
            <pc:docMk/>
            <pc:sldMk cId="1899659062" sldId="346"/>
            <ac:spMk id="47" creationId="{4E90BEB9-2F27-4213-A751-C4144271E858}"/>
          </ac:spMkLst>
        </pc:spChg>
        <pc:cxnChg chg="mod">
          <ac:chgData name="Zenos Zenica" userId="de3ee720dba36952" providerId="Windows Live" clId="Web-{87EC33F8-20F9-4A9B-8B0C-47C86D280FAD}" dt="2020-11-23T11:38:18.099" v="1440" actId="14100"/>
          <ac:cxnSpMkLst>
            <pc:docMk/>
            <pc:sldMk cId="1899659062" sldId="346"/>
            <ac:cxnSpMk id="7" creationId="{603779D5-5B18-48BC-94DA-0EF1783FE7BF}"/>
          </ac:cxnSpMkLst>
        </pc:cxnChg>
        <pc:cxnChg chg="mod">
          <ac:chgData name="Zenos Zenica" userId="de3ee720dba36952" providerId="Windows Live" clId="Web-{87EC33F8-20F9-4A9B-8B0C-47C86D280FAD}" dt="2020-11-23T11:38:17.630" v="1433" actId="14100"/>
          <ac:cxnSpMkLst>
            <pc:docMk/>
            <pc:sldMk cId="1899659062" sldId="346"/>
            <ac:cxnSpMk id="20" creationId="{5AEF793C-7643-4AB8-A064-B13AB4AECAD4}"/>
          </ac:cxnSpMkLst>
        </pc:cxnChg>
        <pc:cxnChg chg="mod">
          <ac:chgData name="Zenos Zenica" userId="de3ee720dba36952" providerId="Windows Live" clId="Web-{87EC33F8-20F9-4A9B-8B0C-47C86D280FAD}" dt="2020-11-23T11:38:17.427" v="1431" actId="14100"/>
          <ac:cxnSpMkLst>
            <pc:docMk/>
            <pc:sldMk cId="1899659062" sldId="346"/>
            <ac:cxnSpMk id="21" creationId="{E4FF55ED-CFC1-4C92-BD68-5EDBB930BFE7}"/>
          </ac:cxnSpMkLst>
        </pc:cxnChg>
        <pc:cxnChg chg="mod">
          <ac:chgData name="Zenos Zenica" userId="de3ee720dba36952" providerId="Windows Live" clId="Web-{87EC33F8-20F9-4A9B-8B0C-47C86D280FAD}" dt="2020-11-23T11:40:51.900" v="1473" actId="1076"/>
          <ac:cxnSpMkLst>
            <pc:docMk/>
            <pc:sldMk cId="1899659062" sldId="346"/>
            <ac:cxnSpMk id="22" creationId="{8F597672-0665-4195-A210-D7632E3B8951}"/>
          </ac:cxnSpMkLst>
        </pc:cxnChg>
        <pc:cxnChg chg="mod">
          <ac:chgData name="Zenos Zenica" userId="de3ee720dba36952" providerId="Windows Live" clId="Web-{87EC33F8-20F9-4A9B-8B0C-47C86D280FAD}" dt="2020-11-23T11:38:17.334" v="1429" actId="14100"/>
          <ac:cxnSpMkLst>
            <pc:docMk/>
            <pc:sldMk cId="1899659062" sldId="346"/>
            <ac:cxnSpMk id="23" creationId="{5325C71B-D438-4169-81DC-B8D92B0C4F9B}"/>
          </ac:cxnSpMkLst>
        </pc:cxnChg>
        <pc:cxnChg chg="mod">
          <ac:chgData name="Zenos Zenica" userId="de3ee720dba36952" providerId="Windows Live" clId="Web-{87EC33F8-20F9-4A9B-8B0C-47C86D280FAD}" dt="2020-11-23T11:38:17.802" v="1436" actId="14100"/>
          <ac:cxnSpMkLst>
            <pc:docMk/>
            <pc:sldMk cId="1899659062" sldId="346"/>
            <ac:cxnSpMk id="24" creationId="{1828C4E9-0FD4-475F-BD87-23EC688AAD27}"/>
          </ac:cxnSpMkLst>
        </pc:cxnChg>
        <pc:cxnChg chg="mod">
          <ac:chgData name="Zenos Zenica" userId="de3ee720dba36952" providerId="Windows Live" clId="Web-{87EC33F8-20F9-4A9B-8B0C-47C86D280FAD}" dt="2020-11-23T11:38:17.630" v="1433" actId="14100"/>
          <ac:cxnSpMkLst>
            <pc:docMk/>
            <pc:sldMk cId="1899659062" sldId="346"/>
            <ac:cxnSpMk id="25" creationId="{EE8435AB-358C-4DA9-94CC-5D9D0EC43299}"/>
          </ac:cxnSpMkLst>
        </pc:cxnChg>
        <pc:cxnChg chg="mod">
          <ac:chgData name="Zenos Zenica" userId="de3ee720dba36952" providerId="Windows Live" clId="Web-{87EC33F8-20F9-4A9B-8B0C-47C86D280FAD}" dt="2020-11-23T11:38:17.490" v="1432" actId="14100"/>
          <ac:cxnSpMkLst>
            <pc:docMk/>
            <pc:sldMk cId="1899659062" sldId="346"/>
            <ac:cxnSpMk id="26" creationId="{74AF5596-0F4E-4927-A373-C83AB7B182AB}"/>
          </ac:cxnSpMkLst>
        </pc:cxnChg>
        <pc:cxnChg chg="mod">
          <ac:chgData name="Zenos Zenica" userId="de3ee720dba36952" providerId="Windows Live" clId="Web-{87EC33F8-20F9-4A9B-8B0C-47C86D280FAD}" dt="2020-11-23T11:40:51.900" v="1473" actId="1076"/>
          <ac:cxnSpMkLst>
            <pc:docMk/>
            <pc:sldMk cId="1899659062" sldId="346"/>
            <ac:cxnSpMk id="27" creationId="{5FA714B1-84F5-4F20-9CDE-5E1D3E206DBC}"/>
          </ac:cxnSpMkLst>
        </pc:cxnChg>
        <pc:cxnChg chg="mod">
          <ac:chgData name="Zenos Zenica" userId="de3ee720dba36952" providerId="Windows Live" clId="Web-{87EC33F8-20F9-4A9B-8B0C-47C86D280FAD}" dt="2020-11-23T11:38:17.990" v="1438" actId="14100"/>
          <ac:cxnSpMkLst>
            <pc:docMk/>
            <pc:sldMk cId="1899659062" sldId="346"/>
            <ac:cxnSpMk id="28" creationId="{2C8168A5-670E-423A-BE63-D562F301A42F}"/>
          </ac:cxnSpMkLst>
        </pc:cxnChg>
        <pc:cxnChg chg="mod">
          <ac:chgData name="Zenos Zenica" userId="de3ee720dba36952" providerId="Windows Live" clId="Web-{87EC33F8-20F9-4A9B-8B0C-47C86D280FAD}" dt="2020-11-23T11:43:38.858" v="1484" actId="1076"/>
          <ac:cxnSpMkLst>
            <pc:docMk/>
            <pc:sldMk cId="1899659062" sldId="346"/>
            <ac:cxnSpMk id="29" creationId="{13B092AE-FC8C-47FC-BC0B-063B5FCE2355}"/>
          </ac:cxnSpMkLst>
        </pc:cxnChg>
        <pc:cxnChg chg="mod">
          <ac:chgData name="Zenos Zenica" userId="de3ee720dba36952" providerId="Windows Live" clId="Web-{87EC33F8-20F9-4A9B-8B0C-47C86D280FAD}" dt="2020-11-23T11:38:18.115" v="1441" actId="14100"/>
          <ac:cxnSpMkLst>
            <pc:docMk/>
            <pc:sldMk cId="1899659062" sldId="346"/>
            <ac:cxnSpMk id="30" creationId="{6F5038EE-DD07-455F-B13D-D39553987A31}"/>
          </ac:cxnSpMkLst>
        </pc:cxnChg>
        <pc:cxnChg chg="mod">
          <ac:chgData name="Zenos Zenica" userId="de3ee720dba36952" providerId="Windows Live" clId="Web-{87EC33F8-20F9-4A9B-8B0C-47C86D280FAD}" dt="2020-11-23T11:41:19.510" v="1478" actId="1076"/>
          <ac:cxnSpMkLst>
            <pc:docMk/>
            <pc:sldMk cId="1899659062" sldId="346"/>
            <ac:cxnSpMk id="86" creationId="{984B88F0-B36A-40C8-9C6B-15511BDFF620}"/>
          </ac:cxnSpMkLst>
        </pc:cxnChg>
        <pc:cxnChg chg="mod">
          <ac:chgData name="Zenos Zenica" userId="de3ee720dba36952" providerId="Windows Live" clId="Web-{87EC33F8-20F9-4A9B-8B0C-47C86D280FAD}" dt="2020-11-23T11:44:01.343" v="1486" actId="1076"/>
          <ac:cxnSpMkLst>
            <pc:docMk/>
            <pc:sldMk cId="1899659062" sldId="346"/>
            <ac:cxnSpMk id="97" creationId="{94E2AD73-98BA-4F73-B917-257DDBEE707E}"/>
          </ac:cxnSpMkLst>
        </pc:cxnChg>
      </pc:sldChg>
      <pc:sldChg chg="new del">
        <pc:chgData name="Zenos Zenica" userId="de3ee720dba36952" providerId="Windows Live" clId="Web-{87EC33F8-20F9-4A9B-8B0C-47C86D280FAD}" dt="2020-11-23T09:17:36.123" v="162"/>
        <pc:sldMkLst>
          <pc:docMk/>
          <pc:sldMk cId="4213887325" sldId="346"/>
        </pc:sldMkLst>
      </pc:sldChg>
      <pc:sldChg chg="add del">
        <pc:chgData name="Zenos Zenica" userId="de3ee720dba36952" providerId="Windows Live" clId="Web-{87EC33F8-20F9-4A9B-8B0C-47C86D280FAD}" dt="2020-11-23T09:17:37.779" v="163"/>
        <pc:sldMkLst>
          <pc:docMk/>
          <pc:sldMk cId="2283018730" sldId="347"/>
        </pc:sldMkLst>
      </pc:sldChg>
      <pc:sldChg chg="modSp add del">
        <pc:chgData name="Zenos Zenica" userId="de3ee720dba36952" providerId="Windows Live" clId="Web-{87EC33F8-20F9-4A9B-8B0C-47C86D280FAD}" dt="2020-11-23T11:25:57.638" v="1289"/>
        <pc:sldMkLst>
          <pc:docMk/>
          <pc:sldMk cId="2518010870" sldId="347"/>
        </pc:sldMkLst>
        <pc:grpChg chg="mod">
          <ac:chgData name="Zenos Zenica" userId="de3ee720dba36952" providerId="Windows Live" clId="Web-{87EC33F8-20F9-4A9B-8B0C-47C86D280FAD}" dt="2020-11-23T11:24:56.433" v="1285" actId="1076"/>
          <ac:grpSpMkLst>
            <pc:docMk/>
            <pc:sldMk cId="2518010870" sldId="347"/>
            <ac:grpSpMk id="63" creationId="{5AA573D5-0A86-4A11-ACE1-C915D3688092}"/>
          </ac:grpSpMkLst>
        </pc:grpChg>
      </pc:sldChg>
      <pc:sldChg chg="modSp add">
        <pc:chgData name="Zenos Zenica" userId="de3ee720dba36952" providerId="Windows Live" clId="Web-{87EC33F8-20F9-4A9B-8B0C-47C86D280FAD}" dt="2020-11-23T11:58:09.634" v="1592" actId="20577"/>
        <pc:sldMkLst>
          <pc:docMk/>
          <pc:sldMk cId="3888202579" sldId="347"/>
        </pc:sldMkLst>
        <pc:spChg chg="mod">
          <ac:chgData name="Zenos Zenica" userId="de3ee720dba36952" providerId="Windows Live" clId="Web-{87EC33F8-20F9-4A9B-8B0C-47C86D280FAD}" dt="2020-11-23T11:57:34.930" v="1578" actId="1076"/>
          <ac:spMkLst>
            <pc:docMk/>
            <pc:sldMk cId="3888202579" sldId="347"/>
            <ac:spMk id="4" creationId="{B8CB9108-1583-4A1C-846B-3263D00D0833}"/>
          </ac:spMkLst>
        </pc:spChg>
        <pc:spChg chg="mod">
          <ac:chgData name="Zenos Zenica" userId="de3ee720dba36952" providerId="Windows Live" clId="Web-{87EC33F8-20F9-4A9B-8B0C-47C86D280FAD}" dt="2020-11-23T11:57:43.243" v="1579" actId="1076"/>
          <ac:spMkLst>
            <pc:docMk/>
            <pc:sldMk cId="3888202579" sldId="347"/>
            <ac:spMk id="60" creationId="{42E68939-21E1-4830-B03F-2BE91543B9CF}"/>
          </ac:spMkLst>
        </pc:spChg>
        <pc:spChg chg="mod">
          <ac:chgData name="Zenos Zenica" userId="de3ee720dba36952" providerId="Windows Live" clId="Web-{87EC33F8-20F9-4A9B-8B0C-47C86D280FAD}" dt="2020-11-23T11:57:48.431" v="1581" actId="20577"/>
          <ac:spMkLst>
            <pc:docMk/>
            <pc:sldMk cId="3888202579" sldId="347"/>
            <ac:spMk id="66" creationId="{6DA36CAD-13BA-45F2-891E-9C1C0945FC60}"/>
          </ac:spMkLst>
        </pc:spChg>
        <pc:spChg chg="mod">
          <ac:chgData name="Zenos Zenica" userId="de3ee720dba36952" providerId="Windows Live" clId="Web-{87EC33F8-20F9-4A9B-8B0C-47C86D280FAD}" dt="2020-11-23T11:57:53.321" v="1584" actId="20577"/>
          <ac:spMkLst>
            <pc:docMk/>
            <pc:sldMk cId="3888202579" sldId="347"/>
            <ac:spMk id="67" creationId="{6C14AE31-B32D-4780-9EF1-F12354D0EEF1}"/>
          </ac:spMkLst>
        </pc:spChg>
        <pc:spChg chg="mod">
          <ac:chgData name="Zenos Zenica" userId="de3ee720dba36952" providerId="Windows Live" clId="Web-{87EC33F8-20F9-4A9B-8B0C-47C86D280FAD}" dt="2020-11-23T11:57:59.197" v="1587" actId="20577"/>
          <ac:spMkLst>
            <pc:docMk/>
            <pc:sldMk cId="3888202579" sldId="347"/>
            <ac:spMk id="68" creationId="{C08C58B0-EB71-41A8-AF9D-6E8742073E8E}"/>
          </ac:spMkLst>
        </pc:spChg>
        <pc:spChg chg="mod">
          <ac:chgData name="Zenos Zenica" userId="de3ee720dba36952" providerId="Windows Live" clId="Web-{87EC33F8-20F9-4A9B-8B0C-47C86D280FAD}" dt="2020-11-23T11:58:03.666" v="1590" actId="20577"/>
          <ac:spMkLst>
            <pc:docMk/>
            <pc:sldMk cId="3888202579" sldId="347"/>
            <ac:spMk id="69" creationId="{141CCA65-AAB7-4DE3-A1BD-939C8411940A}"/>
          </ac:spMkLst>
        </pc:spChg>
        <pc:spChg chg="mod">
          <ac:chgData name="Zenos Zenica" userId="de3ee720dba36952" providerId="Windows Live" clId="Web-{87EC33F8-20F9-4A9B-8B0C-47C86D280FAD}" dt="2020-11-23T11:58:09.634" v="1592" actId="20577"/>
          <ac:spMkLst>
            <pc:docMk/>
            <pc:sldMk cId="3888202579" sldId="347"/>
            <ac:spMk id="70" creationId="{70EC203E-2336-497F-8868-911BE45F9663}"/>
          </ac:spMkLst>
        </pc:spChg>
      </pc:sldChg>
      <pc:sldChg chg="add del">
        <pc:chgData name="Zenos Zenica" userId="de3ee720dba36952" providerId="Windows Live" clId="Web-{87EC33F8-20F9-4A9B-8B0C-47C86D280FAD}" dt="2020-11-23T11:26:02.717" v="1290"/>
        <pc:sldMkLst>
          <pc:docMk/>
          <pc:sldMk cId="868428438" sldId="348"/>
        </pc:sldMkLst>
      </pc:sldChg>
      <pc:sldChg chg="add del">
        <pc:chgData name="Zenos Zenica" userId="de3ee720dba36952" providerId="Windows Live" clId="Web-{87EC33F8-20F9-4A9B-8B0C-47C86D280FAD}" dt="2020-11-23T09:17:33.232" v="161"/>
        <pc:sldMkLst>
          <pc:docMk/>
          <pc:sldMk cId="1717214870" sldId="348"/>
        </pc:sldMkLst>
      </pc:sldChg>
      <pc:sldChg chg="modSp add ord">
        <pc:chgData name="Zenos Zenica" userId="de3ee720dba36952" providerId="Windows Live" clId="Web-{87EC33F8-20F9-4A9B-8B0C-47C86D280FAD}" dt="2020-11-23T12:00:59.045" v="1683" actId="14100"/>
        <pc:sldMkLst>
          <pc:docMk/>
          <pc:sldMk cId="4092473110" sldId="348"/>
        </pc:sldMkLst>
        <pc:spChg chg="mod">
          <ac:chgData name="Zenos Zenica" userId="de3ee720dba36952" providerId="Windows Live" clId="Web-{87EC33F8-20F9-4A9B-8B0C-47C86D280FAD}" dt="2020-11-23T12:00:20.576" v="1646"/>
          <ac:spMkLst>
            <pc:docMk/>
            <pc:sldMk cId="4092473110" sldId="348"/>
            <ac:spMk id="24" creationId="{FDD36281-1E25-4D30-9E84-C77A5C38F4BA}"/>
          </ac:spMkLst>
        </pc:spChg>
        <pc:spChg chg="mod">
          <ac:chgData name="Zenos Zenica" userId="de3ee720dba36952" providerId="Windows Live" clId="Web-{87EC33F8-20F9-4A9B-8B0C-47C86D280FAD}" dt="2020-11-23T12:00:20.607" v="1647"/>
          <ac:spMkLst>
            <pc:docMk/>
            <pc:sldMk cId="4092473110" sldId="348"/>
            <ac:spMk id="25" creationId="{2E9833ED-FC99-42BC-8406-06A2341CC685}"/>
          </ac:spMkLst>
        </pc:spChg>
        <pc:spChg chg="mod">
          <ac:chgData name="Zenos Zenica" userId="de3ee720dba36952" providerId="Windows Live" clId="Web-{87EC33F8-20F9-4A9B-8B0C-47C86D280FAD}" dt="2020-11-23T11:58:35.151" v="1605" actId="1076"/>
          <ac:spMkLst>
            <pc:docMk/>
            <pc:sldMk cId="4092473110" sldId="348"/>
            <ac:spMk id="27" creationId="{73F19325-1EDB-46F3-A475-347F26A8D06E}"/>
          </ac:spMkLst>
        </pc:spChg>
        <pc:spChg chg="mod">
          <ac:chgData name="Zenos Zenica" userId="de3ee720dba36952" providerId="Windows Live" clId="Web-{87EC33F8-20F9-4A9B-8B0C-47C86D280FAD}" dt="2020-11-23T12:00:21.107" v="1673"/>
          <ac:spMkLst>
            <pc:docMk/>
            <pc:sldMk cId="4092473110" sldId="348"/>
            <ac:spMk id="28" creationId="{A59B24D1-0AF7-4998-BDA2-DCF4321D59E1}"/>
          </ac:spMkLst>
        </pc:spChg>
        <pc:spChg chg="mod">
          <ac:chgData name="Zenos Zenica" userId="de3ee720dba36952" providerId="Windows Live" clId="Web-{87EC33F8-20F9-4A9B-8B0C-47C86D280FAD}" dt="2020-11-23T12:00:21.122" v="1674"/>
          <ac:spMkLst>
            <pc:docMk/>
            <pc:sldMk cId="4092473110" sldId="348"/>
            <ac:spMk id="29" creationId="{C1D69A23-7280-475E-89FB-2E1CFE036B65}"/>
          </ac:spMkLst>
        </pc:spChg>
        <pc:spChg chg="mod">
          <ac:chgData name="Zenos Zenica" userId="de3ee720dba36952" providerId="Windows Live" clId="Web-{87EC33F8-20F9-4A9B-8B0C-47C86D280FAD}" dt="2020-11-23T12:00:21.154" v="1675"/>
          <ac:spMkLst>
            <pc:docMk/>
            <pc:sldMk cId="4092473110" sldId="348"/>
            <ac:spMk id="30" creationId="{6CC106A5-E79A-410B-97CB-D5FD8BBF736B}"/>
          </ac:spMkLst>
        </pc:spChg>
        <pc:spChg chg="mod">
          <ac:chgData name="Zenos Zenica" userId="de3ee720dba36952" providerId="Windows Live" clId="Web-{87EC33F8-20F9-4A9B-8B0C-47C86D280FAD}" dt="2020-11-23T11:59:32.402" v="1627" actId="1076"/>
          <ac:spMkLst>
            <pc:docMk/>
            <pc:sldMk cId="4092473110" sldId="348"/>
            <ac:spMk id="32" creationId="{3A6765D1-A0A5-423D-9195-8762C6239F1C}"/>
          </ac:spMkLst>
        </pc:spChg>
        <pc:spChg chg="mod">
          <ac:chgData name="Zenos Zenica" userId="de3ee720dba36952" providerId="Windows Live" clId="Web-{87EC33F8-20F9-4A9B-8B0C-47C86D280FAD}" dt="2020-11-23T12:00:20.622" v="1648"/>
          <ac:spMkLst>
            <pc:docMk/>
            <pc:sldMk cId="4092473110" sldId="348"/>
            <ac:spMk id="42" creationId="{77F1EE87-03C2-4032-B6B5-6AF96811AA4D}"/>
          </ac:spMkLst>
        </pc:spChg>
        <pc:spChg chg="mod">
          <ac:chgData name="Zenos Zenica" userId="de3ee720dba36952" providerId="Windows Live" clId="Web-{87EC33F8-20F9-4A9B-8B0C-47C86D280FAD}" dt="2020-11-23T12:00:20.638" v="1649"/>
          <ac:spMkLst>
            <pc:docMk/>
            <pc:sldMk cId="4092473110" sldId="348"/>
            <ac:spMk id="43" creationId="{6A6E61BE-128F-4FFC-A420-376B8A19C41B}"/>
          </ac:spMkLst>
        </pc:spChg>
        <pc:spChg chg="mod">
          <ac:chgData name="Zenos Zenica" userId="de3ee720dba36952" providerId="Windows Live" clId="Web-{87EC33F8-20F9-4A9B-8B0C-47C86D280FAD}" dt="2020-11-23T12:00:20.654" v="1650"/>
          <ac:spMkLst>
            <pc:docMk/>
            <pc:sldMk cId="4092473110" sldId="348"/>
            <ac:spMk id="44" creationId="{A2DBF5D2-08FB-49B1-A1D4-845972FEE188}"/>
          </ac:spMkLst>
        </pc:spChg>
        <pc:spChg chg="mod">
          <ac:chgData name="Zenos Zenica" userId="de3ee720dba36952" providerId="Windows Live" clId="Web-{87EC33F8-20F9-4A9B-8B0C-47C86D280FAD}" dt="2020-11-23T12:00:35.107" v="1676" actId="14100"/>
          <ac:spMkLst>
            <pc:docMk/>
            <pc:sldMk cId="4092473110" sldId="348"/>
            <ac:spMk id="45" creationId="{2138276A-9978-4B37-97EF-DF00BC9338D0}"/>
          </ac:spMkLst>
        </pc:spChg>
        <pc:spChg chg="mod">
          <ac:chgData name="Zenos Zenica" userId="de3ee720dba36952" providerId="Windows Live" clId="Web-{87EC33F8-20F9-4A9B-8B0C-47C86D280FAD}" dt="2020-11-23T12:00:20.701" v="1652"/>
          <ac:spMkLst>
            <pc:docMk/>
            <pc:sldMk cId="4092473110" sldId="348"/>
            <ac:spMk id="46" creationId="{EF56AA4F-DA47-4B34-94BC-5272379460E7}"/>
          </ac:spMkLst>
        </pc:spChg>
        <pc:spChg chg="mod">
          <ac:chgData name="Zenos Zenica" userId="de3ee720dba36952" providerId="Windows Live" clId="Web-{87EC33F8-20F9-4A9B-8B0C-47C86D280FAD}" dt="2020-11-23T12:00:20.716" v="1653"/>
          <ac:spMkLst>
            <pc:docMk/>
            <pc:sldMk cId="4092473110" sldId="348"/>
            <ac:spMk id="47" creationId="{A026F4D4-E51E-4795-9850-E63F88879C21}"/>
          </ac:spMkLst>
        </pc:spChg>
        <pc:spChg chg="mod">
          <ac:chgData name="Zenos Zenica" userId="de3ee720dba36952" providerId="Windows Live" clId="Web-{87EC33F8-20F9-4A9B-8B0C-47C86D280FAD}" dt="2020-11-23T12:00:38.904" v="1677" actId="14100"/>
          <ac:spMkLst>
            <pc:docMk/>
            <pc:sldMk cId="4092473110" sldId="348"/>
            <ac:spMk id="48" creationId="{879A0AA7-AF6A-41B6-A622-32C84FB394C9}"/>
          </ac:spMkLst>
        </pc:spChg>
        <pc:spChg chg="mod">
          <ac:chgData name="Zenos Zenica" userId="de3ee720dba36952" providerId="Windows Live" clId="Web-{87EC33F8-20F9-4A9B-8B0C-47C86D280FAD}" dt="2020-11-23T12:00:42.045" v="1678" actId="14100"/>
          <ac:spMkLst>
            <pc:docMk/>
            <pc:sldMk cId="4092473110" sldId="348"/>
            <ac:spMk id="49" creationId="{A65579BF-7149-497B-B238-F2458C229B2D}"/>
          </ac:spMkLst>
        </pc:spChg>
        <pc:spChg chg="mod">
          <ac:chgData name="Zenos Zenica" userId="de3ee720dba36952" providerId="Windows Live" clId="Web-{87EC33F8-20F9-4A9B-8B0C-47C86D280FAD}" dt="2020-11-23T12:00:44.967" v="1679" actId="14100"/>
          <ac:spMkLst>
            <pc:docMk/>
            <pc:sldMk cId="4092473110" sldId="348"/>
            <ac:spMk id="51" creationId="{BEC1024D-362E-448E-97D1-715729F45C6F}"/>
          </ac:spMkLst>
        </pc:spChg>
        <pc:spChg chg="mod">
          <ac:chgData name="Zenos Zenica" userId="de3ee720dba36952" providerId="Windows Live" clId="Web-{87EC33F8-20F9-4A9B-8B0C-47C86D280FAD}" dt="2020-11-23T12:00:20.794" v="1657"/>
          <ac:spMkLst>
            <pc:docMk/>
            <pc:sldMk cId="4092473110" sldId="348"/>
            <ac:spMk id="62" creationId="{4F60DCE7-049F-41CC-9A40-D907D267BB8D}"/>
          </ac:spMkLst>
        </pc:spChg>
        <pc:spChg chg="mod">
          <ac:chgData name="Zenos Zenica" userId="de3ee720dba36952" providerId="Windows Live" clId="Web-{87EC33F8-20F9-4A9B-8B0C-47C86D280FAD}" dt="2020-11-23T12:00:48.733" v="1680" actId="14100"/>
          <ac:spMkLst>
            <pc:docMk/>
            <pc:sldMk cId="4092473110" sldId="348"/>
            <ac:spMk id="63" creationId="{F41A124D-CFE4-44DF-A466-4F6D87E92A4F}"/>
          </ac:spMkLst>
        </pc:spChg>
        <pc:spChg chg="mod">
          <ac:chgData name="Zenos Zenica" userId="de3ee720dba36952" providerId="Windows Live" clId="Web-{87EC33F8-20F9-4A9B-8B0C-47C86D280FAD}" dt="2020-11-23T12:00:20.826" v="1659"/>
          <ac:spMkLst>
            <pc:docMk/>
            <pc:sldMk cId="4092473110" sldId="348"/>
            <ac:spMk id="64" creationId="{2AD642B4-CD5B-410D-8D4A-A7BFA8047881}"/>
          </ac:spMkLst>
        </pc:spChg>
        <pc:spChg chg="mod">
          <ac:chgData name="Zenos Zenica" userId="de3ee720dba36952" providerId="Windows Live" clId="Web-{87EC33F8-20F9-4A9B-8B0C-47C86D280FAD}" dt="2020-11-23T12:00:51.545" v="1681" actId="14100"/>
          <ac:spMkLst>
            <pc:docMk/>
            <pc:sldMk cId="4092473110" sldId="348"/>
            <ac:spMk id="65" creationId="{D4ECC176-5179-4EE2-91CE-0506CDD697EF}"/>
          </ac:spMkLst>
        </pc:spChg>
        <pc:spChg chg="mod">
          <ac:chgData name="Zenos Zenica" userId="de3ee720dba36952" providerId="Windows Live" clId="Web-{87EC33F8-20F9-4A9B-8B0C-47C86D280FAD}" dt="2020-11-23T12:00:20.857" v="1661"/>
          <ac:spMkLst>
            <pc:docMk/>
            <pc:sldMk cId="4092473110" sldId="348"/>
            <ac:spMk id="66" creationId="{29F97140-A136-4A51-ADA6-6F6E8A2FC5EC}"/>
          </ac:spMkLst>
        </pc:spChg>
        <pc:spChg chg="mod">
          <ac:chgData name="Zenos Zenica" userId="de3ee720dba36952" providerId="Windows Live" clId="Web-{87EC33F8-20F9-4A9B-8B0C-47C86D280FAD}" dt="2020-11-23T12:00:54.764" v="1682" actId="14100"/>
          <ac:spMkLst>
            <pc:docMk/>
            <pc:sldMk cId="4092473110" sldId="348"/>
            <ac:spMk id="67" creationId="{A13B9F6E-4DA7-48AE-A5CA-DE072B3450E8}"/>
          </ac:spMkLst>
        </pc:spChg>
        <pc:spChg chg="mod">
          <ac:chgData name="Zenos Zenica" userId="de3ee720dba36952" providerId="Windows Live" clId="Web-{87EC33F8-20F9-4A9B-8B0C-47C86D280FAD}" dt="2020-11-23T12:00:20.904" v="1663"/>
          <ac:spMkLst>
            <pc:docMk/>
            <pc:sldMk cId="4092473110" sldId="348"/>
            <ac:spMk id="68" creationId="{06469C4B-44E5-4FC0-8F4A-70688C97D6B9}"/>
          </ac:spMkLst>
        </pc:spChg>
        <pc:spChg chg="mod">
          <ac:chgData name="Zenos Zenica" userId="de3ee720dba36952" providerId="Windows Live" clId="Web-{87EC33F8-20F9-4A9B-8B0C-47C86D280FAD}" dt="2020-11-23T12:00:20.919" v="1664"/>
          <ac:spMkLst>
            <pc:docMk/>
            <pc:sldMk cId="4092473110" sldId="348"/>
            <ac:spMk id="69" creationId="{71C192AE-3451-4B69-8025-48699E07C90A}"/>
          </ac:spMkLst>
        </pc:spChg>
        <pc:spChg chg="mod">
          <ac:chgData name="Zenos Zenica" userId="de3ee720dba36952" providerId="Windows Live" clId="Web-{87EC33F8-20F9-4A9B-8B0C-47C86D280FAD}" dt="2020-11-23T12:00:20.935" v="1665"/>
          <ac:spMkLst>
            <pc:docMk/>
            <pc:sldMk cId="4092473110" sldId="348"/>
            <ac:spMk id="70" creationId="{2EAE1888-B893-48F9-A72D-84A72FCCDBC2}"/>
          </ac:spMkLst>
        </pc:spChg>
        <pc:spChg chg="mod">
          <ac:chgData name="Zenos Zenica" userId="de3ee720dba36952" providerId="Windows Live" clId="Web-{87EC33F8-20F9-4A9B-8B0C-47C86D280FAD}" dt="2020-11-23T12:00:20.951" v="1666"/>
          <ac:spMkLst>
            <pc:docMk/>
            <pc:sldMk cId="4092473110" sldId="348"/>
            <ac:spMk id="71" creationId="{26EF84C7-47F3-4E7E-B7A4-EEC79B30DE24}"/>
          </ac:spMkLst>
        </pc:spChg>
        <pc:spChg chg="mod">
          <ac:chgData name="Zenos Zenica" userId="de3ee720dba36952" providerId="Windows Live" clId="Web-{87EC33F8-20F9-4A9B-8B0C-47C86D280FAD}" dt="2020-11-23T12:00:59.045" v="1683" actId="14100"/>
          <ac:spMkLst>
            <pc:docMk/>
            <pc:sldMk cId="4092473110" sldId="348"/>
            <ac:spMk id="73" creationId="{577AC415-139B-40B9-98B1-E49AF12CB957}"/>
          </ac:spMkLst>
        </pc:spChg>
        <pc:spChg chg="mod">
          <ac:chgData name="Zenos Zenica" userId="de3ee720dba36952" providerId="Windows Live" clId="Web-{87EC33F8-20F9-4A9B-8B0C-47C86D280FAD}" dt="2020-11-23T11:59:38.715" v="1629" actId="20577"/>
          <ac:spMkLst>
            <pc:docMk/>
            <pc:sldMk cId="4092473110" sldId="348"/>
            <ac:spMk id="74" creationId="{CF4E32C1-8144-49D5-9524-894A03EF7574}"/>
          </ac:spMkLst>
        </pc:spChg>
        <pc:spChg chg="mod">
          <ac:chgData name="Zenos Zenica" userId="de3ee720dba36952" providerId="Windows Live" clId="Web-{87EC33F8-20F9-4A9B-8B0C-47C86D280FAD}" dt="2020-11-23T11:59:43.106" v="1632" actId="20577"/>
          <ac:spMkLst>
            <pc:docMk/>
            <pc:sldMk cId="4092473110" sldId="348"/>
            <ac:spMk id="75" creationId="{0BF9A7EC-FF91-47AB-A2B8-23FAF0DFEDE3}"/>
          </ac:spMkLst>
        </pc:spChg>
        <pc:spChg chg="mod">
          <ac:chgData name="Zenos Zenica" userId="de3ee720dba36952" providerId="Windows Live" clId="Web-{87EC33F8-20F9-4A9B-8B0C-47C86D280FAD}" dt="2020-11-23T11:59:47.450" v="1635" actId="20577"/>
          <ac:spMkLst>
            <pc:docMk/>
            <pc:sldMk cId="4092473110" sldId="348"/>
            <ac:spMk id="76" creationId="{1246D6E5-672A-4DF5-8EA4-2B8372329F11}"/>
          </ac:spMkLst>
        </pc:spChg>
        <pc:spChg chg="mod">
          <ac:chgData name="Zenos Zenica" userId="de3ee720dba36952" providerId="Windows Live" clId="Web-{87EC33F8-20F9-4A9B-8B0C-47C86D280FAD}" dt="2020-11-23T11:59:52.544" v="1637" actId="20577"/>
          <ac:spMkLst>
            <pc:docMk/>
            <pc:sldMk cId="4092473110" sldId="348"/>
            <ac:spMk id="77" creationId="{7B589B73-B1BC-4591-8BE9-6F7D895211AC}"/>
          </ac:spMkLst>
        </pc:spChg>
        <pc:spChg chg="mod">
          <ac:chgData name="Zenos Zenica" userId="de3ee720dba36952" providerId="Windows Live" clId="Web-{87EC33F8-20F9-4A9B-8B0C-47C86D280FAD}" dt="2020-11-23T11:59:56.434" v="1640" actId="20577"/>
          <ac:spMkLst>
            <pc:docMk/>
            <pc:sldMk cId="4092473110" sldId="348"/>
            <ac:spMk id="78" creationId="{F66BADD7-012B-4648-8AA4-4E4B6F766915}"/>
          </ac:spMkLst>
        </pc:spChg>
        <pc:spChg chg="mod">
          <ac:chgData name="Zenos Zenica" userId="de3ee720dba36952" providerId="Windows Live" clId="Web-{87EC33F8-20F9-4A9B-8B0C-47C86D280FAD}" dt="2020-11-23T12:00:01.794" v="1644" actId="20577"/>
          <ac:spMkLst>
            <pc:docMk/>
            <pc:sldMk cId="4092473110" sldId="348"/>
            <ac:spMk id="79" creationId="{6D46C763-CCBE-4AAC-B27D-7E1C0FDF532E}"/>
          </ac:spMkLst>
        </pc:spChg>
        <pc:spChg chg="mod">
          <ac:chgData name="Zenos Zenica" userId="de3ee720dba36952" providerId="Windows Live" clId="Web-{87EC33F8-20F9-4A9B-8B0C-47C86D280FAD}" dt="2020-11-23T12:00:20.997" v="1668"/>
          <ac:spMkLst>
            <pc:docMk/>
            <pc:sldMk cId="4092473110" sldId="348"/>
            <ac:spMk id="80" creationId="{08D91F0E-1861-465F-8E0A-8C42F8EAB4D7}"/>
          </ac:spMkLst>
        </pc:spChg>
        <pc:spChg chg="mod">
          <ac:chgData name="Zenos Zenica" userId="de3ee720dba36952" providerId="Windows Live" clId="Web-{87EC33F8-20F9-4A9B-8B0C-47C86D280FAD}" dt="2020-11-23T12:00:21.013" v="1669"/>
          <ac:spMkLst>
            <pc:docMk/>
            <pc:sldMk cId="4092473110" sldId="348"/>
            <ac:spMk id="82" creationId="{0353F053-5A17-4C67-8709-E324FC32E88C}"/>
          </ac:spMkLst>
        </pc:spChg>
        <pc:spChg chg="mod">
          <ac:chgData name="Zenos Zenica" userId="de3ee720dba36952" providerId="Windows Live" clId="Web-{87EC33F8-20F9-4A9B-8B0C-47C86D280FAD}" dt="2020-11-23T12:00:21.029" v="1670"/>
          <ac:spMkLst>
            <pc:docMk/>
            <pc:sldMk cId="4092473110" sldId="348"/>
            <ac:spMk id="83" creationId="{56CC06DD-A12D-4A5F-9C2C-4B2081253CE6}"/>
          </ac:spMkLst>
        </pc:spChg>
        <pc:spChg chg="mod">
          <ac:chgData name="Zenos Zenica" userId="de3ee720dba36952" providerId="Windows Live" clId="Web-{87EC33F8-20F9-4A9B-8B0C-47C86D280FAD}" dt="2020-11-23T12:00:21.060" v="1671"/>
          <ac:spMkLst>
            <pc:docMk/>
            <pc:sldMk cId="4092473110" sldId="348"/>
            <ac:spMk id="84" creationId="{6BD15A6E-A6AF-4BB9-A44A-521B206A187B}"/>
          </ac:spMkLst>
        </pc:spChg>
        <pc:spChg chg="mod">
          <ac:chgData name="Zenos Zenica" userId="de3ee720dba36952" providerId="Windows Live" clId="Web-{87EC33F8-20F9-4A9B-8B0C-47C86D280FAD}" dt="2020-11-23T12:00:21.076" v="1672"/>
          <ac:spMkLst>
            <pc:docMk/>
            <pc:sldMk cId="4092473110" sldId="348"/>
            <ac:spMk id="86" creationId="{B68201F5-C7C4-456A-81AB-5D8C56CA5C0A}"/>
          </ac:spMkLst>
        </pc:spChg>
        <pc:grpChg chg="mod">
          <ac:chgData name="Zenos Zenica" userId="de3ee720dba36952" providerId="Windows Live" clId="Web-{87EC33F8-20F9-4A9B-8B0C-47C86D280FAD}" dt="2020-11-23T11:59:10.511" v="1617" actId="1076"/>
          <ac:grpSpMkLst>
            <pc:docMk/>
            <pc:sldMk cId="4092473110" sldId="348"/>
            <ac:grpSpMk id="3" creationId="{7B74D334-0DAF-4000-AACA-609675FF0363}"/>
          </ac:grpSpMkLst>
        </pc:grpChg>
      </pc:sldChg>
      <pc:sldChg chg="modSp add">
        <pc:chgData name="Zenos Zenica" userId="de3ee720dba36952" providerId="Windows Live" clId="Web-{87EC33F8-20F9-4A9B-8B0C-47C86D280FAD}" dt="2020-11-23T12:03:08.799" v="1718" actId="20577"/>
        <pc:sldMkLst>
          <pc:docMk/>
          <pc:sldMk cId="1329346244" sldId="349"/>
        </pc:sldMkLst>
        <pc:spChg chg="mod">
          <ac:chgData name="Zenos Zenica" userId="de3ee720dba36952" providerId="Windows Live" clId="Web-{87EC33F8-20F9-4A9B-8B0C-47C86D280FAD}" dt="2020-11-23T12:02:33.220" v="1699" actId="20577"/>
          <ac:spMkLst>
            <pc:docMk/>
            <pc:sldMk cId="1329346244" sldId="349"/>
            <ac:spMk id="4" creationId="{B8CB9108-1583-4A1C-846B-3263D00D0833}"/>
          </ac:spMkLst>
        </pc:spChg>
        <pc:spChg chg="mod">
          <ac:chgData name="Zenos Zenica" userId="de3ee720dba36952" providerId="Windows Live" clId="Web-{87EC33F8-20F9-4A9B-8B0C-47C86D280FAD}" dt="2020-11-23T12:02:46.361" v="1704" actId="1076"/>
          <ac:spMkLst>
            <pc:docMk/>
            <pc:sldMk cId="1329346244" sldId="349"/>
            <ac:spMk id="25" creationId="{FC7025B7-E5BE-43F0-8BCE-47C7C29514E7}"/>
          </ac:spMkLst>
        </pc:spChg>
        <pc:spChg chg="mod">
          <ac:chgData name="Zenos Zenica" userId="de3ee720dba36952" providerId="Windows Live" clId="Web-{87EC33F8-20F9-4A9B-8B0C-47C86D280FAD}" dt="2020-11-23T12:03:03.252" v="1715" actId="20577"/>
          <ac:spMkLst>
            <pc:docMk/>
            <pc:sldMk cId="1329346244" sldId="349"/>
            <ac:spMk id="27" creationId="{A3F83685-4145-4166-BE15-DD0C2D05726E}"/>
          </ac:spMkLst>
        </pc:spChg>
        <pc:spChg chg="mod">
          <ac:chgData name="Zenos Zenica" userId="de3ee720dba36952" providerId="Windows Live" clId="Web-{87EC33F8-20F9-4A9B-8B0C-47C86D280FAD}" dt="2020-11-23T12:03:08.799" v="1718" actId="20577"/>
          <ac:spMkLst>
            <pc:docMk/>
            <pc:sldMk cId="1329346244" sldId="349"/>
            <ac:spMk id="29" creationId="{8D1038B9-D6FC-4DC0-B291-0FD9090B65BE}"/>
          </ac:spMkLst>
        </pc:spChg>
        <pc:spChg chg="mod">
          <ac:chgData name="Zenos Zenica" userId="de3ee720dba36952" providerId="Windows Live" clId="Web-{87EC33F8-20F9-4A9B-8B0C-47C86D280FAD}" dt="2020-11-23T12:02:55.533" v="1712" actId="20577"/>
          <ac:spMkLst>
            <pc:docMk/>
            <pc:sldMk cId="1329346244" sldId="349"/>
            <ac:spMk id="31" creationId="{2AF1BC7B-374A-463D-A5B4-C6B8C5D86541}"/>
          </ac:spMkLst>
        </pc:spChg>
      </pc:sldChg>
      <pc:sldChg chg="add del">
        <pc:chgData name="Zenos Zenica" userId="de3ee720dba36952" providerId="Windows Live" clId="Web-{87EC33F8-20F9-4A9B-8B0C-47C86D280FAD}" dt="2020-11-23T09:17:38.857" v="164"/>
        <pc:sldMkLst>
          <pc:docMk/>
          <pc:sldMk cId="1330258871" sldId="349"/>
        </pc:sldMkLst>
      </pc:sldChg>
      <pc:sldChg chg="modSp add">
        <pc:chgData name="Zenos Zenica" userId="de3ee720dba36952" providerId="Windows Live" clId="Web-{87EC33F8-20F9-4A9B-8B0C-47C86D280FAD}" dt="2020-11-23T12:04:09.801" v="1735"/>
        <pc:sldMkLst>
          <pc:docMk/>
          <pc:sldMk cId="1076097182" sldId="350"/>
        </pc:sldMkLst>
        <pc:spChg chg="mod">
          <ac:chgData name="Zenos Zenica" userId="de3ee720dba36952" providerId="Windows Live" clId="Web-{87EC33F8-20F9-4A9B-8B0C-47C86D280FAD}" dt="2020-11-23T12:03:57.347" v="1730" actId="20577"/>
          <ac:spMkLst>
            <pc:docMk/>
            <pc:sldMk cId="1076097182" sldId="350"/>
            <ac:spMk id="4" creationId="{B8CB9108-1583-4A1C-846B-3263D00D0833}"/>
          </ac:spMkLst>
        </pc:spChg>
        <pc:graphicFrameChg chg="mod modGraphic">
          <ac:chgData name="Zenos Zenica" userId="de3ee720dba36952" providerId="Windows Live" clId="Web-{87EC33F8-20F9-4A9B-8B0C-47C86D280FAD}" dt="2020-11-23T12:04:09.801" v="1735"/>
          <ac:graphicFrameMkLst>
            <pc:docMk/>
            <pc:sldMk cId="1076097182" sldId="350"/>
            <ac:graphicFrameMk id="72" creationId="{377308A6-0CD9-4575-8764-110B9EB55692}"/>
          </ac:graphicFrameMkLst>
        </pc:graphicFrameChg>
      </pc:sldChg>
      <pc:sldChg chg="modSp add">
        <pc:chgData name="Zenos Zenica" userId="de3ee720dba36952" providerId="Windows Live" clId="Web-{87EC33F8-20F9-4A9B-8B0C-47C86D280FAD}" dt="2020-11-23T12:07:47.008" v="1828" actId="20577"/>
        <pc:sldMkLst>
          <pc:docMk/>
          <pc:sldMk cId="2201681962" sldId="351"/>
        </pc:sldMkLst>
        <pc:spChg chg="mod">
          <ac:chgData name="Zenos Zenica" userId="de3ee720dba36952" providerId="Windows Live" clId="Web-{87EC33F8-20F9-4A9B-8B0C-47C86D280FAD}" dt="2020-11-23T12:07:47.008" v="1828" actId="20577"/>
          <ac:spMkLst>
            <pc:docMk/>
            <pc:sldMk cId="2201681962" sldId="351"/>
            <ac:spMk id="4" creationId="{B8CB9108-1583-4A1C-846B-3263D00D0833}"/>
          </ac:spMkLst>
        </pc:spChg>
        <pc:spChg chg="mod">
          <ac:chgData name="Zenos Zenica" userId="de3ee720dba36952" providerId="Windows Live" clId="Web-{87EC33F8-20F9-4A9B-8B0C-47C86D280FAD}" dt="2020-11-23T12:05:07.287" v="1775"/>
          <ac:spMkLst>
            <pc:docMk/>
            <pc:sldMk cId="2201681962" sldId="351"/>
            <ac:spMk id="17" creationId="{1492E3C0-5ACF-43BF-AE37-7CA575BBB091}"/>
          </ac:spMkLst>
        </pc:spChg>
        <pc:spChg chg="mod">
          <ac:chgData name="Zenos Zenica" userId="de3ee720dba36952" providerId="Windows Live" clId="Web-{87EC33F8-20F9-4A9B-8B0C-47C86D280FAD}" dt="2020-11-23T12:06:40.207" v="1808" actId="1076"/>
          <ac:spMkLst>
            <pc:docMk/>
            <pc:sldMk cId="2201681962" sldId="351"/>
            <ac:spMk id="18" creationId="{2F88F7B4-1A6C-4AFC-BF7D-EB5B8041D69A}"/>
          </ac:spMkLst>
        </pc:spChg>
        <pc:spChg chg="mod">
          <ac:chgData name="Zenos Zenica" userId="de3ee720dba36952" providerId="Windows Live" clId="Web-{87EC33F8-20F9-4A9B-8B0C-47C86D280FAD}" dt="2020-11-23T12:05:51.647" v="1781" actId="14100"/>
          <ac:spMkLst>
            <pc:docMk/>
            <pc:sldMk cId="2201681962" sldId="351"/>
            <ac:spMk id="19" creationId="{D8F91DBF-31E8-40C3-AFEE-26350902926F}"/>
          </ac:spMkLst>
        </pc:spChg>
        <pc:spChg chg="mod">
          <ac:chgData name="Zenos Zenica" userId="de3ee720dba36952" providerId="Windows Live" clId="Web-{87EC33F8-20F9-4A9B-8B0C-47C86D280FAD}" dt="2020-11-23T12:06:19.585" v="1794" actId="14100"/>
          <ac:spMkLst>
            <pc:docMk/>
            <pc:sldMk cId="2201681962" sldId="351"/>
            <ac:spMk id="20" creationId="{80A14867-CD20-48FD-A373-DA0BF8F2A66D}"/>
          </ac:spMkLst>
        </pc:spChg>
        <pc:spChg chg="mod">
          <ac:chgData name="Zenos Zenica" userId="de3ee720dba36952" providerId="Windows Live" clId="Web-{87EC33F8-20F9-4A9B-8B0C-47C86D280FAD}" dt="2020-11-23T12:05:30.615" v="1777" actId="14100"/>
          <ac:spMkLst>
            <pc:docMk/>
            <pc:sldMk cId="2201681962" sldId="351"/>
            <ac:spMk id="21" creationId="{3ECD1910-13C8-4425-96BC-6990C516FFFE}"/>
          </ac:spMkLst>
        </pc:spChg>
        <pc:spChg chg="mod">
          <ac:chgData name="Zenos Zenica" userId="de3ee720dba36952" providerId="Windows Live" clId="Web-{87EC33F8-20F9-4A9B-8B0C-47C86D280FAD}" dt="2020-11-23T12:06:19.632" v="1795" actId="14100"/>
          <ac:spMkLst>
            <pc:docMk/>
            <pc:sldMk cId="2201681962" sldId="351"/>
            <ac:spMk id="22" creationId="{E0645C7F-C00D-4F08-BCF8-ECDD08034137}"/>
          </ac:spMkLst>
        </pc:spChg>
        <pc:spChg chg="mod">
          <ac:chgData name="Zenos Zenica" userId="de3ee720dba36952" providerId="Windows Live" clId="Web-{87EC33F8-20F9-4A9B-8B0C-47C86D280FAD}" dt="2020-11-23T12:05:34.803" v="1778" actId="14100"/>
          <ac:spMkLst>
            <pc:docMk/>
            <pc:sldMk cId="2201681962" sldId="351"/>
            <ac:spMk id="23" creationId="{24F5F4B2-899F-4627-8D85-5B54F2610EA5}"/>
          </ac:spMkLst>
        </pc:spChg>
        <pc:spChg chg="mod">
          <ac:chgData name="Zenos Zenica" userId="de3ee720dba36952" providerId="Windows Live" clId="Web-{87EC33F8-20F9-4A9B-8B0C-47C86D280FAD}" dt="2020-11-23T12:06:59.175" v="1812" actId="1076"/>
          <ac:spMkLst>
            <pc:docMk/>
            <pc:sldMk cId="2201681962" sldId="351"/>
            <ac:spMk id="24" creationId="{4AEA2723-209D-4AFE-AE0E-97BDD42DAF08}"/>
          </ac:spMkLst>
        </pc:spChg>
        <pc:spChg chg="mod">
          <ac:chgData name="Zenos Zenica" userId="de3ee720dba36952" providerId="Windows Live" clId="Web-{87EC33F8-20F9-4A9B-8B0C-47C86D280FAD}" dt="2020-11-23T12:05:40.709" v="1779" actId="14100"/>
          <ac:spMkLst>
            <pc:docMk/>
            <pc:sldMk cId="2201681962" sldId="351"/>
            <ac:spMk id="25" creationId="{5490B377-415B-434B-B71C-EACAA60F2FD9}"/>
          </ac:spMkLst>
        </pc:spChg>
        <pc:spChg chg="mod">
          <ac:chgData name="Zenos Zenica" userId="de3ee720dba36952" providerId="Windows Live" clId="Web-{87EC33F8-20F9-4A9B-8B0C-47C86D280FAD}" dt="2020-11-23T12:06:19.679" v="1797" actId="14100"/>
          <ac:spMkLst>
            <pc:docMk/>
            <pc:sldMk cId="2201681962" sldId="351"/>
            <ac:spMk id="26" creationId="{73A2F6EF-0E95-4BF3-AEAE-1051D490598D}"/>
          </ac:spMkLst>
        </pc:spChg>
        <pc:spChg chg="mod">
          <ac:chgData name="Zenos Zenica" userId="de3ee720dba36952" providerId="Windows Live" clId="Web-{87EC33F8-20F9-4A9B-8B0C-47C86D280FAD}" dt="2020-11-23T12:05:07.162" v="1767"/>
          <ac:spMkLst>
            <pc:docMk/>
            <pc:sldMk cId="2201681962" sldId="351"/>
            <ac:spMk id="32" creationId="{4A0E62F7-18B8-44D8-959E-7880E7A1E932}"/>
          </ac:spMkLst>
        </pc:spChg>
        <pc:spChg chg="mod">
          <ac:chgData name="Zenos Zenica" userId="de3ee720dba36952" providerId="Windows Live" clId="Web-{87EC33F8-20F9-4A9B-8B0C-47C86D280FAD}" dt="2020-11-23T12:05:07.146" v="1766"/>
          <ac:spMkLst>
            <pc:docMk/>
            <pc:sldMk cId="2201681962" sldId="351"/>
            <ac:spMk id="33" creationId="{B5BA8DEE-BE90-44AD-8CCC-5A2D4796671E}"/>
          </ac:spMkLst>
        </pc:spChg>
        <pc:spChg chg="mod">
          <ac:chgData name="Zenos Zenica" userId="de3ee720dba36952" providerId="Windows Live" clId="Web-{87EC33F8-20F9-4A9B-8B0C-47C86D280FAD}" dt="2020-11-23T12:06:19.711" v="1798" actId="14100"/>
          <ac:spMkLst>
            <pc:docMk/>
            <pc:sldMk cId="2201681962" sldId="351"/>
            <ac:spMk id="34" creationId="{9E8C4B57-FD37-4B78-840E-6D153CB3B704}"/>
          </ac:spMkLst>
        </pc:spChg>
        <pc:spChg chg="mod">
          <ac:chgData name="Zenos Zenica" userId="de3ee720dba36952" providerId="Windows Live" clId="Web-{87EC33F8-20F9-4A9B-8B0C-47C86D280FAD}" dt="2020-11-23T12:06:19.726" v="1799" actId="14100"/>
          <ac:spMkLst>
            <pc:docMk/>
            <pc:sldMk cId="2201681962" sldId="351"/>
            <ac:spMk id="35" creationId="{F5496BF7-C078-4C18-B82F-795F701754D2}"/>
          </ac:spMkLst>
        </pc:spChg>
        <pc:spChg chg="mod">
          <ac:chgData name="Zenos Zenica" userId="de3ee720dba36952" providerId="Windows Live" clId="Web-{87EC33F8-20F9-4A9B-8B0C-47C86D280FAD}" dt="2020-11-23T12:06:19.742" v="1800" actId="14100"/>
          <ac:spMkLst>
            <pc:docMk/>
            <pc:sldMk cId="2201681962" sldId="351"/>
            <ac:spMk id="36" creationId="{E34E5659-F598-464E-A298-857BF0C44D25}"/>
          </ac:spMkLst>
        </pc:spChg>
        <pc:spChg chg="mod">
          <ac:chgData name="Zenos Zenica" userId="de3ee720dba36952" providerId="Windows Live" clId="Web-{87EC33F8-20F9-4A9B-8B0C-47C86D280FAD}" dt="2020-11-23T12:06:19.757" v="1801" actId="14100"/>
          <ac:spMkLst>
            <pc:docMk/>
            <pc:sldMk cId="2201681962" sldId="351"/>
            <ac:spMk id="37" creationId="{86D9A180-401F-4563-9D6E-62402469BAF4}"/>
          </ac:spMkLst>
        </pc:spChg>
        <pc:spChg chg="mod">
          <ac:chgData name="Zenos Zenica" userId="de3ee720dba36952" providerId="Windows Live" clId="Web-{87EC33F8-20F9-4A9B-8B0C-47C86D280FAD}" dt="2020-11-23T12:06:48.405" v="1809" actId="20577"/>
          <ac:spMkLst>
            <pc:docMk/>
            <pc:sldMk cId="2201681962" sldId="351"/>
            <ac:spMk id="38" creationId="{E7C1F750-1F1C-4A05-99BE-8B8FBBAD535C}"/>
          </ac:spMkLst>
        </pc:spChg>
        <pc:spChg chg="mod">
          <ac:chgData name="Zenos Zenica" userId="de3ee720dba36952" providerId="Windows Live" clId="Web-{87EC33F8-20F9-4A9B-8B0C-47C86D280FAD}" dt="2020-11-23T12:06:19.804" v="1803" actId="14100"/>
          <ac:spMkLst>
            <pc:docMk/>
            <pc:sldMk cId="2201681962" sldId="351"/>
            <ac:spMk id="39" creationId="{4565241B-0259-4F78-A1EC-5D561528C49C}"/>
          </ac:spMkLst>
        </pc:spChg>
        <pc:spChg chg="mod">
          <ac:chgData name="Zenos Zenica" userId="de3ee720dba36952" providerId="Windows Live" clId="Web-{87EC33F8-20F9-4A9B-8B0C-47C86D280FAD}" dt="2020-11-23T12:06:19.820" v="1804" actId="14100"/>
          <ac:spMkLst>
            <pc:docMk/>
            <pc:sldMk cId="2201681962" sldId="351"/>
            <ac:spMk id="40" creationId="{AC4F719D-5A49-41E8-92DD-67A28B373485}"/>
          </ac:spMkLst>
        </pc:spChg>
        <pc:spChg chg="mod">
          <ac:chgData name="Zenos Zenica" userId="de3ee720dba36952" providerId="Windows Live" clId="Web-{87EC33F8-20F9-4A9B-8B0C-47C86D280FAD}" dt="2020-11-23T12:07:34.840" v="1821" actId="20577"/>
          <ac:spMkLst>
            <pc:docMk/>
            <pc:sldMk cId="2201681962" sldId="351"/>
            <ac:spMk id="41" creationId="{E70D4EB7-6268-41EC-A61A-1D925FF37BF5}"/>
          </ac:spMkLst>
        </pc:spChg>
        <pc:cxnChg chg="mod">
          <ac:chgData name="Zenos Zenica" userId="de3ee720dba36952" providerId="Windows Live" clId="Web-{87EC33F8-20F9-4A9B-8B0C-47C86D280FAD}" dt="2020-11-23T12:06:19.679" v="1797" actId="14100"/>
          <ac:cxnSpMkLst>
            <pc:docMk/>
            <pc:sldMk cId="2201681962" sldId="351"/>
            <ac:cxnSpMk id="8" creationId="{B2116C94-9CAD-42F5-AD45-FD645175CB02}"/>
          </ac:cxnSpMkLst>
        </pc:cxnChg>
        <pc:cxnChg chg="mod">
          <ac:chgData name="Zenos Zenica" userId="de3ee720dba36952" providerId="Windows Live" clId="Web-{87EC33F8-20F9-4A9B-8B0C-47C86D280FAD}" dt="2020-11-23T12:06:40.207" v="1808" actId="1076"/>
          <ac:cxnSpMkLst>
            <pc:docMk/>
            <pc:sldMk cId="2201681962" sldId="351"/>
            <ac:cxnSpMk id="12" creationId="{5DCC6894-1A49-4575-8419-54AC3B305CFC}"/>
          </ac:cxnSpMkLst>
        </pc:cxnChg>
        <pc:cxnChg chg="mod">
          <ac:chgData name="Zenos Zenica" userId="de3ee720dba36952" providerId="Windows Live" clId="Web-{87EC33F8-20F9-4A9B-8B0C-47C86D280FAD}" dt="2020-11-23T12:06:19.632" v="1795" actId="14100"/>
          <ac:cxnSpMkLst>
            <pc:docMk/>
            <pc:sldMk cId="2201681962" sldId="351"/>
            <ac:cxnSpMk id="30" creationId="{142494D4-2A11-4244-9809-BCC4BAD9381E}"/>
          </ac:cxnSpMkLst>
        </pc:cxnChg>
      </pc:sldChg>
      <pc:sldChg chg="modSp add ord">
        <pc:chgData name="Zenos Zenica" userId="de3ee720dba36952" providerId="Windows Live" clId="Web-{87EC33F8-20F9-4A9B-8B0C-47C86D280FAD}" dt="2020-11-23T12:08:57.068" v="1870" actId="14100"/>
        <pc:sldMkLst>
          <pc:docMk/>
          <pc:sldMk cId="3702684892" sldId="352"/>
        </pc:sldMkLst>
        <pc:spChg chg="mod">
          <ac:chgData name="Zenos Zenica" userId="de3ee720dba36952" providerId="Windows Live" clId="Web-{87EC33F8-20F9-4A9B-8B0C-47C86D280FAD}" dt="2020-11-23T12:08:57.068" v="1870" actId="14100"/>
          <ac:spMkLst>
            <pc:docMk/>
            <pc:sldMk cId="3702684892" sldId="352"/>
            <ac:spMk id="4" creationId="{B8CB9108-1583-4A1C-846B-3263D00D0833}"/>
          </ac:spMkLst>
        </pc:spChg>
        <pc:spChg chg="mod">
          <ac:chgData name="Zenos Zenica" userId="de3ee720dba36952" providerId="Windows Live" clId="Web-{87EC33F8-20F9-4A9B-8B0C-47C86D280FAD}" dt="2020-11-23T12:07:58.165" v="1831"/>
          <ac:spMkLst>
            <pc:docMk/>
            <pc:sldMk cId="3702684892" sldId="352"/>
            <ac:spMk id="42" creationId="{9C233EDF-A62B-49A4-9A33-F20190F12FF4}"/>
          </ac:spMkLst>
        </pc:spChg>
        <pc:spChg chg="mod">
          <ac:chgData name="Zenos Zenica" userId="de3ee720dba36952" providerId="Windows Live" clId="Web-{87EC33F8-20F9-4A9B-8B0C-47C86D280FAD}" dt="2020-11-23T12:07:58.180" v="1832"/>
          <ac:spMkLst>
            <pc:docMk/>
            <pc:sldMk cId="3702684892" sldId="352"/>
            <ac:spMk id="43" creationId="{1324A4B9-8D88-402A-9A61-553034EF06F9}"/>
          </ac:spMkLst>
        </pc:spChg>
        <pc:spChg chg="mod">
          <ac:chgData name="Zenos Zenica" userId="de3ee720dba36952" providerId="Windows Live" clId="Web-{87EC33F8-20F9-4A9B-8B0C-47C86D280FAD}" dt="2020-11-23T12:07:58.192" v="1833"/>
          <ac:spMkLst>
            <pc:docMk/>
            <pc:sldMk cId="3702684892" sldId="352"/>
            <ac:spMk id="44" creationId="{03B21F54-579D-4DDE-9938-5F843A02E0EE}"/>
          </ac:spMkLst>
        </pc:spChg>
        <pc:spChg chg="mod">
          <ac:chgData name="Zenos Zenica" userId="de3ee720dba36952" providerId="Windows Live" clId="Web-{87EC33F8-20F9-4A9B-8B0C-47C86D280FAD}" dt="2020-11-23T12:07:58.203" v="1834"/>
          <ac:spMkLst>
            <pc:docMk/>
            <pc:sldMk cId="3702684892" sldId="352"/>
            <ac:spMk id="45" creationId="{415980C7-EB98-442F-B252-56448E12B071}"/>
          </ac:spMkLst>
        </pc:spChg>
        <pc:spChg chg="mod">
          <ac:chgData name="Zenos Zenica" userId="de3ee720dba36952" providerId="Windows Live" clId="Web-{87EC33F8-20F9-4A9B-8B0C-47C86D280FAD}" dt="2020-11-23T12:07:58.214" v="1835"/>
          <ac:spMkLst>
            <pc:docMk/>
            <pc:sldMk cId="3702684892" sldId="352"/>
            <ac:spMk id="46" creationId="{C82CB794-0457-4CF9-9B68-162CB57104A3}"/>
          </ac:spMkLst>
        </pc:spChg>
        <pc:spChg chg="mod">
          <ac:chgData name="Zenos Zenica" userId="de3ee720dba36952" providerId="Windows Live" clId="Web-{87EC33F8-20F9-4A9B-8B0C-47C86D280FAD}" dt="2020-11-23T12:07:58.225" v="1836"/>
          <ac:spMkLst>
            <pc:docMk/>
            <pc:sldMk cId="3702684892" sldId="352"/>
            <ac:spMk id="47" creationId="{E812E71A-0B46-4835-B376-31E7B28C108A}"/>
          </ac:spMkLst>
        </pc:spChg>
        <pc:spChg chg="mod">
          <ac:chgData name="Zenos Zenica" userId="de3ee720dba36952" providerId="Windows Live" clId="Web-{87EC33F8-20F9-4A9B-8B0C-47C86D280FAD}" dt="2020-11-23T12:07:58.236" v="1837"/>
          <ac:spMkLst>
            <pc:docMk/>
            <pc:sldMk cId="3702684892" sldId="352"/>
            <ac:spMk id="48" creationId="{484D4BF9-926A-4C21-A14F-3411CA991DD2}"/>
          </ac:spMkLst>
        </pc:spChg>
        <pc:spChg chg="mod">
          <ac:chgData name="Zenos Zenica" userId="de3ee720dba36952" providerId="Windows Live" clId="Web-{87EC33F8-20F9-4A9B-8B0C-47C86D280FAD}" dt="2020-11-23T12:07:58.247" v="1838"/>
          <ac:spMkLst>
            <pc:docMk/>
            <pc:sldMk cId="3702684892" sldId="352"/>
            <ac:spMk id="49" creationId="{FD50AAAF-4ACA-4524-92E3-73568B8BEEA0}"/>
          </ac:spMkLst>
        </pc:spChg>
        <pc:spChg chg="mod">
          <ac:chgData name="Zenos Zenica" userId="de3ee720dba36952" providerId="Windows Live" clId="Web-{87EC33F8-20F9-4A9B-8B0C-47C86D280FAD}" dt="2020-11-23T12:07:58.260" v="1839"/>
          <ac:spMkLst>
            <pc:docMk/>
            <pc:sldMk cId="3702684892" sldId="352"/>
            <ac:spMk id="50" creationId="{4DE1B283-3240-4275-B8DE-D4B5B7FC127A}"/>
          </ac:spMkLst>
        </pc:spChg>
        <pc:spChg chg="mod">
          <ac:chgData name="Zenos Zenica" userId="de3ee720dba36952" providerId="Windows Live" clId="Web-{87EC33F8-20F9-4A9B-8B0C-47C86D280FAD}" dt="2020-11-23T12:07:58.272" v="1840"/>
          <ac:spMkLst>
            <pc:docMk/>
            <pc:sldMk cId="3702684892" sldId="352"/>
            <ac:spMk id="51" creationId="{DC40C1A5-08D6-4A31-B903-77E9C163448B}"/>
          </ac:spMkLst>
        </pc:spChg>
        <pc:spChg chg="mod">
          <ac:chgData name="Zenos Zenica" userId="de3ee720dba36952" providerId="Windows Live" clId="Web-{87EC33F8-20F9-4A9B-8B0C-47C86D280FAD}" dt="2020-11-23T12:07:58.285" v="1841"/>
          <ac:spMkLst>
            <pc:docMk/>
            <pc:sldMk cId="3702684892" sldId="352"/>
            <ac:spMk id="52" creationId="{2B7FFCA3-8832-494D-A5F9-C736602BD185}"/>
          </ac:spMkLst>
        </pc:spChg>
        <pc:spChg chg="mod">
          <ac:chgData name="Zenos Zenica" userId="de3ee720dba36952" providerId="Windows Live" clId="Web-{87EC33F8-20F9-4A9B-8B0C-47C86D280FAD}" dt="2020-11-23T12:07:58.302" v="1842"/>
          <ac:spMkLst>
            <pc:docMk/>
            <pc:sldMk cId="3702684892" sldId="352"/>
            <ac:spMk id="53" creationId="{0B0B5F43-4472-42D3-A87B-855FEAF4CDFD}"/>
          </ac:spMkLst>
        </pc:spChg>
        <pc:spChg chg="mod">
          <ac:chgData name="Zenos Zenica" userId="de3ee720dba36952" providerId="Windows Live" clId="Web-{87EC33F8-20F9-4A9B-8B0C-47C86D280FAD}" dt="2020-11-23T12:07:58.318" v="1843"/>
          <ac:spMkLst>
            <pc:docMk/>
            <pc:sldMk cId="3702684892" sldId="352"/>
            <ac:spMk id="54" creationId="{358B3BD9-1B5D-4144-B1AA-3660E3A8884E}"/>
          </ac:spMkLst>
        </pc:spChg>
        <pc:spChg chg="mod">
          <ac:chgData name="Zenos Zenica" userId="de3ee720dba36952" providerId="Windows Live" clId="Web-{87EC33F8-20F9-4A9B-8B0C-47C86D280FAD}" dt="2020-11-23T12:07:58.329" v="1844"/>
          <ac:spMkLst>
            <pc:docMk/>
            <pc:sldMk cId="3702684892" sldId="352"/>
            <ac:spMk id="55" creationId="{E1519BCE-6A7C-45C7-B8EE-5AE83D30273E}"/>
          </ac:spMkLst>
        </pc:spChg>
        <pc:spChg chg="mod">
          <ac:chgData name="Zenos Zenica" userId="de3ee720dba36952" providerId="Windows Live" clId="Web-{87EC33F8-20F9-4A9B-8B0C-47C86D280FAD}" dt="2020-11-23T12:07:58.340" v="1845"/>
          <ac:spMkLst>
            <pc:docMk/>
            <pc:sldMk cId="3702684892" sldId="352"/>
            <ac:spMk id="56" creationId="{683D4601-BA8E-41C3-BCA1-90200A27A667}"/>
          </ac:spMkLst>
        </pc:spChg>
        <pc:spChg chg="mod">
          <ac:chgData name="Zenos Zenica" userId="de3ee720dba36952" providerId="Windows Live" clId="Web-{87EC33F8-20F9-4A9B-8B0C-47C86D280FAD}" dt="2020-11-23T12:08:19.211" v="1861" actId="1076"/>
          <ac:spMkLst>
            <pc:docMk/>
            <pc:sldMk cId="3702684892" sldId="352"/>
            <ac:spMk id="57" creationId="{ECA2F8E6-ED24-47E7-B7B3-572F3DBE799B}"/>
          </ac:spMkLst>
        </pc:spChg>
        <pc:spChg chg="mod">
          <ac:chgData name="Zenos Zenica" userId="de3ee720dba36952" providerId="Windows Live" clId="Web-{87EC33F8-20F9-4A9B-8B0C-47C86D280FAD}" dt="2020-11-23T12:07:58.365" v="1847"/>
          <ac:spMkLst>
            <pc:docMk/>
            <pc:sldMk cId="3702684892" sldId="352"/>
            <ac:spMk id="58" creationId="{891D1289-37E0-46DE-B247-F395980F8133}"/>
          </ac:spMkLst>
        </pc:spChg>
        <pc:spChg chg="mod">
          <ac:chgData name="Zenos Zenica" userId="de3ee720dba36952" providerId="Windows Live" clId="Web-{87EC33F8-20F9-4A9B-8B0C-47C86D280FAD}" dt="2020-11-23T12:08:36.121" v="1863" actId="1076"/>
          <ac:spMkLst>
            <pc:docMk/>
            <pc:sldMk cId="3702684892" sldId="352"/>
            <ac:spMk id="59" creationId="{0482A1AE-4A44-4379-8A75-A32EF6697430}"/>
          </ac:spMkLst>
        </pc:spChg>
        <pc:spChg chg="mod">
          <ac:chgData name="Zenos Zenica" userId="de3ee720dba36952" providerId="Windows Live" clId="Web-{87EC33F8-20F9-4A9B-8B0C-47C86D280FAD}" dt="2020-11-23T12:08:11.623" v="1860" actId="1076"/>
          <ac:spMkLst>
            <pc:docMk/>
            <pc:sldMk cId="3702684892" sldId="352"/>
            <ac:spMk id="60" creationId="{0B2B1D00-322C-4A2A-9BB5-F7102CB793EC}"/>
          </ac:spMkLst>
        </pc:spChg>
        <pc:spChg chg="mod">
          <ac:chgData name="Zenos Zenica" userId="de3ee720dba36952" providerId="Windows Live" clId="Web-{87EC33F8-20F9-4A9B-8B0C-47C86D280FAD}" dt="2020-11-23T12:08:43.846" v="1864" actId="1076"/>
          <ac:spMkLst>
            <pc:docMk/>
            <pc:sldMk cId="3702684892" sldId="352"/>
            <ac:spMk id="61" creationId="{224C32E0-F119-4A8E-B1DF-9FAE34F34BEA}"/>
          </ac:spMkLst>
        </pc:spChg>
        <pc:spChg chg="mod">
          <ac:chgData name="Zenos Zenica" userId="de3ee720dba36952" providerId="Windows Live" clId="Web-{87EC33F8-20F9-4A9B-8B0C-47C86D280FAD}" dt="2020-11-23T12:08:24.229" v="1862" actId="1076"/>
          <ac:spMkLst>
            <pc:docMk/>
            <pc:sldMk cId="3702684892" sldId="352"/>
            <ac:spMk id="62" creationId="{14E08276-DA83-4B01-8785-1EEB7B7A119E}"/>
          </ac:spMkLst>
        </pc:spChg>
        <pc:spChg chg="mod">
          <ac:chgData name="Zenos Zenica" userId="de3ee720dba36952" providerId="Windows Live" clId="Web-{87EC33F8-20F9-4A9B-8B0C-47C86D280FAD}" dt="2020-11-23T12:07:58.429" v="1852"/>
          <ac:spMkLst>
            <pc:docMk/>
            <pc:sldMk cId="3702684892" sldId="352"/>
            <ac:spMk id="63" creationId="{5CA3366C-4790-4630-9AD3-89202D826674}"/>
          </ac:spMkLst>
        </pc:spChg>
        <pc:spChg chg="mod">
          <ac:chgData name="Zenos Zenica" userId="de3ee720dba36952" providerId="Windows Live" clId="Web-{87EC33F8-20F9-4A9B-8B0C-47C86D280FAD}" dt="2020-11-23T12:07:58.442" v="1853"/>
          <ac:spMkLst>
            <pc:docMk/>
            <pc:sldMk cId="3702684892" sldId="352"/>
            <ac:spMk id="64" creationId="{4D77EC7A-C407-492C-A833-50CF4301C950}"/>
          </ac:spMkLst>
        </pc:spChg>
        <pc:spChg chg="mod">
          <ac:chgData name="Zenos Zenica" userId="de3ee720dba36952" providerId="Windows Live" clId="Web-{87EC33F8-20F9-4A9B-8B0C-47C86D280FAD}" dt="2020-11-23T12:07:58.454" v="1854"/>
          <ac:spMkLst>
            <pc:docMk/>
            <pc:sldMk cId="3702684892" sldId="352"/>
            <ac:spMk id="65" creationId="{A845C0A5-EC93-4884-AB9E-9E12C9F12BB4}"/>
          </ac:spMkLst>
        </pc:spChg>
        <pc:spChg chg="mod">
          <ac:chgData name="Zenos Zenica" userId="de3ee720dba36952" providerId="Windows Live" clId="Web-{87EC33F8-20F9-4A9B-8B0C-47C86D280FAD}" dt="2020-11-23T12:07:58.466" v="1855"/>
          <ac:spMkLst>
            <pc:docMk/>
            <pc:sldMk cId="3702684892" sldId="352"/>
            <ac:spMk id="66" creationId="{CCBC3F26-4677-4200-8DA9-6B2D3E935F41}"/>
          </ac:spMkLst>
        </pc:spChg>
        <pc:spChg chg="mod">
          <ac:chgData name="Zenos Zenica" userId="de3ee720dba36952" providerId="Windows Live" clId="Web-{87EC33F8-20F9-4A9B-8B0C-47C86D280FAD}" dt="2020-11-23T12:07:58.477" v="1856"/>
          <ac:spMkLst>
            <pc:docMk/>
            <pc:sldMk cId="3702684892" sldId="352"/>
            <ac:spMk id="67" creationId="{C15DF3D8-689B-4F42-BE3A-9EA6C5BCDBA2}"/>
          </ac:spMkLst>
        </pc:spChg>
        <pc:spChg chg="mod">
          <ac:chgData name="Zenos Zenica" userId="de3ee720dba36952" providerId="Windows Live" clId="Web-{87EC33F8-20F9-4A9B-8B0C-47C86D280FAD}" dt="2020-11-23T12:07:58.489" v="1857"/>
          <ac:spMkLst>
            <pc:docMk/>
            <pc:sldMk cId="3702684892" sldId="352"/>
            <ac:spMk id="68" creationId="{8EE60291-B51D-48BF-B8F6-169C5C6FF008}"/>
          </ac:spMkLst>
        </pc:spChg>
        <pc:spChg chg="mod">
          <ac:chgData name="Zenos Zenica" userId="de3ee720dba36952" providerId="Windows Live" clId="Web-{87EC33F8-20F9-4A9B-8B0C-47C86D280FAD}" dt="2020-11-23T12:07:58.501" v="1858"/>
          <ac:spMkLst>
            <pc:docMk/>
            <pc:sldMk cId="3702684892" sldId="352"/>
            <ac:spMk id="69" creationId="{CA25C062-4462-4566-A3F9-B5DF68C0371F}"/>
          </ac:spMkLst>
        </pc:spChg>
        <pc:spChg chg="mod">
          <ac:chgData name="Zenos Zenica" userId="de3ee720dba36952" providerId="Windows Live" clId="Web-{87EC33F8-20F9-4A9B-8B0C-47C86D280FAD}" dt="2020-11-23T12:07:58.512" v="1859"/>
          <ac:spMkLst>
            <pc:docMk/>
            <pc:sldMk cId="3702684892" sldId="352"/>
            <ac:spMk id="70" creationId="{3A3B4C79-AABD-4948-B4D5-E81A5ADA2D04}"/>
          </ac:spMkLst>
        </pc:spChg>
      </pc:sldChg>
      <pc:sldChg chg="modSp add">
        <pc:chgData name="Zenos Zenica" userId="de3ee720dba36952" providerId="Windows Live" clId="Web-{87EC33F8-20F9-4A9B-8B0C-47C86D280FAD}" dt="2020-11-23T12:13:40.692" v="1921" actId="1076"/>
        <pc:sldMkLst>
          <pc:docMk/>
          <pc:sldMk cId="3585118025" sldId="353"/>
        </pc:sldMkLst>
        <pc:spChg chg="mod">
          <ac:chgData name="Zenos Zenica" userId="de3ee720dba36952" providerId="Windows Live" clId="Web-{87EC33F8-20F9-4A9B-8B0C-47C86D280FAD}" dt="2020-11-23T12:09:40.020" v="1878" actId="20577"/>
          <ac:spMkLst>
            <pc:docMk/>
            <pc:sldMk cId="3585118025" sldId="353"/>
            <ac:spMk id="4" creationId="{B8CB9108-1583-4A1C-846B-3263D00D0833}"/>
          </ac:spMkLst>
        </pc:spChg>
        <pc:spChg chg="mod">
          <ac:chgData name="Zenos Zenica" userId="de3ee720dba36952" providerId="Windows Live" clId="Web-{87EC33F8-20F9-4A9B-8B0C-47C86D280FAD}" dt="2020-11-23T12:13:04.130" v="1910" actId="14100"/>
          <ac:spMkLst>
            <pc:docMk/>
            <pc:sldMk cId="3585118025" sldId="353"/>
            <ac:spMk id="34" creationId="{533EAD79-4029-44EE-922A-6DABD593C31C}"/>
          </ac:spMkLst>
        </pc:spChg>
        <pc:spChg chg="mod">
          <ac:chgData name="Zenos Zenica" userId="de3ee720dba36952" providerId="Windows Live" clId="Web-{87EC33F8-20F9-4A9B-8B0C-47C86D280FAD}" dt="2020-11-23T12:11:54.070" v="1896" actId="1076"/>
          <ac:spMkLst>
            <pc:docMk/>
            <pc:sldMk cId="3585118025" sldId="353"/>
            <ac:spMk id="41" creationId="{AE97D648-F035-4FB2-99ED-6CFE89A9E720}"/>
          </ac:spMkLst>
        </pc:spChg>
        <pc:spChg chg="mod">
          <ac:chgData name="Zenos Zenica" userId="de3ee720dba36952" providerId="Windows Live" clId="Web-{87EC33F8-20F9-4A9B-8B0C-47C86D280FAD}" dt="2020-11-23T12:13:08.129" v="1911" actId="14100"/>
          <ac:spMkLst>
            <pc:docMk/>
            <pc:sldMk cId="3585118025" sldId="353"/>
            <ac:spMk id="72" creationId="{B0B17926-7179-480F-A939-39BB9FC09AF1}"/>
          </ac:spMkLst>
        </pc:spChg>
        <pc:spChg chg="mod">
          <ac:chgData name="Zenos Zenica" userId="de3ee720dba36952" providerId="Windows Live" clId="Web-{87EC33F8-20F9-4A9B-8B0C-47C86D280FAD}" dt="2020-11-23T12:13:14.596" v="1919" actId="20577"/>
          <ac:spMkLst>
            <pc:docMk/>
            <pc:sldMk cId="3585118025" sldId="353"/>
            <ac:spMk id="76" creationId="{6912E464-D505-41F6-8324-1E5626713A3A}"/>
          </ac:spMkLst>
        </pc:spChg>
        <pc:spChg chg="mod">
          <ac:chgData name="Zenos Zenica" userId="de3ee720dba36952" providerId="Windows Live" clId="Web-{87EC33F8-20F9-4A9B-8B0C-47C86D280FAD}" dt="2020-11-23T12:13:18.475" v="1920" actId="20577"/>
          <ac:spMkLst>
            <pc:docMk/>
            <pc:sldMk cId="3585118025" sldId="353"/>
            <ac:spMk id="77" creationId="{AD4E4DB6-5ED1-4EDD-B81C-5C8DD9AFDA60}"/>
          </ac:spMkLst>
        </pc:spChg>
        <pc:spChg chg="mod">
          <ac:chgData name="Zenos Zenica" userId="de3ee720dba36952" providerId="Windows Live" clId="Web-{87EC33F8-20F9-4A9B-8B0C-47C86D280FAD}" dt="2020-11-23T12:10:28.124" v="1885" actId="14100"/>
          <ac:spMkLst>
            <pc:docMk/>
            <pc:sldMk cId="3585118025" sldId="353"/>
            <ac:spMk id="100" creationId="{4828CF2B-D0E3-4C99-9333-51FBA80A3DE0}"/>
          </ac:spMkLst>
        </pc:spChg>
        <pc:spChg chg="mod">
          <ac:chgData name="Zenos Zenica" userId="de3ee720dba36952" providerId="Windows Live" clId="Web-{87EC33F8-20F9-4A9B-8B0C-47C86D280FAD}" dt="2020-11-23T12:11:06.195" v="1888" actId="20577"/>
          <ac:spMkLst>
            <pc:docMk/>
            <pc:sldMk cId="3585118025" sldId="353"/>
            <ac:spMk id="101" creationId="{1F121331-B9EE-43A0-8D37-FC03A4F13E2F}"/>
          </ac:spMkLst>
        </pc:spChg>
        <pc:spChg chg="mod">
          <ac:chgData name="Zenos Zenica" userId="de3ee720dba36952" providerId="Windows Live" clId="Web-{87EC33F8-20F9-4A9B-8B0C-47C86D280FAD}" dt="2020-11-23T12:10:59.626" v="1887" actId="20577"/>
          <ac:spMkLst>
            <pc:docMk/>
            <pc:sldMk cId="3585118025" sldId="353"/>
            <ac:spMk id="102" creationId="{A0000FED-6E92-42B8-BA47-345EDB9A31CB}"/>
          </ac:spMkLst>
        </pc:spChg>
        <pc:spChg chg="mod">
          <ac:chgData name="Zenos Zenica" userId="de3ee720dba36952" providerId="Windows Live" clId="Web-{87EC33F8-20F9-4A9B-8B0C-47C86D280FAD}" dt="2020-11-23T12:13:40.692" v="1921" actId="1076"/>
          <ac:spMkLst>
            <pc:docMk/>
            <pc:sldMk cId="3585118025" sldId="353"/>
            <ac:spMk id="103" creationId="{9092344C-388A-4616-89F5-8EAFC10AB22F}"/>
          </ac:spMkLst>
        </pc:spChg>
        <pc:spChg chg="mod">
          <ac:chgData name="Zenos Zenica" userId="de3ee720dba36952" providerId="Windows Live" clId="Web-{87EC33F8-20F9-4A9B-8B0C-47C86D280FAD}" dt="2020-11-23T12:11:30.313" v="1894" actId="1076"/>
          <ac:spMkLst>
            <pc:docMk/>
            <pc:sldMk cId="3585118025" sldId="353"/>
            <ac:spMk id="104" creationId="{3447823A-AC12-4EA8-8E99-3320DA809566}"/>
          </ac:spMkLst>
        </pc:spChg>
        <pc:grpChg chg="mod">
          <ac:chgData name="Zenos Zenica" userId="de3ee720dba36952" providerId="Windows Live" clId="Web-{87EC33F8-20F9-4A9B-8B0C-47C86D280FAD}" dt="2020-11-23T12:09:59.116" v="1882" actId="1076"/>
          <ac:grpSpMkLst>
            <pc:docMk/>
            <pc:sldMk cId="3585118025" sldId="353"/>
            <ac:grpSpMk id="3" creationId="{9D1F3F19-52DA-468A-9944-1184B4CBAAB2}"/>
          </ac:grpSpMkLst>
        </pc:grpChg>
        <pc:picChg chg="mod">
          <ac:chgData name="Zenos Zenica" userId="de3ee720dba36952" providerId="Windows Live" clId="Web-{87EC33F8-20F9-4A9B-8B0C-47C86D280FAD}" dt="2020-11-23T12:10:03.240" v="1883" actId="1076"/>
          <ac:picMkLst>
            <pc:docMk/>
            <pc:sldMk cId="3585118025" sldId="353"/>
            <ac:picMk id="33" creationId="{E66801E6-618E-404B-B122-DB3B83B8B589}"/>
          </ac:picMkLst>
        </pc:picChg>
      </pc:sldChg>
      <pc:sldChg chg="modSp add ord">
        <pc:chgData name="Zenos Zenica" userId="de3ee720dba36952" providerId="Windows Live" clId="Web-{87EC33F8-20F9-4A9B-8B0C-47C86D280FAD}" dt="2020-11-23T12:16:36.370" v="1956" actId="1076"/>
        <pc:sldMkLst>
          <pc:docMk/>
          <pc:sldMk cId="2251849573" sldId="354"/>
        </pc:sldMkLst>
        <pc:spChg chg="mod">
          <ac:chgData name="Zenos Zenica" userId="de3ee720dba36952" providerId="Windows Live" clId="Web-{87EC33F8-20F9-4A9B-8B0C-47C86D280FAD}" dt="2020-11-23T12:14:15.397" v="1932" actId="20577"/>
          <ac:spMkLst>
            <pc:docMk/>
            <pc:sldMk cId="2251849573" sldId="354"/>
            <ac:spMk id="4" creationId="{B8CB9108-1583-4A1C-846B-3263D00D0833}"/>
          </ac:spMkLst>
        </pc:spChg>
        <pc:spChg chg="mod">
          <ac:chgData name="Zenos Zenica" userId="de3ee720dba36952" providerId="Windows Live" clId="Web-{87EC33F8-20F9-4A9B-8B0C-47C86D280FAD}" dt="2020-11-23T12:15:06.680" v="1942" actId="20577"/>
          <ac:spMkLst>
            <pc:docMk/>
            <pc:sldMk cId="2251849573" sldId="354"/>
            <ac:spMk id="53" creationId="{89F04E0E-6200-4D6B-85E5-B64304DBEA4D}"/>
          </ac:spMkLst>
        </pc:spChg>
        <pc:spChg chg="mod">
          <ac:chgData name="Zenos Zenica" userId="de3ee720dba36952" providerId="Windows Live" clId="Web-{87EC33F8-20F9-4A9B-8B0C-47C86D280FAD}" dt="2020-11-23T12:15:45.572" v="1952" actId="20577"/>
          <ac:spMkLst>
            <pc:docMk/>
            <pc:sldMk cId="2251849573" sldId="354"/>
            <ac:spMk id="54" creationId="{5B97D2D6-5395-4C78-9417-079579A7E4D3}"/>
          </ac:spMkLst>
        </pc:spChg>
        <pc:spChg chg="mod">
          <ac:chgData name="Zenos Zenica" userId="de3ee720dba36952" providerId="Windows Live" clId="Web-{87EC33F8-20F9-4A9B-8B0C-47C86D280FAD}" dt="2020-11-23T12:15:28.337" v="1947" actId="20577"/>
          <ac:spMkLst>
            <pc:docMk/>
            <pc:sldMk cId="2251849573" sldId="354"/>
            <ac:spMk id="55" creationId="{8BEDD873-E64C-40F4-B182-FB5F5CDAD1C9}"/>
          </ac:spMkLst>
        </pc:spChg>
        <pc:spChg chg="mod">
          <ac:chgData name="Zenos Zenica" userId="de3ee720dba36952" providerId="Windows Live" clId="Web-{87EC33F8-20F9-4A9B-8B0C-47C86D280FAD}" dt="2020-11-23T12:15:13.743" v="1944" actId="20577"/>
          <ac:spMkLst>
            <pc:docMk/>
            <pc:sldMk cId="2251849573" sldId="354"/>
            <ac:spMk id="56" creationId="{3A478D9D-309E-4A47-9781-A3641C71BD29}"/>
          </ac:spMkLst>
        </pc:spChg>
        <pc:spChg chg="mod">
          <ac:chgData name="Zenos Zenica" userId="de3ee720dba36952" providerId="Windows Live" clId="Web-{87EC33F8-20F9-4A9B-8B0C-47C86D280FAD}" dt="2020-11-23T12:14:54.383" v="1939" actId="20577"/>
          <ac:spMkLst>
            <pc:docMk/>
            <pc:sldMk cId="2251849573" sldId="354"/>
            <ac:spMk id="110" creationId="{FEBC49F3-C35F-4B85-8846-9586AD9BE82E}"/>
          </ac:spMkLst>
        </pc:spChg>
        <pc:spChg chg="mod">
          <ac:chgData name="Zenos Zenica" userId="de3ee720dba36952" providerId="Windows Live" clId="Web-{87EC33F8-20F9-4A9B-8B0C-47C86D280FAD}" dt="2020-11-23T12:14:43.570" v="1935" actId="20577"/>
          <ac:spMkLst>
            <pc:docMk/>
            <pc:sldMk cId="2251849573" sldId="354"/>
            <ac:spMk id="111" creationId="{29D91A77-EE5E-4C0F-92CB-03C34DD424AF}"/>
          </ac:spMkLst>
        </pc:spChg>
        <pc:grpChg chg="mod">
          <ac:chgData name="Zenos Zenica" userId="de3ee720dba36952" providerId="Windows Live" clId="Web-{87EC33F8-20F9-4A9B-8B0C-47C86D280FAD}" dt="2020-11-23T12:15:51.181" v="1953" actId="1076"/>
          <ac:grpSpMkLst>
            <pc:docMk/>
            <pc:sldMk cId="2251849573" sldId="354"/>
            <ac:grpSpMk id="5" creationId="{1B76796B-C9AA-4190-88E6-D0119F3A7C57}"/>
          </ac:grpSpMkLst>
        </pc:grpChg>
        <pc:graphicFrameChg chg="mod">
          <ac:chgData name="Zenos Zenica" userId="de3ee720dba36952" providerId="Windows Live" clId="Web-{87EC33F8-20F9-4A9B-8B0C-47C86D280FAD}" dt="2020-11-23T12:16:36.370" v="1956" actId="1076"/>
          <ac:graphicFrameMkLst>
            <pc:docMk/>
            <pc:sldMk cId="2251849573" sldId="354"/>
            <ac:graphicFrameMk id="118" creationId="{9D0CC4C0-D041-43A8-A749-3FC5CEF351EE}"/>
          </ac:graphicFrameMkLst>
        </pc:graphicFrameChg>
      </pc:sldChg>
      <pc:sldChg chg="modSp add ord">
        <pc:chgData name="Zenos Zenica" userId="de3ee720dba36952" providerId="Windows Live" clId="Web-{87EC33F8-20F9-4A9B-8B0C-47C86D280FAD}" dt="2020-11-23T12:17:53.700" v="1997"/>
        <pc:sldMkLst>
          <pc:docMk/>
          <pc:sldMk cId="711073840" sldId="355"/>
        </pc:sldMkLst>
        <pc:spChg chg="mod">
          <ac:chgData name="Zenos Zenica" userId="de3ee720dba36952" providerId="Windows Live" clId="Web-{87EC33F8-20F9-4A9B-8B0C-47C86D280FAD}" dt="2020-11-23T12:17:42.325" v="1969" actId="1076"/>
          <ac:spMkLst>
            <pc:docMk/>
            <pc:sldMk cId="711073840" sldId="355"/>
            <ac:spMk id="4" creationId="{B8CB9108-1583-4A1C-846B-3263D00D0833}"/>
          </ac:spMkLst>
        </pc:spChg>
        <pc:spChg chg="mod">
          <ac:chgData name="Zenos Zenica" userId="de3ee720dba36952" providerId="Windows Live" clId="Web-{87EC33F8-20F9-4A9B-8B0C-47C86D280FAD}" dt="2020-11-23T12:17:53.310" v="1970"/>
          <ac:spMkLst>
            <pc:docMk/>
            <pc:sldMk cId="711073840" sldId="355"/>
            <ac:spMk id="21" creationId="{DBB4B7F1-082D-4C2B-806E-79BFDF06BCC1}"/>
          </ac:spMkLst>
        </pc:spChg>
        <pc:spChg chg="mod">
          <ac:chgData name="Zenos Zenica" userId="de3ee720dba36952" providerId="Windows Live" clId="Web-{87EC33F8-20F9-4A9B-8B0C-47C86D280FAD}" dt="2020-11-23T12:17:53.325" v="1971"/>
          <ac:spMkLst>
            <pc:docMk/>
            <pc:sldMk cId="711073840" sldId="355"/>
            <ac:spMk id="22" creationId="{94B22DDC-324D-4C7A-A0D0-EA8DA63E2F84}"/>
          </ac:spMkLst>
        </pc:spChg>
        <pc:spChg chg="mod">
          <ac:chgData name="Zenos Zenica" userId="de3ee720dba36952" providerId="Windows Live" clId="Web-{87EC33F8-20F9-4A9B-8B0C-47C86D280FAD}" dt="2020-11-23T12:17:53.341" v="1972"/>
          <ac:spMkLst>
            <pc:docMk/>
            <pc:sldMk cId="711073840" sldId="355"/>
            <ac:spMk id="24" creationId="{6E764A43-7907-47A2-B2C4-BEAE8C95A667}"/>
          </ac:spMkLst>
        </pc:spChg>
        <pc:spChg chg="mod">
          <ac:chgData name="Zenos Zenica" userId="de3ee720dba36952" providerId="Windows Live" clId="Web-{87EC33F8-20F9-4A9B-8B0C-47C86D280FAD}" dt="2020-11-23T12:17:53.357" v="1973"/>
          <ac:spMkLst>
            <pc:docMk/>
            <pc:sldMk cId="711073840" sldId="355"/>
            <ac:spMk id="25" creationId="{AA2C67E6-85E2-4E94-9223-D932F0B21E4F}"/>
          </ac:spMkLst>
        </pc:spChg>
        <pc:spChg chg="mod">
          <ac:chgData name="Zenos Zenica" userId="de3ee720dba36952" providerId="Windows Live" clId="Web-{87EC33F8-20F9-4A9B-8B0C-47C86D280FAD}" dt="2020-11-23T12:17:53.372" v="1974"/>
          <ac:spMkLst>
            <pc:docMk/>
            <pc:sldMk cId="711073840" sldId="355"/>
            <ac:spMk id="27" creationId="{B261EB75-668D-40DD-A8D3-97791B05FD36}"/>
          </ac:spMkLst>
        </pc:spChg>
        <pc:spChg chg="mod">
          <ac:chgData name="Zenos Zenica" userId="de3ee720dba36952" providerId="Windows Live" clId="Web-{87EC33F8-20F9-4A9B-8B0C-47C86D280FAD}" dt="2020-11-23T12:17:53.388" v="1975"/>
          <ac:spMkLst>
            <pc:docMk/>
            <pc:sldMk cId="711073840" sldId="355"/>
            <ac:spMk id="28" creationId="{49604B40-AF93-4136-953E-2DC49D0CCC36}"/>
          </ac:spMkLst>
        </pc:spChg>
        <pc:spChg chg="mod">
          <ac:chgData name="Zenos Zenica" userId="de3ee720dba36952" providerId="Windows Live" clId="Web-{87EC33F8-20F9-4A9B-8B0C-47C86D280FAD}" dt="2020-11-23T12:17:53.404" v="1976"/>
          <ac:spMkLst>
            <pc:docMk/>
            <pc:sldMk cId="711073840" sldId="355"/>
            <ac:spMk id="29" creationId="{0A7591FD-FC0D-4C04-9C74-8FBC9D272FA1}"/>
          </ac:spMkLst>
        </pc:spChg>
        <pc:spChg chg="mod">
          <ac:chgData name="Zenos Zenica" userId="de3ee720dba36952" providerId="Windows Live" clId="Web-{87EC33F8-20F9-4A9B-8B0C-47C86D280FAD}" dt="2020-11-23T12:17:53.419" v="1977"/>
          <ac:spMkLst>
            <pc:docMk/>
            <pc:sldMk cId="711073840" sldId="355"/>
            <ac:spMk id="31" creationId="{3E906520-B17F-480A-87A5-2A4850DB207E}"/>
          </ac:spMkLst>
        </pc:spChg>
        <pc:spChg chg="mod">
          <ac:chgData name="Zenos Zenica" userId="de3ee720dba36952" providerId="Windows Live" clId="Web-{87EC33F8-20F9-4A9B-8B0C-47C86D280FAD}" dt="2020-11-23T12:17:53.435" v="1978"/>
          <ac:spMkLst>
            <pc:docMk/>
            <pc:sldMk cId="711073840" sldId="355"/>
            <ac:spMk id="32" creationId="{547CA99F-FD5D-4122-BB63-54C35396B167}"/>
          </ac:spMkLst>
        </pc:spChg>
        <pc:spChg chg="mod">
          <ac:chgData name="Zenos Zenica" userId="de3ee720dba36952" providerId="Windows Live" clId="Web-{87EC33F8-20F9-4A9B-8B0C-47C86D280FAD}" dt="2020-11-23T12:17:53.450" v="1979"/>
          <ac:spMkLst>
            <pc:docMk/>
            <pc:sldMk cId="711073840" sldId="355"/>
            <ac:spMk id="49" creationId="{914293A5-4921-41D0-9CF0-5CCC1A952056}"/>
          </ac:spMkLst>
        </pc:spChg>
        <pc:spChg chg="mod">
          <ac:chgData name="Zenos Zenica" userId="de3ee720dba36952" providerId="Windows Live" clId="Web-{87EC33F8-20F9-4A9B-8B0C-47C86D280FAD}" dt="2020-11-23T12:17:53.466" v="1980"/>
          <ac:spMkLst>
            <pc:docMk/>
            <pc:sldMk cId="711073840" sldId="355"/>
            <ac:spMk id="51" creationId="{B374F26B-D853-42D5-86DF-259A99D3E71E}"/>
          </ac:spMkLst>
        </pc:spChg>
        <pc:spChg chg="mod">
          <ac:chgData name="Zenos Zenica" userId="de3ee720dba36952" providerId="Windows Live" clId="Web-{87EC33F8-20F9-4A9B-8B0C-47C86D280FAD}" dt="2020-11-23T12:17:53.482" v="1981"/>
          <ac:spMkLst>
            <pc:docMk/>
            <pc:sldMk cId="711073840" sldId="355"/>
            <ac:spMk id="52" creationId="{53FBD17D-7707-421A-9518-2324D64F3E68}"/>
          </ac:spMkLst>
        </pc:spChg>
        <pc:spChg chg="mod">
          <ac:chgData name="Zenos Zenica" userId="de3ee720dba36952" providerId="Windows Live" clId="Web-{87EC33F8-20F9-4A9B-8B0C-47C86D280FAD}" dt="2020-11-23T12:17:53.497" v="1982"/>
          <ac:spMkLst>
            <pc:docMk/>
            <pc:sldMk cId="711073840" sldId="355"/>
            <ac:spMk id="53" creationId="{17E2FADA-F82E-4E49-AFF3-CF3E1086258A}"/>
          </ac:spMkLst>
        </pc:spChg>
        <pc:spChg chg="mod">
          <ac:chgData name="Zenos Zenica" userId="de3ee720dba36952" providerId="Windows Live" clId="Web-{87EC33F8-20F9-4A9B-8B0C-47C86D280FAD}" dt="2020-11-23T12:17:53.513" v="1983"/>
          <ac:spMkLst>
            <pc:docMk/>
            <pc:sldMk cId="711073840" sldId="355"/>
            <ac:spMk id="54" creationId="{4652B7A9-0490-463E-8C0F-1AD4DFA1F225}"/>
          </ac:spMkLst>
        </pc:spChg>
        <pc:spChg chg="mod">
          <ac:chgData name="Zenos Zenica" userId="de3ee720dba36952" providerId="Windows Live" clId="Web-{87EC33F8-20F9-4A9B-8B0C-47C86D280FAD}" dt="2020-11-23T12:17:53.529" v="1984"/>
          <ac:spMkLst>
            <pc:docMk/>
            <pc:sldMk cId="711073840" sldId="355"/>
            <ac:spMk id="55" creationId="{87AD1332-5CB8-4888-BD27-E65B2989EDC5}"/>
          </ac:spMkLst>
        </pc:spChg>
        <pc:spChg chg="mod">
          <ac:chgData name="Zenos Zenica" userId="de3ee720dba36952" providerId="Windows Live" clId="Web-{87EC33F8-20F9-4A9B-8B0C-47C86D280FAD}" dt="2020-11-23T12:17:53.544" v="1985"/>
          <ac:spMkLst>
            <pc:docMk/>
            <pc:sldMk cId="711073840" sldId="355"/>
            <ac:spMk id="56" creationId="{1CA4B6F0-2D06-4A42-BD0B-3EA3C11AF4B9}"/>
          </ac:spMkLst>
        </pc:spChg>
        <pc:spChg chg="mod">
          <ac:chgData name="Zenos Zenica" userId="de3ee720dba36952" providerId="Windows Live" clId="Web-{87EC33F8-20F9-4A9B-8B0C-47C86D280FAD}" dt="2020-11-23T12:17:53.544" v="1986"/>
          <ac:spMkLst>
            <pc:docMk/>
            <pc:sldMk cId="711073840" sldId="355"/>
            <ac:spMk id="57" creationId="{E65A5F9F-3277-408A-92D0-7F4A4D61F70A}"/>
          </ac:spMkLst>
        </pc:spChg>
        <pc:spChg chg="mod">
          <ac:chgData name="Zenos Zenica" userId="de3ee720dba36952" providerId="Windows Live" clId="Web-{87EC33F8-20F9-4A9B-8B0C-47C86D280FAD}" dt="2020-11-23T12:17:53.560" v="1987"/>
          <ac:spMkLst>
            <pc:docMk/>
            <pc:sldMk cId="711073840" sldId="355"/>
            <ac:spMk id="58" creationId="{57A54123-BE32-4A54-89F5-F987190A11E2}"/>
          </ac:spMkLst>
        </pc:spChg>
        <pc:spChg chg="mod">
          <ac:chgData name="Zenos Zenica" userId="de3ee720dba36952" providerId="Windows Live" clId="Web-{87EC33F8-20F9-4A9B-8B0C-47C86D280FAD}" dt="2020-11-23T12:17:53.575" v="1988"/>
          <ac:spMkLst>
            <pc:docMk/>
            <pc:sldMk cId="711073840" sldId="355"/>
            <ac:spMk id="59" creationId="{F0F89850-D6A4-4443-8D2D-A1FED454B979}"/>
          </ac:spMkLst>
        </pc:spChg>
        <pc:spChg chg="mod">
          <ac:chgData name="Zenos Zenica" userId="de3ee720dba36952" providerId="Windows Live" clId="Web-{87EC33F8-20F9-4A9B-8B0C-47C86D280FAD}" dt="2020-11-23T12:17:53.591" v="1989"/>
          <ac:spMkLst>
            <pc:docMk/>
            <pc:sldMk cId="711073840" sldId="355"/>
            <ac:spMk id="60" creationId="{29BD9425-C95D-4CAE-8242-817AFB3152CD}"/>
          </ac:spMkLst>
        </pc:spChg>
        <pc:spChg chg="mod">
          <ac:chgData name="Zenos Zenica" userId="de3ee720dba36952" providerId="Windows Live" clId="Web-{87EC33F8-20F9-4A9B-8B0C-47C86D280FAD}" dt="2020-11-23T12:17:53.607" v="1990"/>
          <ac:spMkLst>
            <pc:docMk/>
            <pc:sldMk cId="711073840" sldId="355"/>
            <ac:spMk id="61" creationId="{9B0188C1-8DA1-4B32-8B35-A4F5EA16E5C1}"/>
          </ac:spMkLst>
        </pc:spChg>
        <pc:spChg chg="mod">
          <ac:chgData name="Zenos Zenica" userId="de3ee720dba36952" providerId="Windows Live" clId="Web-{87EC33F8-20F9-4A9B-8B0C-47C86D280FAD}" dt="2020-11-23T12:17:53.622" v="1991"/>
          <ac:spMkLst>
            <pc:docMk/>
            <pc:sldMk cId="711073840" sldId="355"/>
            <ac:spMk id="62" creationId="{2B804EFD-C218-4A28-A965-6261658DE351}"/>
          </ac:spMkLst>
        </pc:spChg>
        <pc:spChg chg="mod">
          <ac:chgData name="Zenos Zenica" userId="de3ee720dba36952" providerId="Windows Live" clId="Web-{87EC33F8-20F9-4A9B-8B0C-47C86D280FAD}" dt="2020-11-23T12:17:53.638" v="1992"/>
          <ac:spMkLst>
            <pc:docMk/>
            <pc:sldMk cId="711073840" sldId="355"/>
            <ac:spMk id="63" creationId="{BE3B84A4-231C-4608-8C9A-3884315ED1AF}"/>
          </ac:spMkLst>
        </pc:spChg>
        <pc:spChg chg="mod">
          <ac:chgData name="Zenos Zenica" userId="de3ee720dba36952" providerId="Windows Live" clId="Web-{87EC33F8-20F9-4A9B-8B0C-47C86D280FAD}" dt="2020-11-23T12:17:53.638" v="1993"/>
          <ac:spMkLst>
            <pc:docMk/>
            <pc:sldMk cId="711073840" sldId="355"/>
            <ac:spMk id="64" creationId="{9BBA2E5C-60EB-47C5-B992-42EB04B20165}"/>
          </ac:spMkLst>
        </pc:spChg>
        <pc:spChg chg="mod">
          <ac:chgData name="Zenos Zenica" userId="de3ee720dba36952" providerId="Windows Live" clId="Web-{87EC33F8-20F9-4A9B-8B0C-47C86D280FAD}" dt="2020-11-23T12:17:53.654" v="1994"/>
          <ac:spMkLst>
            <pc:docMk/>
            <pc:sldMk cId="711073840" sldId="355"/>
            <ac:spMk id="65" creationId="{3EDBF91F-3268-418D-BBF1-D2A887D7ACF6}"/>
          </ac:spMkLst>
        </pc:spChg>
        <pc:spChg chg="mod">
          <ac:chgData name="Zenos Zenica" userId="de3ee720dba36952" providerId="Windows Live" clId="Web-{87EC33F8-20F9-4A9B-8B0C-47C86D280FAD}" dt="2020-11-23T12:17:53.669" v="1995"/>
          <ac:spMkLst>
            <pc:docMk/>
            <pc:sldMk cId="711073840" sldId="355"/>
            <ac:spMk id="66" creationId="{A302633B-504E-42CF-B57B-98CEE520017C}"/>
          </ac:spMkLst>
        </pc:spChg>
        <pc:spChg chg="mod">
          <ac:chgData name="Zenos Zenica" userId="de3ee720dba36952" providerId="Windows Live" clId="Web-{87EC33F8-20F9-4A9B-8B0C-47C86D280FAD}" dt="2020-11-23T12:17:53.685" v="1996"/>
          <ac:spMkLst>
            <pc:docMk/>
            <pc:sldMk cId="711073840" sldId="355"/>
            <ac:spMk id="67" creationId="{52C378A8-80DF-4799-96C7-6ECF736DA5AF}"/>
          </ac:spMkLst>
        </pc:spChg>
        <pc:spChg chg="mod">
          <ac:chgData name="Zenos Zenica" userId="de3ee720dba36952" providerId="Windows Live" clId="Web-{87EC33F8-20F9-4A9B-8B0C-47C86D280FAD}" dt="2020-11-23T12:17:53.700" v="1997"/>
          <ac:spMkLst>
            <pc:docMk/>
            <pc:sldMk cId="711073840" sldId="355"/>
            <ac:spMk id="68" creationId="{6D8ACA0D-D7F5-482F-BAC8-E942FBB6ABDD}"/>
          </ac:spMkLst>
        </pc:spChg>
      </pc:sldChg>
      <pc:sldChg chg="add del">
        <pc:chgData name="Zenos Zenica" userId="de3ee720dba36952" providerId="Windows Live" clId="Web-{87EC33F8-20F9-4A9B-8B0C-47C86D280FAD}" dt="2020-11-23T11:52:23.344" v="1534"/>
        <pc:sldMkLst>
          <pc:docMk/>
          <pc:sldMk cId="2415933194" sldId="355"/>
        </pc:sldMkLst>
      </pc:sldChg>
      <pc:sldChg chg="modSp add">
        <pc:chgData name="Zenos Zenica" userId="de3ee720dba36952" providerId="Windows Live" clId="Web-{87EC33F8-20F9-4A9B-8B0C-47C86D280FAD}" dt="2020-11-23T12:19:09.124" v="2063" actId="20577"/>
        <pc:sldMkLst>
          <pc:docMk/>
          <pc:sldMk cId="733067386" sldId="356"/>
        </pc:sldMkLst>
        <pc:spChg chg="mod">
          <ac:chgData name="Zenos Zenica" userId="de3ee720dba36952" providerId="Windows Live" clId="Web-{87EC33F8-20F9-4A9B-8B0C-47C86D280FAD}" dt="2020-11-23T12:18:17.185" v="2028" actId="1076"/>
          <ac:spMkLst>
            <pc:docMk/>
            <pc:sldMk cId="733067386" sldId="356"/>
            <ac:spMk id="2" creationId="{38B4E260-12F3-4A00-968A-9E9720209DA1}"/>
          </ac:spMkLst>
        </pc:spChg>
        <pc:spChg chg="mod">
          <ac:chgData name="Zenos Zenica" userId="de3ee720dba36952" providerId="Windows Live" clId="Web-{87EC33F8-20F9-4A9B-8B0C-47C86D280FAD}" dt="2020-11-23T12:19:09.124" v="2063" actId="20577"/>
          <ac:spMkLst>
            <pc:docMk/>
            <pc:sldMk cId="733067386" sldId="356"/>
            <ac:spMk id="4" creationId="{B8CB9108-1583-4A1C-846B-3263D00D0833}"/>
          </ac:spMkLst>
        </pc:spChg>
        <pc:spChg chg="mod">
          <ac:chgData name="Zenos Zenica" userId="de3ee720dba36952" providerId="Windows Live" clId="Web-{87EC33F8-20F9-4A9B-8B0C-47C86D280FAD}" dt="2020-11-23T12:18:07.107" v="2000"/>
          <ac:spMkLst>
            <pc:docMk/>
            <pc:sldMk cId="733067386" sldId="356"/>
            <ac:spMk id="76" creationId="{F6CBE937-68D8-42DB-A83F-52649AC5B494}"/>
          </ac:spMkLst>
        </pc:spChg>
        <pc:spChg chg="mod">
          <ac:chgData name="Zenos Zenica" userId="de3ee720dba36952" providerId="Windows Live" clId="Web-{87EC33F8-20F9-4A9B-8B0C-47C86D280FAD}" dt="2020-11-23T12:18:07.123" v="2001"/>
          <ac:spMkLst>
            <pc:docMk/>
            <pc:sldMk cId="733067386" sldId="356"/>
            <ac:spMk id="77" creationId="{CC9EF858-94FE-431C-B4B4-FF47D0250217}"/>
          </ac:spMkLst>
        </pc:spChg>
        <pc:spChg chg="mod">
          <ac:chgData name="Zenos Zenica" userId="de3ee720dba36952" providerId="Windows Live" clId="Web-{87EC33F8-20F9-4A9B-8B0C-47C86D280FAD}" dt="2020-11-23T12:18:07.154" v="2002"/>
          <ac:spMkLst>
            <pc:docMk/>
            <pc:sldMk cId="733067386" sldId="356"/>
            <ac:spMk id="79" creationId="{85CCC825-863C-4CC5-A3D4-2616A10C2C48}"/>
          </ac:spMkLst>
        </pc:spChg>
        <pc:spChg chg="mod">
          <ac:chgData name="Zenos Zenica" userId="de3ee720dba36952" providerId="Windows Live" clId="Web-{87EC33F8-20F9-4A9B-8B0C-47C86D280FAD}" dt="2020-11-23T12:18:07.170" v="2003"/>
          <ac:spMkLst>
            <pc:docMk/>
            <pc:sldMk cId="733067386" sldId="356"/>
            <ac:spMk id="80" creationId="{36DDA0C6-2E09-443D-960F-93A39EF1DACC}"/>
          </ac:spMkLst>
        </pc:spChg>
        <pc:spChg chg="mod">
          <ac:chgData name="Zenos Zenica" userId="de3ee720dba36952" providerId="Windows Live" clId="Web-{87EC33F8-20F9-4A9B-8B0C-47C86D280FAD}" dt="2020-11-23T12:18:07.185" v="2004"/>
          <ac:spMkLst>
            <pc:docMk/>
            <pc:sldMk cId="733067386" sldId="356"/>
            <ac:spMk id="82" creationId="{37C6052E-73B1-4A4A-BAD8-75BDA545B260}"/>
          </ac:spMkLst>
        </pc:spChg>
        <pc:spChg chg="mod">
          <ac:chgData name="Zenos Zenica" userId="de3ee720dba36952" providerId="Windows Live" clId="Web-{87EC33F8-20F9-4A9B-8B0C-47C86D280FAD}" dt="2020-11-23T12:18:07.201" v="2005"/>
          <ac:spMkLst>
            <pc:docMk/>
            <pc:sldMk cId="733067386" sldId="356"/>
            <ac:spMk id="83" creationId="{9C7E4312-839A-42E6-BDAA-0ECC7FB80571}"/>
          </ac:spMkLst>
        </pc:spChg>
        <pc:spChg chg="mod">
          <ac:chgData name="Zenos Zenica" userId="de3ee720dba36952" providerId="Windows Live" clId="Web-{87EC33F8-20F9-4A9B-8B0C-47C86D280FAD}" dt="2020-11-23T12:18:07.216" v="2006"/>
          <ac:spMkLst>
            <pc:docMk/>
            <pc:sldMk cId="733067386" sldId="356"/>
            <ac:spMk id="84" creationId="{304ED873-4D9F-4203-B20A-ADEA10DD639E}"/>
          </ac:spMkLst>
        </pc:spChg>
        <pc:spChg chg="mod">
          <ac:chgData name="Zenos Zenica" userId="de3ee720dba36952" providerId="Windows Live" clId="Web-{87EC33F8-20F9-4A9B-8B0C-47C86D280FAD}" dt="2020-11-23T12:18:07.248" v="2007"/>
          <ac:spMkLst>
            <pc:docMk/>
            <pc:sldMk cId="733067386" sldId="356"/>
            <ac:spMk id="86" creationId="{2EB5E428-6346-481A-ACF0-1D17FDF6315A}"/>
          </ac:spMkLst>
        </pc:spChg>
        <pc:spChg chg="mod">
          <ac:chgData name="Zenos Zenica" userId="de3ee720dba36952" providerId="Windows Live" clId="Web-{87EC33F8-20F9-4A9B-8B0C-47C86D280FAD}" dt="2020-11-23T12:18:07.263" v="2008"/>
          <ac:spMkLst>
            <pc:docMk/>
            <pc:sldMk cId="733067386" sldId="356"/>
            <ac:spMk id="87" creationId="{8D15C762-A334-4A50-AD5A-AE1064CC7E39}"/>
          </ac:spMkLst>
        </pc:spChg>
        <pc:spChg chg="mod">
          <ac:chgData name="Zenos Zenica" userId="de3ee720dba36952" providerId="Windows Live" clId="Web-{87EC33F8-20F9-4A9B-8B0C-47C86D280FAD}" dt="2020-11-23T12:18:07.279" v="2009"/>
          <ac:spMkLst>
            <pc:docMk/>
            <pc:sldMk cId="733067386" sldId="356"/>
            <ac:spMk id="88" creationId="{FDD610B6-E3BF-44A5-91BA-1F436881427B}"/>
          </ac:spMkLst>
        </pc:spChg>
        <pc:spChg chg="mod">
          <ac:chgData name="Zenos Zenica" userId="de3ee720dba36952" providerId="Windows Live" clId="Web-{87EC33F8-20F9-4A9B-8B0C-47C86D280FAD}" dt="2020-11-23T12:18:07.295" v="2010"/>
          <ac:spMkLst>
            <pc:docMk/>
            <pc:sldMk cId="733067386" sldId="356"/>
            <ac:spMk id="90" creationId="{30B618C6-6F20-4D18-BCE8-3BE31F8E2DAB}"/>
          </ac:spMkLst>
        </pc:spChg>
        <pc:spChg chg="mod">
          <ac:chgData name="Zenos Zenica" userId="de3ee720dba36952" providerId="Windows Live" clId="Web-{87EC33F8-20F9-4A9B-8B0C-47C86D280FAD}" dt="2020-11-23T12:18:07.326" v="2011"/>
          <ac:spMkLst>
            <pc:docMk/>
            <pc:sldMk cId="733067386" sldId="356"/>
            <ac:spMk id="91" creationId="{46A4B4C4-153B-4375-AE5A-752FB99EE170}"/>
          </ac:spMkLst>
        </pc:spChg>
        <pc:spChg chg="mod">
          <ac:chgData name="Zenos Zenica" userId="de3ee720dba36952" providerId="Windows Live" clId="Web-{87EC33F8-20F9-4A9B-8B0C-47C86D280FAD}" dt="2020-11-23T12:18:07.341" v="2012"/>
          <ac:spMkLst>
            <pc:docMk/>
            <pc:sldMk cId="733067386" sldId="356"/>
            <ac:spMk id="92" creationId="{4F632239-0782-4D0B-A90C-8580B0ED7233}"/>
          </ac:spMkLst>
        </pc:spChg>
        <pc:spChg chg="mod">
          <ac:chgData name="Zenos Zenica" userId="de3ee720dba36952" providerId="Windows Live" clId="Web-{87EC33F8-20F9-4A9B-8B0C-47C86D280FAD}" dt="2020-11-23T12:18:17.326" v="2035" actId="1076"/>
          <ac:spMkLst>
            <pc:docMk/>
            <pc:sldMk cId="733067386" sldId="356"/>
            <ac:spMk id="93" creationId="{3BADCD4D-6094-4BB5-9D43-2BBD6ABA129A}"/>
          </ac:spMkLst>
        </pc:spChg>
        <pc:spChg chg="mod">
          <ac:chgData name="Zenos Zenica" userId="de3ee720dba36952" providerId="Windows Live" clId="Web-{87EC33F8-20F9-4A9B-8B0C-47C86D280FAD}" dt="2020-11-23T12:18:17.342" v="2036" actId="1076"/>
          <ac:spMkLst>
            <pc:docMk/>
            <pc:sldMk cId="733067386" sldId="356"/>
            <ac:spMk id="94" creationId="{9887A5AF-B6B3-4DC7-961B-E89A48FC241C}"/>
          </ac:spMkLst>
        </pc:spChg>
        <pc:spChg chg="mod">
          <ac:chgData name="Zenos Zenica" userId="de3ee720dba36952" providerId="Windows Live" clId="Web-{87EC33F8-20F9-4A9B-8B0C-47C86D280FAD}" dt="2020-11-23T12:18:17.373" v="2037" actId="1076"/>
          <ac:spMkLst>
            <pc:docMk/>
            <pc:sldMk cId="733067386" sldId="356"/>
            <ac:spMk id="95" creationId="{77BFFF31-93DB-4FB8-9106-53B956ACB34E}"/>
          </ac:spMkLst>
        </pc:spChg>
        <pc:spChg chg="mod">
          <ac:chgData name="Zenos Zenica" userId="de3ee720dba36952" providerId="Windows Live" clId="Web-{87EC33F8-20F9-4A9B-8B0C-47C86D280FAD}" dt="2020-11-23T12:18:17.389" v="2038" actId="1076"/>
          <ac:spMkLst>
            <pc:docMk/>
            <pc:sldMk cId="733067386" sldId="356"/>
            <ac:spMk id="96" creationId="{C172D41A-C274-47D7-86AB-73C9E1F87100}"/>
          </ac:spMkLst>
        </pc:spChg>
        <pc:spChg chg="mod">
          <ac:chgData name="Zenos Zenica" userId="de3ee720dba36952" providerId="Windows Live" clId="Web-{87EC33F8-20F9-4A9B-8B0C-47C86D280FAD}" dt="2020-11-23T12:18:17.404" v="2039" actId="1076"/>
          <ac:spMkLst>
            <pc:docMk/>
            <pc:sldMk cId="733067386" sldId="356"/>
            <ac:spMk id="97" creationId="{24E3E47A-8CE8-4477-8134-6AB33B0BE726}"/>
          </ac:spMkLst>
        </pc:spChg>
        <pc:spChg chg="mod">
          <ac:chgData name="Zenos Zenica" userId="de3ee720dba36952" providerId="Windows Live" clId="Web-{87EC33F8-20F9-4A9B-8B0C-47C86D280FAD}" dt="2020-11-23T12:18:17.420" v="2040" actId="1076"/>
          <ac:spMkLst>
            <pc:docMk/>
            <pc:sldMk cId="733067386" sldId="356"/>
            <ac:spMk id="98" creationId="{A472781F-A7FD-4CF7-B792-E246C713C1D4}"/>
          </ac:spMkLst>
        </pc:spChg>
        <pc:spChg chg="mod">
          <ac:chgData name="Zenos Zenica" userId="de3ee720dba36952" providerId="Windows Live" clId="Web-{87EC33F8-20F9-4A9B-8B0C-47C86D280FAD}" dt="2020-11-23T12:18:17.435" v="2041" actId="1076"/>
          <ac:spMkLst>
            <pc:docMk/>
            <pc:sldMk cId="733067386" sldId="356"/>
            <ac:spMk id="99" creationId="{9EDCE622-3755-4616-A286-089B918C8092}"/>
          </ac:spMkLst>
        </pc:spChg>
        <pc:spChg chg="mod">
          <ac:chgData name="Zenos Zenica" userId="de3ee720dba36952" providerId="Windows Live" clId="Web-{87EC33F8-20F9-4A9B-8B0C-47C86D280FAD}" dt="2020-11-23T12:18:17.451" v="2042" actId="1076"/>
          <ac:spMkLst>
            <pc:docMk/>
            <pc:sldMk cId="733067386" sldId="356"/>
            <ac:spMk id="100" creationId="{14F98727-D4E1-4EC2-B7D8-F45D7B618CC9}"/>
          </ac:spMkLst>
        </pc:spChg>
        <pc:spChg chg="mod">
          <ac:chgData name="Zenos Zenica" userId="de3ee720dba36952" providerId="Windows Live" clId="Web-{87EC33F8-20F9-4A9B-8B0C-47C86D280FAD}" dt="2020-11-23T12:18:17.467" v="2043" actId="1076"/>
          <ac:spMkLst>
            <pc:docMk/>
            <pc:sldMk cId="733067386" sldId="356"/>
            <ac:spMk id="101" creationId="{307FB8D1-A563-4C0C-B801-4C6F4769E550}"/>
          </ac:spMkLst>
        </pc:spChg>
        <pc:spChg chg="mod">
          <ac:chgData name="Zenos Zenica" userId="de3ee720dba36952" providerId="Windows Live" clId="Web-{87EC33F8-20F9-4A9B-8B0C-47C86D280FAD}" dt="2020-11-23T12:18:42.452" v="2056" actId="1076"/>
          <ac:spMkLst>
            <pc:docMk/>
            <pc:sldMk cId="733067386" sldId="356"/>
            <ac:spMk id="102" creationId="{0FD09A67-E0B9-4AFD-AA77-6376220F2C12}"/>
          </ac:spMkLst>
        </pc:spChg>
        <pc:spChg chg="mod">
          <ac:chgData name="Zenos Zenica" userId="de3ee720dba36952" providerId="Windows Live" clId="Web-{87EC33F8-20F9-4A9B-8B0C-47C86D280FAD}" dt="2020-11-23T12:18:37.139" v="2055" actId="1076"/>
          <ac:spMkLst>
            <pc:docMk/>
            <pc:sldMk cId="733067386" sldId="356"/>
            <ac:spMk id="103" creationId="{80F58013-4102-4EA5-810E-84CED3F9F405}"/>
          </ac:spMkLst>
        </pc:spChg>
        <pc:spChg chg="mod">
          <ac:chgData name="Zenos Zenica" userId="de3ee720dba36952" providerId="Windows Live" clId="Web-{87EC33F8-20F9-4A9B-8B0C-47C86D280FAD}" dt="2020-11-23T12:18:17.514" v="2046" actId="1076"/>
          <ac:spMkLst>
            <pc:docMk/>
            <pc:sldMk cId="733067386" sldId="356"/>
            <ac:spMk id="104" creationId="{0A4CD48D-FC57-4CCC-BC0E-981552418266}"/>
          </ac:spMkLst>
        </pc:spChg>
        <pc:spChg chg="mod">
          <ac:chgData name="Zenos Zenica" userId="de3ee720dba36952" providerId="Windows Live" clId="Web-{87EC33F8-20F9-4A9B-8B0C-47C86D280FAD}" dt="2020-11-23T12:18:17.529" v="2047" actId="1076"/>
          <ac:spMkLst>
            <pc:docMk/>
            <pc:sldMk cId="733067386" sldId="356"/>
            <ac:spMk id="105" creationId="{FDED9551-93A9-4F4F-B401-C475951FA8B1}"/>
          </ac:spMkLst>
        </pc:spChg>
        <pc:spChg chg="mod">
          <ac:chgData name="Zenos Zenica" userId="de3ee720dba36952" providerId="Windows Live" clId="Web-{87EC33F8-20F9-4A9B-8B0C-47C86D280FAD}" dt="2020-11-23T12:18:17.560" v="2048" actId="1076"/>
          <ac:spMkLst>
            <pc:docMk/>
            <pc:sldMk cId="733067386" sldId="356"/>
            <ac:spMk id="106" creationId="{E254644E-FB3C-44BC-BA30-603C22445203}"/>
          </ac:spMkLst>
        </pc:spChg>
        <pc:spChg chg="mod">
          <ac:chgData name="Zenos Zenica" userId="de3ee720dba36952" providerId="Windows Live" clId="Web-{87EC33F8-20F9-4A9B-8B0C-47C86D280FAD}" dt="2020-11-23T12:18:17.560" v="2049" actId="1076"/>
          <ac:spMkLst>
            <pc:docMk/>
            <pc:sldMk cId="733067386" sldId="356"/>
            <ac:spMk id="107" creationId="{1CFF7B76-9FA0-494D-8CD2-524EA55726B3}"/>
          </ac:spMkLst>
        </pc:spChg>
        <pc:grpChg chg="mod">
          <ac:chgData name="Zenos Zenica" userId="de3ee720dba36952" providerId="Windows Live" clId="Web-{87EC33F8-20F9-4A9B-8B0C-47C86D280FAD}" dt="2020-11-23T12:18:17.248" v="2030" actId="1076"/>
          <ac:grpSpMkLst>
            <pc:docMk/>
            <pc:sldMk cId="733067386" sldId="356"/>
            <ac:grpSpMk id="75" creationId="{41B8DF88-D728-4A54-B092-F9AB55088C33}"/>
          </ac:grpSpMkLst>
        </pc:grpChg>
        <pc:grpChg chg="mod">
          <ac:chgData name="Zenos Zenica" userId="de3ee720dba36952" providerId="Windows Live" clId="Web-{87EC33F8-20F9-4A9B-8B0C-47C86D280FAD}" dt="2020-11-23T12:18:17.264" v="2031" actId="1076"/>
          <ac:grpSpMkLst>
            <pc:docMk/>
            <pc:sldMk cId="733067386" sldId="356"/>
            <ac:grpSpMk id="78" creationId="{031BC639-2269-4565-B8EE-2F546F4370AA}"/>
          </ac:grpSpMkLst>
        </pc:grpChg>
        <pc:grpChg chg="mod">
          <ac:chgData name="Zenos Zenica" userId="de3ee720dba36952" providerId="Windows Live" clId="Web-{87EC33F8-20F9-4A9B-8B0C-47C86D280FAD}" dt="2020-11-23T12:18:17.279" v="2032" actId="1076"/>
          <ac:grpSpMkLst>
            <pc:docMk/>
            <pc:sldMk cId="733067386" sldId="356"/>
            <ac:grpSpMk id="81" creationId="{E9F173B0-286C-4A05-B98D-E01602913BAB}"/>
          </ac:grpSpMkLst>
        </pc:grpChg>
        <pc:grpChg chg="mod">
          <ac:chgData name="Zenos Zenica" userId="de3ee720dba36952" providerId="Windows Live" clId="Web-{87EC33F8-20F9-4A9B-8B0C-47C86D280FAD}" dt="2020-11-23T12:18:17.295" v="2033" actId="1076"/>
          <ac:grpSpMkLst>
            <pc:docMk/>
            <pc:sldMk cId="733067386" sldId="356"/>
            <ac:grpSpMk id="85" creationId="{3F89A189-3028-4831-B6FC-DB027289F20E}"/>
          </ac:grpSpMkLst>
        </pc:grpChg>
        <pc:grpChg chg="mod">
          <ac:chgData name="Zenos Zenica" userId="de3ee720dba36952" providerId="Windows Live" clId="Web-{87EC33F8-20F9-4A9B-8B0C-47C86D280FAD}" dt="2020-11-23T12:18:17.310" v="2034" actId="1076"/>
          <ac:grpSpMkLst>
            <pc:docMk/>
            <pc:sldMk cId="733067386" sldId="356"/>
            <ac:grpSpMk id="89" creationId="{59478F0C-1244-43AD-AF93-7206AD4743DC}"/>
          </ac:grpSpMkLst>
        </pc:grpChg>
      </pc:sldChg>
      <pc:sldChg chg="modSp add">
        <pc:chgData name="Zenos Zenica" userId="de3ee720dba36952" providerId="Windows Live" clId="Web-{87EC33F8-20F9-4A9B-8B0C-47C86D280FAD}" dt="2020-11-23T12:20:01.829" v="2090" actId="1076"/>
        <pc:sldMkLst>
          <pc:docMk/>
          <pc:sldMk cId="320500676" sldId="357"/>
        </pc:sldMkLst>
        <pc:spChg chg="mod">
          <ac:chgData name="Zenos Zenica" userId="de3ee720dba36952" providerId="Windows Live" clId="Web-{87EC33F8-20F9-4A9B-8B0C-47C86D280FAD}" dt="2020-11-23T12:19:33.172" v="2072" actId="14100"/>
          <ac:spMkLst>
            <pc:docMk/>
            <pc:sldMk cId="320500676" sldId="357"/>
            <ac:spMk id="4" creationId="{B8CB9108-1583-4A1C-846B-3263D00D0833}"/>
          </ac:spMkLst>
        </pc:spChg>
        <pc:spChg chg="mod">
          <ac:chgData name="Zenos Zenica" userId="de3ee720dba36952" providerId="Windows Live" clId="Web-{87EC33F8-20F9-4A9B-8B0C-47C86D280FAD}" dt="2020-11-23T12:19:43.828" v="2073"/>
          <ac:spMkLst>
            <pc:docMk/>
            <pc:sldMk cId="320500676" sldId="357"/>
            <ac:spMk id="37" creationId="{84F898AE-A3F7-4A75-990F-4560D28792D6}"/>
          </ac:spMkLst>
        </pc:spChg>
        <pc:spChg chg="mod">
          <ac:chgData name="Zenos Zenica" userId="de3ee720dba36952" providerId="Windows Live" clId="Web-{87EC33F8-20F9-4A9B-8B0C-47C86D280FAD}" dt="2020-11-23T12:19:43.844" v="2074"/>
          <ac:spMkLst>
            <pc:docMk/>
            <pc:sldMk cId="320500676" sldId="357"/>
            <ac:spMk id="38" creationId="{2BA635C5-8B1A-4A12-8890-BC8D0678F95D}"/>
          </ac:spMkLst>
        </pc:spChg>
        <pc:spChg chg="mod">
          <ac:chgData name="Zenos Zenica" userId="de3ee720dba36952" providerId="Windows Live" clId="Web-{87EC33F8-20F9-4A9B-8B0C-47C86D280FAD}" dt="2020-11-23T12:19:43.844" v="2075"/>
          <ac:spMkLst>
            <pc:docMk/>
            <pc:sldMk cId="320500676" sldId="357"/>
            <ac:spMk id="39" creationId="{8E19D918-130D-4121-956A-E2F8FB7232F2}"/>
          </ac:spMkLst>
        </pc:spChg>
        <pc:spChg chg="mod">
          <ac:chgData name="Zenos Zenica" userId="de3ee720dba36952" providerId="Windows Live" clId="Web-{87EC33F8-20F9-4A9B-8B0C-47C86D280FAD}" dt="2020-11-23T12:19:43.860" v="2076"/>
          <ac:spMkLst>
            <pc:docMk/>
            <pc:sldMk cId="320500676" sldId="357"/>
            <ac:spMk id="40" creationId="{40DA72CA-FE52-422D-88DE-EF81D6498414}"/>
          </ac:spMkLst>
        </pc:spChg>
        <pc:spChg chg="mod">
          <ac:chgData name="Zenos Zenica" userId="de3ee720dba36952" providerId="Windows Live" clId="Web-{87EC33F8-20F9-4A9B-8B0C-47C86D280FAD}" dt="2020-11-23T12:19:43.860" v="2077"/>
          <ac:spMkLst>
            <pc:docMk/>
            <pc:sldMk cId="320500676" sldId="357"/>
            <ac:spMk id="41" creationId="{6D027986-0E11-4555-88E9-83580D56B424}"/>
          </ac:spMkLst>
        </pc:spChg>
        <pc:spChg chg="mod">
          <ac:chgData name="Zenos Zenica" userId="de3ee720dba36952" providerId="Windows Live" clId="Web-{87EC33F8-20F9-4A9B-8B0C-47C86D280FAD}" dt="2020-11-23T12:19:43.875" v="2078"/>
          <ac:spMkLst>
            <pc:docMk/>
            <pc:sldMk cId="320500676" sldId="357"/>
            <ac:spMk id="42" creationId="{93202081-7B2E-4D98-AF03-04AB4ADE8F92}"/>
          </ac:spMkLst>
        </pc:spChg>
        <pc:spChg chg="mod">
          <ac:chgData name="Zenos Zenica" userId="de3ee720dba36952" providerId="Windows Live" clId="Web-{87EC33F8-20F9-4A9B-8B0C-47C86D280FAD}" dt="2020-11-23T12:19:43.891" v="2079"/>
          <ac:spMkLst>
            <pc:docMk/>
            <pc:sldMk cId="320500676" sldId="357"/>
            <ac:spMk id="43" creationId="{CAA6782D-C519-4D61-B73E-5CA517151A93}"/>
          </ac:spMkLst>
        </pc:spChg>
        <pc:spChg chg="mod">
          <ac:chgData name="Zenos Zenica" userId="de3ee720dba36952" providerId="Windows Live" clId="Web-{87EC33F8-20F9-4A9B-8B0C-47C86D280FAD}" dt="2020-11-23T12:19:43.891" v="2080"/>
          <ac:spMkLst>
            <pc:docMk/>
            <pc:sldMk cId="320500676" sldId="357"/>
            <ac:spMk id="51" creationId="{925AE4B4-4483-48CE-AE22-7BECBB1E1658}"/>
          </ac:spMkLst>
        </pc:spChg>
        <pc:spChg chg="mod">
          <ac:chgData name="Zenos Zenica" userId="de3ee720dba36952" providerId="Windows Live" clId="Web-{87EC33F8-20F9-4A9B-8B0C-47C86D280FAD}" dt="2020-11-23T12:19:49.704" v="2088" actId="20577"/>
          <ac:spMkLst>
            <pc:docMk/>
            <pc:sldMk cId="320500676" sldId="357"/>
            <ac:spMk id="53" creationId="{CF2729CE-34A2-434A-B73B-139B78D1C0B6}"/>
          </ac:spMkLst>
        </pc:spChg>
        <pc:spChg chg="mod">
          <ac:chgData name="Zenos Zenica" userId="de3ee720dba36952" providerId="Windows Live" clId="Web-{87EC33F8-20F9-4A9B-8B0C-47C86D280FAD}" dt="2020-11-23T12:19:43.907" v="2081"/>
          <ac:spMkLst>
            <pc:docMk/>
            <pc:sldMk cId="320500676" sldId="357"/>
            <ac:spMk id="55" creationId="{B169B7DE-AF7D-4153-91DA-2FF62C80F3FC}"/>
          </ac:spMkLst>
        </pc:spChg>
        <pc:spChg chg="mod">
          <ac:chgData name="Zenos Zenica" userId="de3ee720dba36952" providerId="Windows Live" clId="Web-{87EC33F8-20F9-4A9B-8B0C-47C86D280FAD}" dt="2020-11-23T12:19:43.907" v="2082"/>
          <ac:spMkLst>
            <pc:docMk/>
            <pc:sldMk cId="320500676" sldId="357"/>
            <ac:spMk id="57" creationId="{8EA0616A-01EF-4053-9FA3-F620D8E82904}"/>
          </ac:spMkLst>
        </pc:spChg>
        <pc:spChg chg="mod">
          <ac:chgData name="Zenos Zenica" userId="de3ee720dba36952" providerId="Windows Live" clId="Web-{87EC33F8-20F9-4A9B-8B0C-47C86D280FAD}" dt="2020-11-23T12:19:43.922" v="2083"/>
          <ac:spMkLst>
            <pc:docMk/>
            <pc:sldMk cId="320500676" sldId="357"/>
            <ac:spMk id="59" creationId="{76FB90E6-7BCC-4038-9E1D-1FD9B8097DC3}"/>
          </ac:spMkLst>
        </pc:spChg>
        <pc:spChg chg="mod">
          <ac:chgData name="Zenos Zenica" userId="de3ee720dba36952" providerId="Windows Live" clId="Web-{87EC33F8-20F9-4A9B-8B0C-47C86D280FAD}" dt="2020-11-23T12:19:43.938" v="2084"/>
          <ac:spMkLst>
            <pc:docMk/>
            <pc:sldMk cId="320500676" sldId="357"/>
            <ac:spMk id="61" creationId="{9E0EBD04-430F-45E4-AC2E-AE6E0312ABA2}"/>
          </ac:spMkLst>
        </pc:spChg>
        <pc:spChg chg="mod">
          <ac:chgData name="Zenos Zenica" userId="de3ee720dba36952" providerId="Windows Live" clId="Web-{87EC33F8-20F9-4A9B-8B0C-47C86D280FAD}" dt="2020-11-23T12:19:43.938" v="2085"/>
          <ac:spMkLst>
            <pc:docMk/>
            <pc:sldMk cId="320500676" sldId="357"/>
            <ac:spMk id="63" creationId="{3845AEE9-F942-44F7-B23F-1FA62DBF43C9}"/>
          </ac:spMkLst>
        </pc:spChg>
        <pc:spChg chg="mod">
          <ac:chgData name="Zenos Zenica" userId="de3ee720dba36952" providerId="Windows Live" clId="Web-{87EC33F8-20F9-4A9B-8B0C-47C86D280FAD}" dt="2020-11-23T12:20:01.829" v="2090" actId="1076"/>
          <ac:spMkLst>
            <pc:docMk/>
            <pc:sldMk cId="320500676" sldId="357"/>
            <ac:spMk id="65" creationId="{4BAB2ABE-A346-4F45-976F-A339E4ACD72C}"/>
          </ac:spMkLst>
        </pc:spChg>
      </pc:sldChg>
      <pc:sldChg chg="modSp add">
        <pc:chgData name="Zenos Zenica" userId="de3ee720dba36952" providerId="Windows Live" clId="Web-{87EC33F8-20F9-4A9B-8B0C-47C86D280FAD}" dt="2020-11-23T12:34:21.556" v="2170" actId="20577"/>
        <pc:sldMkLst>
          <pc:docMk/>
          <pc:sldMk cId="3486160674" sldId="358"/>
        </pc:sldMkLst>
        <pc:spChg chg="mod">
          <ac:chgData name="Zenos Zenica" userId="de3ee720dba36952" providerId="Windows Live" clId="Web-{87EC33F8-20F9-4A9B-8B0C-47C86D280FAD}" dt="2020-11-23T12:21:27.722" v="2105" actId="1076"/>
          <ac:spMkLst>
            <pc:docMk/>
            <pc:sldMk cId="3486160674" sldId="358"/>
            <ac:spMk id="4" creationId="{B8CB9108-1583-4A1C-846B-3263D00D0833}"/>
          </ac:spMkLst>
        </pc:spChg>
        <pc:spChg chg="mod">
          <ac:chgData name="Zenos Zenica" userId="de3ee720dba36952" providerId="Windows Live" clId="Web-{87EC33F8-20F9-4A9B-8B0C-47C86D280FAD}" dt="2020-11-23T12:22:58.896" v="2125" actId="14100"/>
          <ac:spMkLst>
            <pc:docMk/>
            <pc:sldMk cId="3486160674" sldId="358"/>
            <ac:spMk id="19" creationId="{89CAACEB-408C-457C-904A-A8C58797F7EC}"/>
          </ac:spMkLst>
        </pc:spChg>
        <pc:spChg chg="mod">
          <ac:chgData name="Zenos Zenica" userId="de3ee720dba36952" providerId="Windows Live" clId="Web-{87EC33F8-20F9-4A9B-8B0C-47C86D280FAD}" dt="2020-11-23T12:23:32.335" v="2130" actId="14100"/>
          <ac:spMkLst>
            <pc:docMk/>
            <pc:sldMk cId="3486160674" sldId="358"/>
            <ac:spMk id="22" creationId="{D982EACB-3BA0-41B1-8533-6C82EB350809}"/>
          </ac:spMkLst>
        </pc:spChg>
        <pc:spChg chg="mod">
          <ac:chgData name="Zenos Zenica" userId="de3ee720dba36952" providerId="Windows Live" clId="Web-{87EC33F8-20F9-4A9B-8B0C-47C86D280FAD}" dt="2020-11-23T12:21:40.597" v="2109" actId="1076"/>
          <ac:spMkLst>
            <pc:docMk/>
            <pc:sldMk cId="3486160674" sldId="358"/>
            <ac:spMk id="23" creationId="{63EA1188-0796-4BDC-8169-373AE5C6592B}"/>
          </ac:spMkLst>
        </pc:spChg>
        <pc:spChg chg="mod">
          <ac:chgData name="Zenos Zenica" userId="de3ee720dba36952" providerId="Windows Live" clId="Web-{87EC33F8-20F9-4A9B-8B0C-47C86D280FAD}" dt="2020-11-23T12:26:06.745" v="2167" actId="20577"/>
          <ac:spMkLst>
            <pc:docMk/>
            <pc:sldMk cId="3486160674" sldId="358"/>
            <ac:spMk id="25" creationId="{C17B8899-1C0F-4F5A-A657-D088AD7712F3}"/>
          </ac:spMkLst>
        </pc:spChg>
        <pc:spChg chg="mod">
          <ac:chgData name="Zenos Zenica" userId="de3ee720dba36952" providerId="Windows Live" clId="Web-{87EC33F8-20F9-4A9B-8B0C-47C86D280FAD}" dt="2020-11-23T12:24:13.414" v="2134" actId="14100"/>
          <ac:spMkLst>
            <pc:docMk/>
            <pc:sldMk cId="3486160674" sldId="358"/>
            <ac:spMk id="27" creationId="{AD258395-F06C-4CAB-AD92-893ABA346BB1}"/>
          </ac:spMkLst>
        </pc:spChg>
        <pc:spChg chg="mod">
          <ac:chgData name="Zenos Zenica" userId="de3ee720dba36952" providerId="Windows Live" clId="Web-{87EC33F8-20F9-4A9B-8B0C-47C86D280FAD}" dt="2020-11-23T12:24:40.899" v="2138" actId="14100"/>
          <ac:spMkLst>
            <pc:docMk/>
            <pc:sldMk cId="3486160674" sldId="358"/>
            <ac:spMk id="30" creationId="{7188760E-93E0-48DB-BA72-D7DC251F8571}"/>
          </ac:spMkLst>
        </pc:spChg>
        <pc:spChg chg="mod">
          <ac:chgData name="Zenos Zenica" userId="de3ee720dba36952" providerId="Windows Live" clId="Web-{87EC33F8-20F9-4A9B-8B0C-47C86D280FAD}" dt="2020-11-23T12:22:08.082" v="2117" actId="1076"/>
          <ac:spMkLst>
            <pc:docMk/>
            <pc:sldMk cId="3486160674" sldId="358"/>
            <ac:spMk id="31" creationId="{3B77EDA4-3FB8-4D08-9065-8B75FBC05F00}"/>
          </ac:spMkLst>
        </pc:spChg>
        <pc:spChg chg="mod">
          <ac:chgData name="Zenos Zenica" userId="de3ee720dba36952" providerId="Windows Live" clId="Web-{87EC33F8-20F9-4A9B-8B0C-47C86D280FAD}" dt="2020-11-23T12:34:21.556" v="2170" actId="20577"/>
          <ac:spMkLst>
            <pc:docMk/>
            <pc:sldMk cId="3486160674" sldId="358"/>
            <ac:spMk id="33" creationId="{DCCF6A98-20FD-40F3-8122-838D4D897D37}"/>
          </ac:spMkLst>
        </pc:spChg>
        <pc:spChg chg="mod">
          <ac:chgData name="Zenos Zenica" userId="de3ee720dba36952" providerId="Windows Live" clId="Web-{87EC33F8-20F9-4A9B-8B0C-47C86D280FAD}" dt="2020-11-23T12:24:49.993" v="2139" actId="14100"/>
          <ac:spMkLst>
            <pc:docMk/>
            <pc:sldMk cId="3486160674" sldId="358"/>
            <ac:spMk id="35" creationId="{9E11ADF2-5E24-470F-A06D-4CAAE88FBC25}"/>
          </ac:spMkLst>
        </pc:spChg>
        <pc:spChg chg="mod">
          <ac:chgData name="Zenos Zenica" userId="de3ee720dba36952" providerId="Windows Live" clId="Web-{87EC33F8-20F9-4A9B-8B0C-47C86D280FAD}" dt="2020-11-23T12:25:17.135" v="2143" actId="14100"/>
          <ac:spMkLst>
            <pc:docMk/>
            <pc:sldMk cId="3486160674" sldId="358"/>
            <ac:spMk id="45" creationId="{A006A893-2725-4596-85A2-9B50D06AB8FF}"/>
          </ac:spMkLst>
        </pc:spChg>
        <pc:spChg chg="mod">
          <ac:chgData name="Zenos Zenica" userId="de3ee720dba36952" providerId="Windows Live" clId="Web-{87EC33F8-20F9-4A9B-8B0C-47C86D280FAD}" dt="2020-11-23T12:22:19.567" v="2121" actId="1076"/>
          <ac:spMkLst>
            <pc:docMk/>
            <pc:sldMk cId="3486160674" sldId="358"/>
            <ac:spMk id="46" creationId="{F13A870C-35B2-4502-953E-5BBF350D42A1}"/>
          </ac:spMkLst>
        </pc:spChg>
        <pc:spChg chg="mod">
          <ac:chgData name="Zenos Zenica" userId="de3ee720dba36952" providerId="Windows Live" clId="Web-{87EC33F8-20F9-4A9B-8B0C-47C86D280FAD}" dt="2020-11-23T12:25:50.151" v="2156" actId="20577"/>
          <ac:spMkLst>
            <pc:docMk/>
            <pc:sldMk cId="3486160674" sldId="358"/>
            <ac:spMk id="48" creationId="{BD44A69B-B9BC-4E9E-A490-73D0098BA6A2}"/>
          </ac:spMkLst>
        </pc:spChg>
        <pc:spChg chg="mod">
          <ac:chgData name="Zenos Zenica" userId="de3ee720dba36952" providerId="Windows Live" clId="Web-{87EC33F8-20F9-4A9B-8B0C-47C86D280FAD}" dt="2020-11-23T12:22:39.693" v="2122" actId="14100"/>
          <ac:spMkLst>
            <pc:docMk/>
            <pc:sldMk cId="3486160674" sldId="358"/>
            <ac:spMk id="50" creationId="{3E8769CC-E72E-42F7-9CCC-E58033CC1C64}"/>
          </ac:spMkLst>
        </pc:spChg>
        <pc:spChg chg="mod">
          <ac:chgData name="Zenos Zenica" userId="de3ee720dba36952" providerId="Windows Live" clId="Web-{87EC33F8-20F9-4A9B-8B0C-47C86D280FAD}" dt="2020-11-23T12:22:46.740" v="2124" actId="14100"/>
          <ac:spMkLst>
            <pc:docMk/>
            <pc:sldMk cId="3486160674" sldId="358"/>
            <ac:spMk id="56" creationId="{4957E4CB-D3FC-4912-A02F-35B3C8B7D84C}"/>
          </ac:spMkLst>
        </pc:spChg>
        <pc:spChg chg="mod">
          <ac:chgData name="Zenos Zenica" userId="de3ee720dba36952" providerId="Windows Live" clId="Web-{87EC33F8-20F9-4A9B-8B0C-47C86D280FAD}" dt="2020-11-23T12:20:43.002" v="2098" actId="1076"/>
          <ac:spMkLst>
            <pc:docMk/>
            <pc:sldMk cId="3486160674" sldId="358"/>
            <ac:spMk id="58" creationId="{A0F5F3E3-F5B2-4F67-8BE0-73B065862AA8}"/>
          </ac:spMkLst>
        </pc:spChg>
        <pc:spChg chg="mod">
          <ac:chgData name="Zenos Zenica" userId="de3ee720dba36952" providerId="Windows Live" clId="Web-{87EC33F8-20F9-4A9B-8B0C-47C86D280FAD}" dt="2020-11-23T12:25:26.963" v="2145" actId="20577"/>
          <ac:spMkLst>
            <pc:docMk/>
            <pc:sldMk cId="3486160674" sldId="358"/>
            <ac:spMk id="62" creationId="{DA0D3268-43A2-4C1C-972F-EC210112B76A}"/>
          </ac:spMkLst>
        </pc:spChg>
        <pc:spChg chg="mod">
          <ac:chgData name="Zenos Zenica" userId="de3ee720dba36952" providerId="Windows Live" clId="Web-{87EC33F8-20F9-4A9B-8B0C-47C86D280FAD}" dt="2020-11-23T12:23:47.632" v="2131" actId="14100"/>
          <ac:spMkLst>
            <pc:docMk/>
            <pc:sldMk cId="3486160674" sldId="358"/>
            <ac:spMk id="66" creationId="{871EA91F-972E-463F-A516-5555DC5156D7}"/>
          </ac:spMkLst>
        </pc:spChg>
        <pc:spChg chg="mod">
          <ac:chgData name="Zenos Zenica" userId="de3ee720dba36952" providerId="Windows Live" clId="Web-{87EC33F8-20F9-4A9B-8B0C-47C86D280FAD}" dt="2020-11-23T12:24:34.805" v="2137" actId="14100"/>
          <ac:spMkLst>
            <pc:docMk/>
            <pc:sldMk cId="3486160674" sldId="358"/>
            <ac:spMk id="69" creationId="{214674B2-8436-40B6-BB4F-F99223D8E2B4}"/>
          </ac:spMkLst>
        </pc:spChg>
        <pc:spChg chg="mod">
          <ac:chgData name="Zenos Zenica" userId="de3ee720dba36952" providerId="Windows Live" clId="Web-{87EC33F8-20F9-4A9B-8B0C-47C86D280FAD}" dt="2020-11-23T12:21:51.910" v="2113" actId="1076"/>
          <ac:spMkLst>
            <pc:docMk/>
            <pc:sldMk cId="3486160674" sldId="358"/>
            <ac:spMk id="70" creationId="{B1EBF8D8-54F5-47BA-815B-1989E6E2A138}"/>
          </ac:spMkLst>
        </pc:spChg>
        <pc:spChg chg="mod">
          <ac:chgData name="Zenos Zenica" userId="de3ee720dba36952" providerId="Windows Live" clId="Web-{87EC33F8-20F9-4A9B-8B0C-47C86D280FAD}" dt="2020-11-23T12:25:44.729" v="2154" actId="14100"/>
          <ac:spMkLst>
            <pc:docMk/>
            <pc:sldMk cId="3486160674" sldId="358"/>
            <ac:spMk id="72" creationId="{A236E1F9-4769-455E-8694-8D9ABE3C926B}"/>
          </ac:spMkLst>
        </pc:spChg>
      </pc:sldChg>
      <pc:sldChg chg="modSp add">
        <pc:chgData name="Zenos Zenica" userId="de3ee720dba36952" providerId="Windows Live" clId="Web-{87EC33F8-20F9-4A9B-8B0C-47C86D280FAD}" dt="2020-11-23T12:35:03.401" v="2183" actId="1076"/>
        <pc:sldMkLst>
          <pc:docMk/>
          <pc:sldMk cId="4191889817" sldId="359"/>
        </pc:sldMkLst>
        <pc:spChg chg="mod">
          <ac:chgData name="Zenos Zenica" userId="de3ee720dba36952" providerId="Windows Live" clId="Web-{87EC33F8-20F9-4A9B-8B0C-47C86D280FAD}" dt="2020-11-23T12:35:03.401" v="2183" actId="1076"/>
          <ac:spMkLst>
            <pc:docMk/>
            <pc:sldMk cId="4191889817" sldId="359"/>
            <ac:spMk id="4" creationId="{B8CB9108-1583-4A1C-846B-3263D00D0833}"/>
          </ac:spMkLst>
        </pc:spChg>
        <pc:spChg chg="mod">
          <ac:chgData name="Zenos Zenica" userId="de3ee720dba36952" providerId="Windows Live" clId="Web-{87EC33F8-20F9-4A9B-8B0C-47C86D280FAD}" dt="2020-11-23T12:34:51.182" v="2180" actId="1076"/>
          <ac:spMkLst>
            <pc:docMk/>
            <pc:sldMk cId="4191889817" sldId="359"/>
            <ac:spMk id="74" creationId="{93E0A6A2-CB2E-483F-8E1F-B94E4533831E}"/>
          </ac:spMkLst>
        </pc:spChg>
        <pc:graphicFrameChg chg="mod modGraphic">
          <ac:chgData name="Zenos Zenica" userId="de3ee720dba36952" providerId="Windows Live" clId="Web-{87EC33F8-20F9-4A9B-8B0C-47C86D280FAD}" dt="2020-11-23T12:34:47.728" v="2179" actId="1076"/>
          <ac:graphicFrameMkLst>
            <pc:docMk/>
            <pc:sldMk cId="4191889817" sldId="359"/>
            <ac:graphicFrameMk id="3" creationId="{FEE08F07-C98B-4852-A4C2-8601CAB4C48C}"/>
          </ac:graphicFrameMkLst>
        </pc:graphicFrameChg>
      </pc:sldChg>
      <pc:sldChg chg="modSp add">
        <pc:chgData name="Zenos Zenica" userId="de3ee720dba36952" providerId="Windows Live" clId="Web-{87EC33F8-20F9-4A9B-8B0C-47C86D280FAD}" dt="2020-11-23T12:38:05.859" v="2222" actId="1076"/>
        <pc:sldMkLst>
          <pc:docMk/>
          <pc:sldMk cId="3593434031" sldId="360"/>
        </pc:sldMkLst>
        <pc:spChg chg="mod">
          <ac:chgData name="Zenos Zenica" userId="de3ee720dba36952" providerId="Windows Live" clId="Web-{87EC33F8-20F9-4A9B-8B0C-47C86D280FAD}" dt="2020-11-23T12:38:05.859" v="2222" actId="1076"/>
          <ac:spMkLst>
            <pc:docMk/>
            <pc:sldMk cId="3593434031" sldId="360"/>
            <ac:spMk id="4" creationId="{B8CB9108-1583-4A1C-846B-3263D00D0833}"/>
          </ac:spMkLst>
        </pc:spChg>
        <pc:spChg chg="mod">
          <ac:chgData name="Zenos Zenica" userId="de3ee720dba36952" providerId="Windows Live" clId="Web-{87EC33F8-20F9-4A9B-8B0C-47C86D280FAD}" dt="2020-11-23T12:37:37.108" v="2211" actId="1076"/>
          <ac:spMkLst>
            <pc:docMk/>
            <pc:sldMk cId="3593434031" sldId="360"/>
            <ac:spMk id="6" creationId="{1927B242-A7B8-4A31-9223-6B354D9F389F}"/>
          </ac:spMkLst>
        </pc:spChg>
        <pc:spChg chg="mod">
          <ac:chgData name="Zenos Zenica" userId="de3ee720dba36952" providerId="Windows Live" clId="Web-{87EC33F8-20F9-4A9B-8B0C-47C86D280FAD}" dt="2020-11-23T12:37:05.826" v="2205" actId="1076"/>
          <ac:spMkLst>
            <pc:docMk/>
            <pc:sldMk cId="3593434031" sldId="360"/>
            <ac:spMk id="8" creationId="{B17663EC-C369-40EB-BABE-DDABE755E008}"/>
          </ac:spMkLst>
        </pc:spChg>
        <pc:spChg chg="mod">
          <ac:chgData name="Zenos Zenica" userId="de3ee720dba36952" providerId="Windows Live" clId="Web-{87EC33F8-20F9-4A9B-8B0C-47C86D280FAD}" dt="2020-11-23T12:37:49.093" v="2212" actId="1076"/>
          <ac:spMkLst>
            <pc:docMk/>
            <pc:sldMk cId="3593434031" sldId="360"/>
            <ac:spMk id="9" creationId="{D36700DA-B29D-4DAD-98B8-F9B89C46DBF5}"/>
          </ac:spMkLst>
        </pc:spChg>
        <pc:spChg chg="mod">
          <ac:chgData name="Zenos Zenica" userId="de3ee720dba36952" providerId="Windows Live" clId="Web-{87EC33F8-20F9-4A9B-8B0C-47C86D280FAD}" dt="2020-11-23T12:37:12.123" v="2206" actId="1076"/>
          <ac:spMkLst>
            <pc:docMk/>
            <pc:sldMk cId="3593434031" sldId="360"/>
            <ac:spMk id="10" creationId="{CE26D60F-77AF-4DFF-B0C3-2465DE5D1BA6}"/>
          </ac:spMkLst>
        </pc:spChg>
        <pc:graphicFrameChg chg="mod">
          <ac:chgData name="Zenos Zenica" userId="de3ee720dba36952" providerId="Windows Live" clId="Web-{87EC33F8-20F9-4A9B-8B0C-47C86D280FAD}" dt="2020-11-23T12:36:56.732" v="2203" actId="1076"/>
          <ac:graphicFrameMkLst>
            <pc:docMk/>
            <pc:sldMk cId="3593434031" sldId="360"/>
            <ac:graphicFrameMk id="5" creationId="{BEB98607-C343-41EC-86B2-C2281900C00C}"/>
          </ac:graphicFrameMkLst>
        </pc:graphicFrameChg>
      </pc:sldChg>
      <pc:sldChg chg="modSp add">
        <pc:chgData name="Zenos Zenica" userId="de3ee720dba36952" providerId="Windows Live" clId="Web-{87EC33F8-20F9-4A9B-8B0C-47C86D280FAD}" dt="2020-11-23T12:40:03.456" v="2259" actId="20577"/>
        <pc:sldMkLst>
          <pc:docMk/>
          <pc:sldMk cId="348789314" sldId="361"/>
        </pc:sldMkLst>
        <pc:spChg chg="mod">
          <ac:chgData name="Zenos Zenica" userId="de3ee720dba36952" providerId="Windows Live" clId="Web-{87EC33F8-20F9-4A9B-8B0C-47C86D280FAD}" dt="2020-11-23T12:40:03.456" v="2259" actId="20577"/>
          <ac:spMkLst>
            <pc:docMk/>
            <pc:sldMk cId="348789314" sldId="361"/>
            <ac:spMk id="4" creationId="{B8CB9108-1583-4A1C-846B-3263D00D0833}"/>
          </ac:spMkLst>
        </pc:spChg>
        <pc:spChg chg="mod">
          <ac:chgData name="Zenos Zenica" userId="de3ee720dba36952" providerId="Windows Live" clId="Web-{87EC33F8-20F9-4A9B-8B0C-47C86D280FAD}" dt="2020-11-23T12:39:16.627" v="2235" actId="1076"/>
          <ac:spMkLst>
            <pc:docMk/>
            <pc:sldMk cId="348789314" sldId="361"/>
            <ac:spMk id="14" creationId="{1755BDE4-73B2-4B50-B44C-9ECA4CDB895C}"/>
          </ac:spMkLst>
        </pc:spChg>
        <pc:spChg chg="mod">
          <ac:chgData name="Zenos Zenica" userId="de3ee720dba36952" providerId="Windows Live" clId="Web-{87EC33F8-20F9-4A9B-8B0C-47C86D280FAD}" dt="2020-11-23T12:39:16.642" v="2236" actId="1076"/>
          <ac:spMkLst>
            <pc:docMk/>
            <pc:sldMk cId="348789314" sldId="361"/>
            <ac:spMk id="15" creationId="{C50C8639-B2C4-4983-9431-A814BDD11686}"/>
          </ac:spMkLst>
        </pc:spChg>
        <pc:spChg chg="mod">
          <ac:chgData name="Zenos Zenica" userId="de3ee720dba36952" providerId="Windows Live" clId="Web-{87EC33F8-20F9-4A9B-8B0C-47C86D280FAD}" dt="2020-11-23T12:38:57.814" v="2233" actId="1076"/>
          <ac:spMkLst>
            <pc:docMk/>
            <pc:sldMk cId="348789314" sldId="361"/>
            <ac:spMk id="16" creationId="{8D015B4C-7BDE-4CF6-B1DF-C9FF97DCD775}"/>
          </ac:spMkLst>
        </pc:spChg>
        <pc:spChg chg="mod">
          <ac:chgData name="Zenos Zenica" userId="de3ee720dba36952" providerId="Windows Live" clId="Web-{87EC33F8-20F9-4A9B-8B0C-47C86D280FAD}" dt="2020-11-23T12:38:47.844" v="2229" actId="1076"/>
          <ac:spMkLst>
            <pc:docMk/>
            <pc:sldMk cId="348789314" sldId="361"/>
            <ac:spMk id="17" creationId="{B3A360FC-7259-4651-A29F-042977C2617C}"/>
          </ac:spMkLst>
        </pc:spChg>
        <pc:spChg chg="mod">
          <ac:chgData name="Zenos Zenica" userId="de3ee720dba36952" providerId="Windows Live" clId="Web-{87EC33F8-20F9-4A9B-8B0C-47C86D280FAD}" dt="2020-11-23T12:39:51.362" v="2253" actId="1076"/>
          <ac:spMkLst>
            <pc:docMk/>
            <pc:sldMk cId="348789314" sldId="361"/>
            <ac:spMk id="18" creationId="{3F005DF6-025C-4D79-AAD4-7099F96A9B84}"/>
          </ac:spMkLst>
        </pc:spChg>
        <pc:spChg chg="mod">
          <ac:chgData name="Zenos Zenica" userId="de3ee720dba36952" providerId="Windows Live" clId="Web-{87EC33F8-20F9-4A9B-8B0C-47C86D280FAD}" dt="2020-11-23T12:39:38.893" v="2249" actId="1076"/>
          <ac:spMkLst>
            <pc:docMk/>
            <pc:sldMk cId="348789314" sldId="361"/>
            <ac:spMk id="19" creationId="{971A53F2-068D-4409-ACFB-86187A4F300D}"/>
          </ac:spMkLst>
        </pc:spChg>
        <pc:spChg chg="mod">
          <ac:chgData name="Zenos Zenica" userId="de3ee720dba36952" providerId="Windows Live" clId="Web-{87EC33F8-20F9-4A9B-8B0C-47C86D280FAD}" dt="2020-11-23T12:39:16.658" v="2237" actId="1076"/>
          <ac:spMkLst>
            <pc:docMk/>
            <pc:sldMk cId="348789314" sldId="361"/>
            <ac:spMk id="20" creationId="{BD41693A-4E30-4866-9046-1A26BCBA80B3}"/>
          </ac:spMkLst>
        </pc:spChg>
        <pc:spChg chg="mod">
          <ac:chgData name="Zenos Zenica" userId="de3ee720dba36952" providerId="Windows Live" clId="Web-{87EC33F8-20F9-4A9B-8B0C-47C86D280FAD}" dt="2020-11-23T12:39:16.689" v="2238" actId="1076"/>
          <ac:spMkLst>
            <pc:docMk/>
            <pc:sldMk cId="348789314" sldId="361"/>
            <ac:spMk id="21" creationId="{DD8CD542-37E0-47E0-945B-40AB4E5C2C34}"/>
          </ac:spMkLst>
        </pc:spChg>
        <pc:spChg chg="mod">
          <ac:chgData name="Zenos Zenica" userId="de3ee720dba36952" providerId="Windows Live" clId="Web-{87EC33F8-20F9-4A9B-8B0C-47C86D280FAD}" dt="2020-11-23T12:39:16.705" v="2239" actId="1076"/>
          <ac:spMkLst>
            <pc:docMk/>
            <pc:sldMk cId="348789314" sldId="361"/>
            <ac:spMk id="22" creationId="{78F35C4D-9606-4F9E-A76B-717D2B937139}"/>
          </ac:spMkLst>
        </pc:spChg>
        <pc:grpChg chg="mod">
          <ac:chgData name="Zenos Zenica" userId="de3ee720dba36952" providerId="Windows Live" clId="Web-{87EC33F8-20F9-4A9B-8B0C-47C86D280FAD}" dt="2020-11-23T12:39:16.720" v="2240" actId="1076"/>
          <ac:grpSpMkLst>
            <pc:docMk/>
            <pc:sldMk cId="348789314" sldId="361"/>
            <ac:grpSpMk id="11" creationId="{D31FD468-53C5-42D0-92C9-BE11EC1FB67F}"/>
          </ac:grpSpMkLst>
        </pc:grpChg>
      </pc:sldChg>
      <pc:sldChg chg="modSp add">
        <pc:chgData name="Zenos Zenica" userId="de3ee720dba36952" providerId="Windows Live" clId="Web-{87EC33F8-20F9-4A9B-8B0C-47C86D280FAD}" dt="2020-11-23T12:43:46.790" v="2318" actId="1076"/>
        <pc:sldMkLst>
          <pc:docMk/>
          <pc:sldMk cId="3263933948" sldId="362"/>
        </pc:sldMkLst>
        <pc:spChg chg="mod">
          <ac:chgData name="Zenos Zenica" userId="de3ee720dba36952" providerId="Windows Live" clId="Web-{87EC33F8-20F9-4A9B-8B0C-47C86D280FAD}" dt="2020-11-23T12:43:46.790" v="2318" actId="1076"/>
          <ac:spMkLst>
            <pc:docMk/>
            <pc:sldMk cId="3263933948" sldId="362"/>
            <ac:spMk id="4" creationId="{B8CB9108-1583-4A1C-846B-3263D00D0833}"/>
          </ac:spMkLst>
        </pc:spChg>
        <pc:spChg chg="mod">
          <ac:chgData name="Zenos Zenica" userId="de3ee720dba36952" providerId="Windows Live" clId="Web-{87EC33F8-20F9-4A9B-8B0C-47C86D280FAD}" dt="2020-11-23T12:41:50.771" v="2286" actId="1076"/>
          <ac:spMkLst>
            <pc:docMk/>
            <pc:sldMk cId="3263933948" sldId="362"/>
            <ac:spMk id="16" creationId="{8D015B4C-7BDE-4CF6-B1DF-C9FF97DCD775}"/>
          </ac:spMkLst>
        </pc:spChg>
        <pc:spChg chg="mod">
          <ac:chgData name="Zenos Zenica" userId="de3ee720dba36952" providerId="Windows Live" clId="Web-{87EC33F8-20F9-4A9B-8B0C-47C86D280FAD}" dt="2020-11-23T12:40:51.832" v="2269" actId="14100"/>
          <ac:spMkLst>
            <pc:docMk/>
            <pc:sldMk cId="3263933948" sldId="362"/>
            <ac:spMk id="17" creationId="{B3A360FC-7259-4651-A29F-042977C2617C}"/>
          </ac:spMkLst>
        </pc:spChg>
        <pc:spChg chg="mod">
          <ac:chgData name="Zenos Zenica" userId="de3ee720dba36952" providerId="Windows Live" clId="Web-{87EC33F8-20F9-4A9B-8B0C-47C86D280FAD}" dt="2020-11-23T12:43:28.430" v="2311" actId="1076"/>
          <ac:spMkLst>
            <pc:docMk/>
            <pc:sldMk cId="3263933948" sldId="362"/>
            <ac:spMk id="18" creationId="{3F005DF6-025C-4D79-AAD4-7099F96A9B84}"/>
          </ac:spMkLst>
        </pc:spChg>
        <pc:spChg chg="mod">
          <ac:chgData name="Zenos Zenica" userId="de3ee720dba36952" providerId="Windows Live" clId="Web-{87EC33F8-20F9-4A9B-8B0C-47C86D280FAD}" dt="2020-11-23T12:43:11.742" v="2310" actId="1076"/>
          <ac:spMkLst>
            <pc:docMk/>
            <pc:sldMk cId="3263933948" sldId="362"/>
            <ac:spMk id="19" creationId="{971A53F2-068D-4409-ACFB-86187A4F300D}"/>
          </ac:spMkLst>
        </pc:spChg>
        <pc:spChg chg="mod">
          <ac:chgData name="Zenos Zenica" userId="de3ee720dba36952" providerId="Windows Live" clId="Web-{87EC33F8-20F9-4A9B-8B0C-47C86D280FAD}" dt="2020-11-23T12:41:12.427" v="2280" actId="1076"/>
          <ac:spMkLst>
            <pc:docMk/>
            <pc:sldMk cId="3263933948" sldId="362"/>
            <ac:spMk id="22" creationId="{07B0C062-89A9-481A-8EED-AD7721322695}"/>
          </ac:spMkLst>
        </pc:spChg>
        <pc:spChg chg="mod">
          <ac:chgData name="Zenos Zenica" userId="de3ee720dba36952" providerId="Windows Live" clId="Web-{87EC33F8-20F9-4A9B-8B0C-47C86D280FAD}" dt="2020-11-23T12:41:12.270" v="2271" actId="1076"/>
          <ac:spMkLst>
            <pc:docMk/>
            <pc:sldMk cId="3263933948" sldId="362"/>
            <ac:spMk id="23" creationId="{3B7BE848-B9C8-4A06-92AC-28323191E590}"/>
          </ac:spMkLst>
        </pc:spChg>
        <pc:spChg chg="mod">
          <ac:chgData name="Zenos Zenica" userId="de3ee720dba36952" providerId="Windows Live" clId="Web-{87EC33F8-20F9-4A9B-8B0C-47C86D280FAD}" dt="2020-11-23T12:41:12.286" v="2272" actId="1076"/>
          <ac:spMkLst>
            <pc:docMk/>
            <pc:sldMk cId="3263933948" sldId="362"/>
            <ac:spMk id="24" creationId="{51CB2163-5B1D-420F-AAC9-CE32A87B823A}"/>
          </ac:spMkLst>
        </pc:spChg>
        <pc:spChg chg="mod">
          <ac:chgData name="Zenos Zenica" userId="de3ee720dba36952" providerId="Windows Live" clId="Web-{87EC33F8-20F9-4A9B-8B0C-47C86D280FAD}" dt="2020-11-23T12:41:12.302" v="2273" actId="1076"/>
          <ac:spMkLst>
            <pc:docMk/>
            <pc:sldMk cId="3263933948" sldId="362"/>
            <ac:spMk id="25" creationId="{73E51F7D-0D3F-462B-B3EB-945A970158ED}"/>
          </ac:spMkLst>
        </pc:spChg>
        <pc:spChg chg="mod">
          <ac:chgData name="Zenos Zenica" userId="de3ee720dba36952" providerId="Windows Live" clId="Web-{87EC33F8-20F9-4A9B-8B0C-47C86D280FAD}" dt="2020-11-23T12:41:12.317" v="2274" actId="1076"/>
          <ac:spMkLst>
            <pc:docMk/>
            <pc:sldMk cId="3263933948" sldId="362"/>
            <ac:spMk id="26" creationId="{BD42368B-7922-4168-9E0D-E67AC289E6B8}"/>
          </ac:spMkLst>
        </pc:spChg>
        <pc:spChg chg="mod">
          <ac:chgData name="Zenos Zenica" userId="de3ee720dba36952" providerId="Windows Live" clId="Web-{87EC33F8-20F9-4A9B-8B0C-47C86D280FAD}" dt="2020-11-23T12:41:12.333" v="2275" actId="1076"/>
          <ac:spMkLst>
            <pc:docMk/>
            <pc:sldMk cId="3263933948" sldId="362"/>
            <ac:spMk id="27" creationId="{BEC065EF-E396-434B-9711-A63692028898}"/>
          </ac:spMkLst>
        </pc:spChg>
        <pc:spChg chg="mod">
          <ac:chgData name="Zenos Zenica" userId="de3ee720dba36952" providerId="Windows Live" clId="Web-{87EC33F8-20F9-4A9B-8B0C-47C86D280FAD}" dt="2020-11-23T12:41:12.348" v="2276" actId="1076"/>
          <ac:spMkLst>
            <pc:docMk/>
            <pc:sldMk cId="3263933948" sldId="362"/>
            <ac:spMk id="28" creationId="{BC8C4D48-AAF5-4E77-87DB-A5F807A90DE4}"/>
          </ac:spMkLst>
        </pc:spChg>
        <pc:spChg chg="mod">
          <ac:chgData name="Zenos Zenica" userId="de3ee720dba36952" providerId="Windows Live" clId="Web-{87EC33F8-20F9-4A9B-8B0C-47C86D280FAD}" dt="2020-11-23T12:41:12.364" v="2277" actId="1076"/>
          <ac:spMkLst>
            <pc:docMk/>
            <pc:sldMk cId="3263933948" sldId="362"/>
            <ac:spMk id="29" creationId="{A7B685A6-D4C7-44E9-951B-7022BEF6089D}"/>
          </ac:spMkLst>
        </pc:spChg>
        <pc:spChg chg="mod">
          <ac:chgData name="Zenos Zenica" userId="de3ee720dba36952" providerId="Windows Live" clId="Web-{87EC33F8-20F9-4A9B-8B0C-47C86D280FAD}" dt="2020-11-23T12:41:12.380" v="2278" actId="1076"/>
          <ac:spMkLst>
            <pc:docMk/>
            <pc:sldMk cId="3263933948" sldId="362"/>
            <ac:spMk id="30" creationId="{5D9C329F-EAE0-4A7D-A444-1DB72D87DFCB}"/>
          </ac:spMkLst>
        </pc:spChg>
        <pc:spChg chg="mod">
          <ac:chgData name="Zenos Zenica" userId="de3ee720dba36952" providerId="Windows Live" clId="Web-{87EC33F8-20F9-4A9B-8B0C-47C86D280FAD}" dt="2020-11-23T12:42:49.242" v="2305" actId="1076"/>
          <ac:spMkLst>
            <pc:docMk/>
            <pc:sldMk cId="3263933948" sldId="362"/>
            <ac:spMk id="31" creationId="{2850A038-D12B-4DCE-A996-78602C02C579}"/>
          </ac:spMkLst>
        </pc:spChg>
        <pc:spChg chg="mod">
          <ac:chgData name="Zenos Zenica" userId="de3ee720dba36952" providerId="Windows Live" clId="Web-{87EC33F8-20F9-4A9B-8B0C-47C86D280FAD}" dt="2020-11-23T12:42:36.695" v="2301" actId="1076"/>
          <ac:spMkLst>
            <pc:docMk/>
            <pc:sldMk cId="3263933948" sldId="362"/>
            <ac:spMk id="32" creationId="{1636C762-3BC1-413E-8E38-BA05983529EC}"/>
          </ac:spMkLst>
        </pc:spChg>
        <pc:spChg chg="mod">
          <ac:chgData name="Zenos Zenica" userId="de3ee720dba36952" providerId="Windows Live" clId="Web-{87EC33F8-20F9-4A9B-8B0C-47C86D280FAD}" dt="2020-11-23T12:41:12.411" v="2279" actId="1076"/>
          <ac:spMkLst>
            <pc:docMk/>
            <pc:sldMk cId="3263933948" sldId="362"/>
            <ac:spMk id="33" creationId="{255F3EF2-2B7B-41DC-9FD1-F9D24FAC8F1F}"/>
          </ac:spMkLst>
        </pc:spChg>
      </pc:sldChg>
      <pc:sldChg chg="modSp add">
        <pc:chgData name="Zenos Zenica" userId="de3ee720dba36952" providerId="Windows Live" clId="Web-{87EC33F8-20F9-4A9B-8B0C-47C86D280FAD}" dt="2020-11-23T12:44:33.026" v="2331" actId="1076"/>
        <pc:sldMkLst>
          <pc:docMk/>
          <pc:sldMk cId="2969640709" sldId="363"/>
        </pc:sldMkLst>
        <pc:spChg chg="mod">
          <ac:chgData name="Zenos Zenica" userId="de3ee720dba36952" providerId="Windows Live" clId="Web-{87EC33F8-20F9-4A9B-8B0C-47C86D280FAD}" dt="2020-11-23T12:44:07.338" v="2325" actId="1076"/>
          <ac:spMkLst>
            <pc:docMk/>
            <pc:sldMk cId="2969640709" sldId="363"/>
            <ac:spMk id="4" creationId="{B8CB9108-1583-4A1C-846B-3263D00D0833}"/>
          </ac:spMkLst>
        </pc:spChg>
        <pc:spChg chg="mod">
          <ac:chgData name="Zenos Zenica" userId="de3ee720dba36952" providerId="Windows Live" clId="Web-{87EC33F8-20F9-4A9B-8B0C-47C86D280FAD}" dt="2020-11-23T12:44:33.026" v="2331" actId="1076"/>
          <ac:spMkLst>
            <pc:docMk/>
            <pc:sldMk cId="2969640709" sldId="363"/>
            <ac:spMk id="50" creationId="{C47E4B41-61C6-47B1-9C25-3CAC0B814247}"/>
          </ac:spMkLst>
        </pc:spChg>
      </pc:sldChg>
      <pc:sldChg chg="modSp add">
        <pc:chgData name="Zenos Zenica" userId="de3ee720dba36952" providerId="Windows Live" clId="Web-{87EC33F8-20F9-4A9B-8B0C-47C86D280FAD}" dt="2020-11-23T12:48:35.579" v="2411" actId="1076"/>
        <pc:sldMkLst>
          <pc:docMk/>
          <pc:sldMk cId="3491475963" sldId="364"/>
        </pc:sldMkLst>
        <pc:spChg chg="mod">
          <ac:chgData name="Zenos Zenica" userId="de3ee720dba36952" providerId="Windows Live" clId="Web-{87EC33F8-20F9-4A9B-8B0C-47C86D280FAD}" dt="2020-11-23T12:45:13.590" v="2337" actId="1076"/>
          <ac:spMkLst>
            <pc:docMk/>
            <pc:sldMk cId="3491475963" sldId="364"/>
            <ac:spMk id="4" creationId="{B8CB9108-1583-4A1C-846B-3263D00D0833}"/>
          </ac:spMkLst>
        </pc:spChg>
        <pc:spChg chg="mod">
          <ac:chgData name="Zenos Zenica" userId="de3ee720dba36952" providerId="Windows Live" clId="Web-{87EC33F8-20F9-4A9B-8B0C-47C86D280FAD}" dt="2020-11-23T12:45:34.168" v="2390"/>
          <ac:spMkLst>
            <pc:docMk/>
            <pc:sldMk cId="3491475963" sldId="364"/>
            <ac:spMk id="22" creationId="{361A3FCD-D7D7-4355-A5A1-9B54C1038196}"/>
          </ac:spMkLst>
        </pc:spChg>
        <pc:spChg chg="mod">
          <ac:chgData name="Zenos Zenica" userId="de3ee720dba36952" providerId="Windows Live" clId="Web-{87EC33F8-20F9-4A9B-8B0C-47C86D280FAD}" dt="2020-11-23T12:45:34.184" v="2391"/>
          <ac:spMkLst>
            <pc:docMk/>
            <pc:sldMk cId="3491475963" sldId="364"/>
            <ac:spMk id="23" creationId="{3B0031A6-37AF-4A14-9399-BFEF2633D35A}"/>
          </ac:spMkLst>
        </pc:spChg>
        <pc:spChg chg="mod">
          <ac:chgData name="Zenos Zenica" userId="de3ee720dba36952" providerId="Windows Live" clId="Web-{87EC33F8-20F9-4A9B-8B0C-47C86D280FAD}" dt="2020-11-23T12:45:34.215" v="2392"/>
          <ac:spMkLst>
            <pc:docMk/>
            <pc:sldMk cId="3491475963" sldId="364"/>
            <ac:spMk id="24" creationId="{74EC6A1F-D0DF-4D87-B9F0-1FF922EF1C32}"/>
          </ac:spMkLst>
        </pc:spChg>
        <pc:spChg chg="mod">
          <ac:chgData name="Zenos Zenica" userId="de3ee720dba36952" providerId="Windows Live" clId="Web-{87EC33F8-20F9-4A9B-8B0C-47C86D280FAD}" dt="2020-11-23T12:45:34.231" v="2393"/>
          <ac:spMkLst>
            <pc:docMk/>
            <pc:sldMk cId="3491475963" sldId="364"/>
            <ac:spMk id="25" creationId="{3E1AA224-C669-4D6B-9E49-4B7D3C684148}"/>
          </ac:spMkLst>
        </pc:spChg>
        <pc:spChg chg="mod">
          <ac:chgData name="Zenos Zenica" userId="de3ee720dba36952" providerId="Windows Live" clId="Web-{87EC33F8-20F9-4A9B-8B0C-47C86D280FAD}" dt="2020-11-23T12:45:34.246" v="2394"/>
          <ac:spMkLst>
            <pc:docMk/>
            <pc:sldMk cId="3491475963" sldId="364"/>
            <ac:spMk id="26" creationId="{8E976339-5835-448E-8AE2-B93D23E9593B}"/>
          </ac:spMkLst>
        </pc:spChg>
        <pc:spChg chg="mod">
          <ac:chgData name="Zenos Zenica" userId="de3ee720dba36952" providerId="Windows Live" clId="Web-{87EC33F8-20F9-4A9B-8B0C-47C86D280FAD}" dt="2020-11-23T12:45:34.262" v="2395"/>
          <ac:spMkLst>
            <pc:docMk/>
            <pc:sldMk cId="3491475963" sldId="364"/>
            <ac:spMk id="27" creationId="{C67F7723-1E47-4F65-8429-7019E5672075}"/>
          </ac:spMkLst>
        </pc:spChg>
        <pc:spChg chg="mod">
          <ac:chgData name="Zenos Zenica" userId="de3ee720dba36952" providerId="Windows Live" clId="Web-{87EC33F8-20F9-4A9B-8B0C-47C86D280FAD}" dt="2020-11-23T12:45:34.278" v="2396"/>
          <ac:spMkLst>
            <pc:docMk/>
            <pc:sldMk cId="3491475963" sldId="364"/>
            <ac:spMk id="28" creationId="{109F3C60-32FD-40AB-B3B6-CA40C2DBA79F}"/>
          </ac:spMkLst>
        </pc:spChg>
        <pc:spChg chg="mod">
          <ac:chgData name="Zenos Zenica" userId="de3ee720dba36952" providerId="Windows Live" clId="Web-{87EC33F8-20F9-4A9B-8B0C-47C86D280FAD}" dt="2020-11-23T12:45:34.293" v="2397"/>
          <ac:spMkLst>
            <pc:docMk/>
            <pc:sldMk cId="3491475963" sldId="364"/>
            <ac:spMk id="29" creationId="{F6AC6288-AA85-47F2-BA50-B6A2A9B64AC2}"/>
          </ac:spMkLst>
        </pc:spChg>
        <pc:spChg chg="mod">
          <ac:chgData name="Zenos Zenica" userId="de3ee720dba36952" providerId="Windows Live" clId="Web-{87EC33F8-20F9-4A9B-8B0C-47C86D280FAD}" dt="2020-11-23T12:45:34.309" v="2398"/>
          <ac:spMkLst>
            <pc:docMk/>
            <pc:sldMk cId="3491475963" sldId="364"/>
            <ac:spMk id="30" creationId="{BD98693B-F168-4AE4-9448-7BF01F4A2724}"/>
          </ac:spMkLst>
        </pc:spChg>
        <pc:spChg chg="mod">
          <ac:chgData name="Zenos Zenica" userId="de3ee720dba36952" providerId="Windows Live" clId="Web-{87EC33F8-20F9-4A9B-8B0C-47C86D280FAD}" dt="2020-11-23T12:47:36.734" v="2403" actId="1076"/>
          <ac:spMkLst>
            <pc:docMk/>
            <pc:sldMk cId="3491475963" sldId="364"/>
            <ac:spMk id="31" creationId="{BB3391A6-0CE4-46DA-BC63-DC03FCBC58DE}"/>
          </ac:spMkLst>
        </pc:spChg>
        <pc:spChg chg="mod">
          <ac:chgData name="Zenos Zenica" userId="de3ee720dba36952" providerId="Windows Live" clId="Web-{87EC33F8-20F9-4A9B-8B0C-47C86D280FAD}" dt="2020-11-23T12:47:44.937" v="2404" actId="1076"/>
          <ac:spMkLst>
            <pc:docMk/>
            <pc:sldMk cId="3491475963" sldId="364"/>
            <ac:spMk id="32" creationId="{D3182226-A86C-4C45-AE43-43514747DF31}"/>
          </ac:spMkLst>
        </pc:spChg>
        <pc:spChg chg="mod">
          <ac:chgData name="Zenos Zenica" userId="de3ee720dba36952" providerId="Windows Live" clId="Web-{87EC33F8-20F9-4A9B-8B0C-47C86D280FAD}" dt="2020-11-23T12:45:33.918" v="2376"/>
          <ac:spMkLst>
            <pc:docMk/>
            <pc:sldMk cId="3491475963" sldId="364"/>
            <ac:spMk id="33" creationId="{AF55652E-BF80-4906-80CD-420241EFFBDF}"/>
          </ac:spMkLst>
        </pc:spChg>
        <pc:spChg chg="mod">
          <ac:chgData name="Zenos Zenica" userId="de3ee720dba36952" providerId="Windows Live" clId="Web-{87EC33F8-20F9-4A9B-8B0C-47C86D280FAD}" dt="2020-11-23T12:45:33.949" v="2377"/>
          <ac:spMkLst>
            <pc:docMk/>
            <pc:sldMk cId="3491475963" sldId="364"/>
            <ac:spMk id="47" creationId="{AECEEAC5-F301-492B-8EC5-10575E31FB88}"/>
          </ac:spMkLst>
        </pc:spChg>
        <pc:spChg chg="mod">
          <ac:chgData name="Zenos Zenica" userId="de3ee720dba36952" providerId="Windows Live" clId="Web-{87EC33F8-20F9-4A9B-8B0C-47C86D280FAD}" dt="2020-11-23T12:45:33.965" v="2378"/>
          <ac:spMkLst>
            <pc:docMk/>
            <pc:sldMk cId="3491475963" sldId="364"/>
            <ac:spMk id="48" creationId="{8C58F44C-127B-41D4-8EA0-1F12C3EEBCF0}"/>
          </ac:spMkLst>
        </pc:spChg>
        <pc:spChg chg="mod">
          <ac:chgData name="Zenos Zenica" userId="de3ee720dba36952" providerId="Windows Live" clId="Web-{87EC33F8-20F9-4A9B-8B0C-47C86D280FAD}" dt="2020-11-23T12:45:33.981" v="2379"/>
          <ac:spMkLst>
            <pc:docMk/>
            <pc:sldMk cId="3491475963" sldId="364"/>
            <ac:spMk id="49" creationId="{58261CC9-FE84-4A55-97BD-4DC8FD78399D}"/>
          </ac:spMkLst>
        </pc:spChg>
        <pc:spChg chg="mod">
          <ac:chgData name="Zenos Zenica" userId="de3ee720dba36952" providerId="Windows Live" clId="Web-{87EC33F8-20F9-4A9B-8B0C-47C86D280FAD}" dt="2020-11-23T12:45:33.996" v="2380"/>
          <ac:spMkLst>
            <pc:docMk/>
            <pc:sldMk cId="3491475963" sldId="364"/>
            <ac:spMk id="51" creationId="{47EBE585-CA3F-48DE-9A86-B30384E17B77}"/>
          </ac:spMkLst>
        </pc:spChg>
        <pc:spChg chg="mod">
          <ac:chgData name="Zenos Zenica" userId="de3ee720dba36952" providerId="Windows Live" clId="Web-{87EC33F8-20F9-4A9B-8B0C-47C86D280FAD}" dt="2020-11-23T12:45:34.012" v="2381"/>
          <ac:spMkLst>
            <pc:docMk/>
            <pc:sldMk cId="3491475963" sldId="364"/>
            <ac:spMk id="52" creationId="{89D57022-679B-4654-A934-77F162EDB5AD}"/>
          </ac:spMkLst>
        </pc:spChg>
        <pc:spChg chg="mod">
          <ac:chgData name="Zenos Zenica" userId="de3ee720dba36952" providerId="Windows Live" clId="Web-{87EC33F8-20F9-4A9B-8B0C-47C86D280FAD}" dt="2020-11-23T12:48:35.579" v="2411" actId="1076"/>
          <ac:spMkLst>
            <pc:docMk/>
            <pc:sldMk cId="3491475963" sldId="364"/>
            <ac:spMk id="53" creationId="{D0CCABA2-3988-4478-BFDB-D8053331DE5E}"/>
          </ac:spMkLst>
        </pc:spChg>
        <pc:spChg chg="mod">
          <ac:chgData name="Zenos Zenica" userId="de3ee720dba36952" providerId="Windows Live" clId="Web-{87EC33F8-20F9-4A9B-8B0C-47C86D280FAD}" dt="2020-11-23T12:48:21.876" v="2410" actId="1076"/>
          <ac:spMkLst>
            <pc:docMk/>
            <pc:sldMk cId="3491475963" sldId="364"/>
            <ac:spMk id="54" creationId="{05BBC4BB-1E04-4460-870C-A88CB6646529}"/>
          </ac:spMkLst>
        </pc:spChg>
        <pc:spChg chg="mod">
          <ac:chgData name="Zenos Zenica" userId="de3ee720dba36952" providerId="Windows Live" clId="Web-{87EC33F8-20F9-4A9B-8B0C-47C86D280FAD}" dt="2020-11-23T12:45:34.059" v="2384"/>
          <ac:spMkLst>
            <pc:docMk/>
            <pc:sldMk cId="3491475963" sldId="364"/>
            <ac:spMk id="55" creationId="{27EB0714-4A05-4D11-9ED9-7A9281428A20}"/>
          </ac:spMkLst>
        </pc:spChg>
        <pc:spChg chg="mod">
          <ac:chgData name="Zenos Zenica" userId="de3ee720dba36952" providerId="Windows Live" clId="Web-{87EC33F8-20F9-4A9B-8B0C-47C86D280FAD}" dt="2020-11-23T12:45:34.090" v="2385"/>
          <ac:spMkLst>
            <pc:docMk/>
            <pc:sldMk cId="3491475963" sldId="364"/>
            <ac:spMk id="56" creationId="{0220A0EC-A3A1-41E0-9EE8-6F8628EB08D3}"/>
          </ac:spMkLst>
        </pc:spChg>
        <pc:spChg chg="mod">
          <ac:chgData name="Zenos Zenica" userId="de3ee720dba36952" providerId="Windows Live" clId="Web-{87EC33F8-20F9-4A9B-8B0C-47C86D280FAD}" dt="2020-11-23T12:48:00.141" v="2408" actId="1076"/>
          <ac:spMkLst>
            <pc:docMk/>
            <pc:sldMk cId="3491475963" sldId="364"/>
            <ac:spMk id="58" creationId="{05556B01-6051-4402-AED7-C5CA00BE8B6C}"/>
          </ac:spMkLst>
        </pc:spChg>
        <pc:spChg chg="mod">
          <ac:chgData name="Zenos Zenica" userId="de3ee720dba36952" providerId="Windows Live" clId="Web-{87EC33F8-20F9-4A9B-8B0C-47C86D280FAD}" dt="2020-11-23T12:48:12.235" v="2409" actId="1076"/>
          <ac:spMkLst>
            <pc:docMk/>
            <pc:sldMk cId="3491475963" sldId="364"/>
            <ac:spMk id="59" creationId="{6F13B00C-F0FA-46B1-9A1E-F4C15FBAAB84}"/>
          </ac:spMkLst>
        </pc:spChg>
        <pc:spChg chg="mod">
          <ac:chgData name="Zenos Zenica" userId="de3ee720dba36952" providerId="Windows Live" clId="Web-{87EC33F8-20F9-4A9B-8B0C-47C86D280FAD}" dt="2020-11-23T12:45:34.137" v="2388"/>
          <ac:spMkLst>
            <pc:docMk/>
            <pc:sldMk cId="3491475963" sldId="364"/>
            <ac:spMk id="60" creationId="{3DDC76B6-B4A4-4499-9135-5BDE62473681}"/>
          </ac:spMkLst>
        </pc:spChg>
        <pc:spChg chg="mod">
          <ac:chgData name="Zenos Zenica" userId="de3ee720dba36952" providerId="Windows Live" clId="Web-{87EC33F8-20F9-4A9B-8B0C-47C86D280FAD}" dt="2020-11-23T12:45:34.153" v="2389"/>
          <ac:spMkLst>
            <pc:docMk/>
            <pc:sldMk cId="3491475963" sldId="364"/>
            <ac:spMk id="61" creationId="{D1DCE71F-8712-4E81-8EDB-9CF5ED34B335}"/>
          </ac:spMkLst>
        </pc:spChg>
        <pc:spChg chg="mod">
          <ac:chgData name="Zenos Zenica" userId="de3ee720dba36952" providerId="Windows Live" clId="Web-{87EC33F8-20F9-4A9B-8B0C-47C86D280FAD}" dt="2020-11-23T12:45:34.324" v="2399"/>
          <ac:spMkLst>
            <pc:docMk/>
            <pc:sldMk cId="3491475963" sldId="364"/>
            <ac:spMk id="62" creationId="{61CFDF05-6B57-4B13-8D8A-CFC115D9461D}"/>
          </ac:spMkLst>
        </pc:spChg>
      </pc:sldChg>
      <pc:sldChg chg="modSp add">
        <pc:chgData name="Zenos Zenica" userId="de3ee720dba36952" providerId="Windows Live" clId="Web-{87EC33F8-20F9-4A9B-8B0C-47C86D280FAD}" dt="2020-11-23T12:49:46.035" v="2429" actId="20577"/>
        <pc:sldMkLst>
          <pc:docMk/>
          <pc:sldMk cId="2677811991" sldId="365"/>
        </pc:sldMkLst>
        <pc:spChg chg="mod">
          <ac:chgData name="Zenos Zenica" userId="de3ee720dba36952" providerId="Windows Live" clId="Web-{87EC33F8-20F9-4A9B-8B0C-47C86D280FAD}" dt="2020-11-23T12:49:46.035" v="2429" actId="20577"/>
          <ac:spMkLst>
            <pc:docMk/>
            <pc:sldMk cId="2677811991" sldId="365"/>
            <ac:spMk id="4" creationId="{B8CB9108-1583-4A1C-846B-3263D00D0833}"/>
          </ac:spMkLst>
        </pc:spChg>
        <pc:graphicFrameChg chg="mod modGraphic">
          <ac:chgData name="Zenos Zenica" userId="de3ee720dba36952" providerId="Windows Live" clId="Web-{87EC33F8-20F9-4A9B-8B0C-47C86D280FAD}" dt="2020-11-23T12:48:59.174" v="2413"/>
          <ac:graphicFrameMkLst>
            <pc:docMk/>
            <pc:sldMk cId="2677811991" sldId="365"/>
            <ac:graphicFrameMk id="3" creationId="{28726636-ABE3-45B0-A1AF-41D2E68D365B}"/>
          </ac:graphicFrameMkLst>
        </pc:graphicFrameChg>
      </pc:sldChg>
      <pc:sldChg chg="modSp add">
        <pc:chgData name="Zenos Zenica" userId="de3ee720dba36952" providerId="Windows Live" clId="Web-{87EC33F8-20F9-4A9B-8B0C-47C86D280FAD}" dt="2020-11-23T12:51:21.990" v="2467" actId="1076"/>
        <pc:sldMkLst>
          <pc:docMk/>
          <pc:sldMk cId="1943448107" sldId="366"/>
        </pc:sldMkLst>
        <pc:spChg chg="mod">
          <ac:chgData name="Zenos Zenica" userId="de3ee720dba36952" providerId="Windows Live" clId="Web-{87EC33F8-20F9-4A9B-8B0C-47C86D280FAD}" dt="2020-11-23T12:51:21.990" v="2467" actId="1076"/>
          <ac:spMkLst>
            <pc:docMk/>
            <pc:sldMk cId="1943448107" sldId="366"/>
            <ac:spMk id="4" creationId="{B8CB9108-1583-4A1C-846B-3263D00D0833}"/>
          </ac:spMkLst>
        </pc:spChg>
        <pc:spChg chg="mod">
          <ac:chgData name="Zenos Zenica" userId="de3ee720dba36952" providerId="Windows Live" clId="Web-{87EC33F8-20F9-4A9B-8B0C-47C86D280FAD}" dt="2020-11-23T12:50:21.707" v="2442" actId="14100"/>
          <ac:spMkLst>
            <pc:docMk/>
            <pc:sldMk cId="1943448107" sldId="366"/>
            <ac:spMk id="44" creationId="{E7F1E198-9CBD-4399-80E1-7EC790857C0D}"/>
          </ac:spMkLst>
        </pc:spChg>
        <pc:spChg chg="mod">
          <ac:chgData name="Zenos Zenica" userId="de3ee720dba36952" providerId="Windows Live" clId="Web-{87EC33F8-20F9-4A9B-8B0C-47C86D280FAD}" dt="2020-11-23T12:50:21.723" v="2443" actId="14100"/>
          <ac:spMkLst>
            <pc:docMk/>
            <pc:sldMk cId="1943448107" sldId="366"/>
            <ac:spMk id="45" creationId="{D7020E99-4EAB-4B3D-87A5-A5CB504D357C}"/>
          </ac:spMkLst>
        </pc:spChg>
        <pc:spChg chg="mod">
          <ac:chgData name="Zenos Zenica" userId="de3ee720dba36952" providerId="Windows Live" clId="Web-{87EC33F8-20F9-4A9B-8B0C-47C86D280FAD}" dt="2020-11-23T12:50:21.739" v="2444" actId="14100"/>
          <ac:spMkLst>
            <pc:docMk/>
            <pc:sldMk cId="1943448107" sldId="366"/>
            <ac:spMk id="46" creationId="{16F290D5-A46F-45E1-915B-5B788CC469EF}"/>
          </ac:spMkLst>
        </pc:spChg>
        <pc:spChg chg="mod">
          <ac:chgData name="Zenos Zenica" userId="de3ee720dba36952" providerId="Windows Live" clId="Web-{87EC33F8-20F9-4A9B-8B0C-47C86D280FAD}" dt="2020-11-23T12:50:21.754" v="2445" actId="14100"/>
          <ac:spMkLst>
            <pc:docMk/>
            <pc:sldMk cId="1943448107" sldId="366"/>
            <ac:spMk id="47" creationId="{BE371A80-2FD3-418A-88AD-DF965026EA8E}"/>
          </ac:spMkLst>
        </pc:spChg>
        <pc:spChg chg="mod">
          <ac:chgData name="Zenos Zenica" userId="de3ee720dba36952" providerId="Windows Live" clId="Web-{87EC33F8-20F9-4A9B-8B0C-47C86D280FAD}" dt="2020-11-23T12:50:21.770" v="2446" actId="14100"/>
          <ac:spMkLst>
            <pc:docMk/>
            <pc:sldMk cId="1943448107" sldId="366"/>
            <ac:spMk id="48" creationId="{6953212D-847D-4A50-8243-1BCCBC40FB71}"/>
          </ac:spMkLst>
        </pc:spChg>
        <pc:spChg chg="mod">
          <ac:chgData name="Zenos Zenica" userId="de3ee720dba36952" providerId="Windows Live" clId="Web-{87EC33F8-20F9-4A9B-8B0C-47C86D280FAD}" dt="2020-11-23T12:50:21.786" v="2447" actId="14100"/>
          <ac:spMkLst>
            <pc:docMk/>
            <pc:sldMk cId="1943448107" sldId="366"/>
            <ac:spMk id="49" creationId="{A4239A40-6F41-4ACC-BF61-B7F9A58D9C63}"/>
          </ac:spMkLst>
        </pc:spChg>
        <pc:spChg chg="mod">
          <ac:chgData name="Zenos Zenica" userId="de3ee720dba36952" providerId="Windows Live" clId="Web-{87EC33F8-20F9-4A9B-8B0C-47C86D280FAD}" dt="2020-11-23T12:50:21.801" v="2448" actId="14100"/>
          <ac:spMkLst>
            <pc:docMk/>
            <pc:sldMk cId="1943448107" sldId="366"/>
            <ac:spMk id="50" creationId="{565618B1-1793-48A9-9C0E-CC6434519A95}"/>
          </ac:spMkLst>
        </pc:spChg>
        <pc:spChg chg="mod">
          <ac:chgData name="Zenos Zenica" userId="de3ee720dba36952" providerId="Windows Live" clId="Web-{87EC33F8-20F9-4A9B-8B0C-47C86D280FAD}" dt="2020-11-23T12:50:21.817" v="2449" actId="14100"/>
          <ac:spMkLst>
            <pc:docMk/>
            <pc:sldMk cId="1943448107" sldId="366"/>
            <ac:spMk id="51" creationId="{3800F636-6C76-4BDD-AE3F-7EC38FCBA926}"/>
          </ac:spMkLst>
        </pc:spChg>
        <pc:spChg chg="mod">
          <ac:chgData name="Zenos Zenica" userId="de3ee720dba36952" providerId="Windows Live" clId="Web-{87EC33F8-20F9-4A9B-8B0C-47C86D280FAD}" dt="2020-11-23T12:50:47.271" v="2455" actId="20577"/>
          <ac:spMkLst>
            <pc:docMk/>
            <pc:sldMk cId="1943448107" sldId="366"/>
            <ac:spMk id="52" creationId="{5E1B59D1-8158-443B-AA09-E291E0D17946}"/>
          </ac:spMkLst>
        </pc:spChg>
        <pc:spChg chg="mod">
          <ac:chgData name="Zenos Zenica" userId="de3ee720dba36952" providerId="Windows Live" clId="Web-{87EC33F8-20F9-4A9B-8B0C-47C86D280FAD}" dt="2020-11-23T12:50:21.864" v="2451" actId="14100"/>
          <ac:spMkLst>
            <pc:docMk/>
            <pc:sldMk cId="1943448107" sldId="366"/>
            <ac:spMk id="53" creationId="{27258068-5516-42F1-AA0A-709605537A0D}"/>
          </ac:spMkLst>
        </pc:spChg>
      </pc:sldChg>
      <pc:sldChg chg="modSp add">
        <pc:chgData name="Zenos Zenica" userId="de3ee720dba36952" providerId="Windows Live" clId="Web-{87EC33F8-20F9-4A9B-8B0C-47C86D280FAD}" dt="2020-11-23T12:53:21.759" v="2503" actId="1076"/>
        <pc:sldMkLst>
          <pc:docMk/>
          <pc:sldMk cId="2803471758" sldId="367"/>
        </pc:sldMkLst>
        <pc:spChg chg="mod">
          <ac:chgData name="Zenos Zenica" userId="de3ee720dba36952" providerId="Windows Live" clId="Web-{87EC33F8-20F9-4A9B-8B0C-47C86D280FAD}" dt="2020-11-23T12:53:21.759" v="2503" actId="1076"/>
          <ac:spMkLst>
            <pc:docMk/>
            <pc:sldMk cId="2803471758" sldId="367"/>
            <ac:spMk id="4" creationId="{B8CB9108-1583-4A1C-846B-3263D00D0833}"/>
          </ac:spMkLst>
        </pc:spChg>
        <pc:spChg chg="mod">
          <ac:chgData name="Zenos Zenica" userId="de3ee720dba36952" providerId="Windows Live" clId="Web-{87EC33F8-20F9-4A9B-8B0C-47C86D280FAD}" dt="2020-11-23T12:51:48.694" v="2468"/>
          <ac:spMkLst>
            <pc:docMk/>
            <pc:sldMk cId="2803471758" sldId="367"/>
            <ac:spMk id="5" creationId="{34A227D9-5D25-4944-BD1D-740B5D680293}"/>
          </ac:spMkLst>
        </pc:spChg>
        <pc:spChg chg="mod">
          <ac:chgData name="Zenos Zenica" userId="de3ee720dba36952" providerId="Windows Live" clId="Web-{87EC33F8-20F9-4A9B-8B0C-47C86D280FAD}" dt="2020-11-23T12:51:48.710" v="2469"/>
          <ac:spMkLst>
            <pc:docMk/>
            <pc:sldMk cId="2803471758" sldId="367"/>
            <ac:spMk id="6" creationId="{845CB6DF-9630-470E-BB82-B110AAE7D051}"/>
          </ac:spMkLst>
        </pc:spChg>
        <pc:spChg chg="mod">
          <ac:chgData name="Zenos Zenica" userId="de3ee720dba36952" providerId="Windows Live" clId="Web-{87EC33F8-20F9-4A9B-8B0C-47C86D280FAD}" dt="2020-11-23T12:51:48.725" v="2470"/>
          <ac:spMkLst>
            <pc:docMk/>
            <pc:sldMk cId="2803471758" sldId="367"/>
            <ac:spMk id="7" creationId="{AC88BBFC-4ED4-4455-A8AC-AB4024A586C2}"/>
          </ac:spMkLst>
        </pc:spChg>
        <pc:spChg chg="mod">
          <ac:chgData name="Zenos Zenica" userId="de3ee720dba36952" providerId="Windows Live" clId="Web-{87EC33F8-20F9-4A9B-8B0C-47C86D280FAD}" dt="2020-11-23T12:51:48.725" v="2471"/>
          <ac:spMkLst>
            <pc:docMk/>
            <pc:sldMk cId="2803471758" sldId="367"/>
            <ac:spMk id="8" creationId="{F634E31C-269B-4FB0-AF15-A94E6E7DF9A1}"/>
          </ac:spMkLst>
        </pc:spChg>
        <pc:spChg chg="mod">
          <ac:chgData name="Zenos Zenica" userId="de3ee720dba36952" providerId="Windows Live" clId="Web-{87EC33F8-20F9-4A9B-8B0C-47C86D280FAD}" dt="2020-11-23T12:51:48.741" v="2472"/>
          <ac:spMkLst>
            <pc:docMk/>
            <pc:sldMk cId="2803471758" sldId="367"/>
            <ac:spMk id="9" creationId="{376AE35B-79FA-4852-BC06-7A0E1FE4415E}"/>
          </ac:spMkLst>
        </pc:spChg>
        <pc:spChg chg="mod">
          <ac:chgData name="Zenos Zenica" userId="de3ee720dba36952" providerId="Windows Live" clId="Web-{87EC33F8-20F9-4A9B-8B0C-47C86D280FAD}" dt="2020-11-23T12:51:48.757" v="2473"/>
          <ac:spMkLst>
            <pc:docMk/>
            <pc:sldMk cId="2803471758" sldId="367"/>
            <ac:spMk id="10" creationId="{0825ECFC-6D78-4E4E-95C0-CF2AFF478A52}"/>
          </ac:spMkLst>
        </pc:spChg>
        <pc:spChg chg="mod">
          <ac:chgData name="Zenos Zenica" userId="de3ee720dba36952" providerId="Windows Live" clId="Web-{87EC33F8-20F9-4A9B-8B0C-47C86D280FAD}" dt="2020-11-23T12:51:48.757" v="2474"/>
          <ac:spMkLst>
            <pc:docMk/>
            <pc:sldMk cId="2803471758" sldId="367"/>
            <ac:spMk id="11" creationId="{7587EE69-2279-4FAB-B62D-FD2BA6097E73}"/>
          </ac:spMkLst>
        </pc:spChg>
        <pc:spChg chg="mod">
          <ac:chgData name="Zenos Zenica" userId="de3ee720dba36952" providerId="Windows Live" clId="Web-{87EC33F8-20F9-4A9B-8B0C-47C86D280FAD}" dt="2020-11-23T12:51:48.772" v="2475"/>
          <ac:spMkLst>
            <pc:docMk/>
            <pc:sldMk cId="2803471758" sldId="367"/>
            <ac:spMk id="12" creationId="{B5E7E6C6-9382-4C53-8B1C-C0C413D7BE90}"/>
          </ac:spMkLst>
        </pc:spChg>
        <pc:spChg chg="mod">
          <ac:chgData name="Zenos Zenica" userId="de3ee720dba36952" providerId="Windows Live" clId="Web-{87EC33F8-20F9-4A9B-8B0C-47C86D280FAD}" dt="2020-11-23T12:51:48.788" v="2476"/>
          <ac:spMkLst>
            <pc:docMk/>
            <pc:sldMk cId="2803471758" sldId="367"/>
            <ac:spMk id="13" creationId="{C9DE330B-12E4-403A-8DEF-4B4552D35ED8}"/>
          </ac:spMkLst>
        </pc:spChg>
        <pc:spChg chg="mod">
          <ac:chgData name="Zenos Zenica" userId="de3ee720dba36952" providerId="Windows Live" clId="Web-{87EC33F8-20F9-4A9B-8B0C-47C86D280FAD}" dt="2020-11-23T12:52:23.680" v="2492" actId="1076"/>
          <ac:spMkLst>
            <pc:docMk/>
            <pc:sldMk cId="2803471758" sldId="367"/>
            <ac:spMk id="14" creationId="{41E66332-F657-4070-BABA-2C661A5549F1}"/>
          </ac:spMkLst>
        </pc:spChg>
        <pc:spChg chg="mod">
          <ac:chgData name="Zenos Zenica" userId="de3ee720dba36952" providerId="Windows Live" clId="Web-{87EC33F8-20F9-4A9B-8B0C-47C86D280FAD}" dt="2020-11-23T12:51:48.804" v="2478"/>
          <ac:spMkLst>
            <pc:docMk/>
            <pc:sldMk cId="2803471758" sldId="367"/>
            <ac:spMk id="15" creationId="{5947AC03-28D1-4A7C-98D1-64B81B79AA91}"/>
          </ac:spMkLst>
        </pc:spChg>
        <pc:spChg chg="mod">
          <ac:chgData name="Zenos Zenica" userId="de3ee720dba36952" providerId="Windows Live" clId="Web-{87EC33F8-20F9-4A9B-8B0C-47C86D280FAD}" dt="2020-11-23T12:52:38.321" v="2495" actId="1076"/>
          <ac:spMkLst>
            <pc:docMk/>
            <pc:sldMk cId="2803471758" sldId="367"/>
            <ac:spMk id="16" creationId="{8D02BF83-6A7C-43DB-988E-3BF205FF2B9E}"/>
          </ac:spMkLst>
        </pc:spChg>
        <pc:spChg chg="mod">
          <ac:chgData name="Zenos Zenica" userId="de3ee720dba36952" providerId="Windows Live" clId="Web-{87EC33F8-20F9-4A9B-8B0C-47C86D280FAD}" dt="2020-11-23T12:52:04.898" v="2489" actId="20577"/>
          <ac:spMkLst>
            <pc:docMk/>
            <pc:sldMk cId="2803471758" sldId="367"/>
            <ac:spMk id="17" creationId="{82C68E9D-2EDA-40FC-9F18-C5BC434C7A8E}"/>
          </ac:spMkLst>
        </pc:spChg>
        <pc:spChg chg="mod">
          <ac:chgData name="Zenos Zenica" userId="de3ee720dba36952" providerId="Windows Live" clId="Web-{87EC33F8-20F9-4A9B-8B0C-47C86D280FAD}" dt="2020-11-23T12:52:28.508" v="2493" actId="1076"/>
          <ac:spMkLst>
            <pc:docMk/>
            <pc:sldMk cId="2803471758" sldId="367"/>
            <ac:spMk id="18" creationId="{6B14D351-4425-41A8-90F9-0007560AE176}"/>
          </ac:spMkLst>
        </pc:spChg>
        <pc:spChg chg="mod">
          <ac:chgData name="Zenos Zenica" userId="de3ee720dba36952" providerId="Windows Live" clId="Web-{87EC33F8-20F9-4A9B-8B0C-47C86D280FAD}" dt="2020-11-23T12:51:48.835" v="2480"/>
          <ac:spMkLst>
            <pc:docMk/>
            <pc:sldMk cId="2803471758" sldId="367"/>
            <ac:spMk id="19" creationId="{4596200A-24A8-492C-BFDE-5258D1C1747B}"/>
          </ac:spMkLst>
        </pc:spChg>
        <pc:spChg chg="mod">
          <ac:chgData name="Zenos Zenica" userId="de3ee720dba36952" providerId="Windows Live" clId="Web-{87EC33F8-20F9-4A9B-8B0C-47C86D280FAD}" dt="2020-11-23T12:52:32.649" v="2494" actId="1076"/>
          <ac:spMkLst>
            <pc:docMk/>
            <pc:sldMk cId="2803471758" sldId="367"/>
            <ac:spMk id="20" creationId="{85B8CDD4-D719-4F43-8247-44B231B431A2}"/>
          </ac:spMkLst>
        </pc:spChg>
        <pc:spChg chg="mod">
          <ac:chgData name="Zenos Zenica" userId="de3ee720dba36952" providerId="Windows Live" clId="Web-{87EC33F8-20F9-4A9B-8B0C-47C86D280FAD}" dt="2020-11-23T12:51:48.850" v="2482"/>
          <ac:spMkLst>
            <pc:docMk/>
            <pc:sldMk cId="2803471758" sldId="367"/>
            <ac:spMk id="21" creationId="{4DAD6A1B-E939-4B18-8F65-385B23A6F1A4}"/>
          </ac:spMkLst>
        </pc:spChg>
      </pc:sldChg>
      <pc:sldChg chg="modSp add del">
        <pc:chgData name="Zenos Zenica" userId="de3ee720dba36952" providerId="Windows Live" clId="Web-{87EC33F8-20F9-4A9B-8B0C-47C86D280FAD}" dt="2020-11-23T12:55:38.560" v="2525"/>
        <pc:sldMkLst>
          <pc:docMk/>
          <pc:sldMk cId="198519316" sldId="368"/>
        </pc:sldMkLst>
        <pc:spChg chg="mod">
          <ac:chgData name="Zenos Zenica" userId="de3ee720dba36952" providerId="Windows Live" clId="Web-{87EC33F8-20F9-4A9B-8B0C-47C86D280FAD}" dt="2020-11-23T12:54:06.401" v="2513" actId="1076"/>
          <ac:spMkLst>
            <pc:docMk/>
            <pc:sldMk cId="198519316" sldId="368"/>
            <ac:spMk id="2" creationId="{38B4E260-12F3-4A00-968A-9E9720209DA1}"/>
          </ac:spMkLst>
        </pc:spChg>
        <pc:graphicFrameChg chg="mod modGraphic">
          <ac:chgData name="Zenos Zenica" userId="de3ee720dba36952" providerId="Windows Live" clId="Web-{87EC33F8-20F9-4A9B-8B0C-47C86D280FAD}" dt="2020-11-23T12:55:06.856" v="2523"/>
          <ac:graphicFrameMkLst>
            <pc:docMk/>
            <pc:sldMk cId="198519316" sldId="368"/>
            <ac:graphicFrameMk id="3" creationId="{C1559540-4AE0-4200-867B-8DF9AE0D32A0}"/>
          </ac:graphicFrameMkLst>
        </pc:graphicFrameChg>
      </pc:sldChg>
      <pc:sldChg chg="modSp add">
        <pc:chgData name="Zenos Zenica" userId="de3ee720dba36952" providerId="Windows Live" clId="Web-{87EC33F8-20F9-4A9B-8B0C-47C86D280FAD}" dt="2020-11-23T12:59:40.845" v="2605" actId="1076"/>
        <pc:sldMkLst>
          <pc:docMk/>
          <pc:sldMk cId="1349833571" sldId="369"/>
        </pc:sldMkLst>
        <pc:spChg chg="mod">
          <ac:chgData name="Zenos Zenica" userId="de3ee720dba36952" providerId="Windows Live" clId="Web-{87EC33F8-20F9-4A9B-8B0C-47C86D280FAD}" dt="2020-11-23T12:59:40.845" v="2605" actId="1076"/>
          <ac:spMkLst>
            <pc:docMk/>
            <pc:sldMk cId="1349833571" sldId="369"/>
            <ac:spMk id="4" creationId="{B8CB9108-1583-4A1C-846B-3263D00D0833}"/>
          </ac:spMkLst>
        </pc:spChg>
        <pc:graphicFrameChg chg="mod modGraphic">
          <ac:chgData name="Zenos Zenica" userId="de3ee720dba36952" providerId="Windows Live" clId="Web-{87EC33F8-20F9-4A9B-8B0C-47C86D280FAD}" dt="2020-11-23T12:59:34.282" v="2604"/>
          <ac:graphicFrameMkLst>
            <pc:docMk/>
            <pc:sldMk cId="1349833571" sldId="369"/>
            <ac:graphicFrameMk id="3" creationId="{C1559540-4AE0-4200-867B-8DF9AE0D32A0}"/>
          </ac:graphicFrameMkLst>
        </pc:graphicFrameChg>
      </pc:sldChg>
      <pc:sldChg chg="modSp add">
        <pc:chgData name="Zenos Zenica" userId="de3ee720dba36952" providerId="Windows Live" clId="Web-{87EC33F8-20F9-4A9B-8B0C-47C86D280FAD}" dt="2020-11-23T13:11:31.958" v="2698" actId="20577"/>
        <pc:sldMkLst>
          <pc:docMk/>
          <pc:sldMk cId="597611853" sldId="370"/>
        </pc:sldMkLst>
        <pc:spChg chg="mod">
          <ac:chgData name="Zenos Zenica" userId="de3ee720dba36952" providerId="Windows Live" clId="Web-{87EC33F8-20F9-4A9B-8B0C-47C86D280FAD}" dt="2020-11-23T13:09:47.190" v="2609" actId="20577"/>
          <ac:spMkLst>
            <pc:docMk/>
            <pc:sldMk cId="597611853" sldId="370"/>
            <ac:spMk id="4" creationId="{B8CB9108-1583-4A1C-846B-3263D00D0833}"/>
          </ac:spMkLst>
        </pc:spChg>
        <pc:spChg chg="mod">
          <ac:chgData name="Zenos Zenica" userId="de3ee720dba36952" providerId="Windows Live" clId="Web-{87EC33F8-20F9-4A9B-8B0C-47C86D280FAD}" dt="2020-11-23T13:10:37.707" v="2646"/>
          <ac:spMkLst>
            <pc:docMk/>
            <pc:sldMk cId="597611853" sldId="370"/>
            <ac:spMk id="6" creationId="{4E406E1A-1910-4BD8-979A-A60E3BFF5AA1}"/>
          </ac:spMkLst>
        </pc:spChg>
        <pc:spChg chg="mod">
          <ac:chgData name="Zenos Zenica" userId="de3ee720dba36952" providerId="Windows Live" clId="Web-{87EC33F8-20F9-4A9B-8B0C-47C86D280FAD}" dt="2020-11-23T13:10:37.722" v="2647"/>
          <ac:spMkLst>
            <pc:docMk/>
            <pc:sldMk cId="597611853" sldId="370"/>
            <ac:spMk id="7" creationId="{7E627314-754B-4EC7-8B52-478A47DFA387}"/>
          </ac:spMkLst>
        </pc:spChg>
        <pc:spChg chg="mod">
          <ac:chgData name="Zenos Zenica" userId="de3ee720dba36952" providerId="Windows Live" clId="Web-{87EC33F8-20F9-4A9B-8B0C-47C86D280FAD}" dt="2020-11-23T13:10:37.738" v="2648"/>
          <ac:spMkLst>
            <pc:docMk/>
            <pc:sldMk cId="597611853" sldId="370"/>
            <ac:spMk id="8" creationId="{90226900-FB06-40B0-AF09-6F792763B360}"/>
          </ac:spMkLst>
        </pc:spChg>
        <pc:spChg chg="mod">
          <ac:chgData name="Zenos Zenica" userId="de3ee720dba36952" providerId="Windows Live" clId="Web-{87EC33F8-20F9-4A9B-8B0C-47C86D280FAD}" dt="2020-11-23T13:10:37.754" v="2649"/>
          <ac:spMkLst>
            <pc:docMk/>
            <pc:sldMk cId="597611853" sldId="370"/>
            <ac:spMk id="10" creationId="{7DAAD918-3866-4CE2-8136-D9C9C77DA125}"/>
          </ac:spMkLst>
        </pc:spChg>
        <pc:spChg chg="mod">
          <ac:chgData name="Zenos Zenica" userId="de3ee720dba36952" providerId="Windows Live" clId="Web-{87EC33F8-20F9-4A9B-8B0C-47C86D280FAD}" dt="2020-11-23T13:10:37.769" v="2650"/>
          <ac:spMkLst>
            <pc:docMk/>
            <pc:sldMk cId="597611853" sldId="370"/>
            <ac:spMk id="11" creationId="{999C52A7-8A57-48EC-BEFB-F53AF0C79827}"/>
          </ac:spMkLst>
        </pc:spChg>
        <pc:spChg chg="mod">
          <ac:chgData name="Zenos Zenica" userId="de3ee720dba36952" providerId="Windows Live" clId="Web-{87EC33F8-20F9-4A9B-8B0C-47C86D280FAD}" dt="2020-11-23T13:10:37.801" v="2651"/>
          <ac:spMkLst>
            <pc:docMk/>
            <pc:sldMk cId="597611853" sldId="370"/>
            <ac:spMk id="12" creationId="{8B604882-A955-412A-8EC7-540AC2821E72}"/>
          </ac:spMkLst>
        </pc:spChg>
        <pc:spChg chg="mod">
          <ac:chgData name="Zenos Zenica" userId="de3ee720dba36952" providerId="Windows Live" clId="Web-{87EC33F8-20F9-4A9B-8B0C-47C86D280FAD}" dt="2020-11-23T13:10:37.816" v="2652"/>
          <ac:spMkLst>
            <pc:docMk/>
            <pc:sldMk cId="597611853" sldId="370"/>
            <ac:spMk id="14" creationId="{CF766CF0-2FF4-49D8-98DD-EA85043FDE7C}"/>
          </ac:spMkLst>
        </pc:spChg>
        <pc:spChg chg="mod">
          <ac:chgData name="Zenos Zenica" userId="de3ee720dba36952" providerId="Windows Live" clId="Web-{87EC33F8-20F9-4A9B-8B0C-47C86D280FAD}" dt="2020-11-23T13:10:37.832" v="2653"/>
          <ac:spMkLst>
            <pc:docMk/>
            <pc:sldMk cId="597611853" sldId="370"/>
            <ac:spMk id="15" creationId="{5FA96652-7A5E-463A-BE1B-D9994DFC1102}"/>
          </ac:spMkLst>
        </pc:spChg>
        <pc:spChg chg="mod">
          <ac:chgData name="Zenos Zenica" userId="de3ee720dba36952" providerId="Windows Live" clId="Web-{87EC33F8-20F9-4A9B-8B0C-47C86D280FAD}" dt="2020-11-23T13:10:37.847" v="2654"/>
          <ac:spMkLst>
            <pc:docMk/>
            <pc:sldMk cId="597611853" sldId="370"/>
            <ac:spMk id="16" creationId="{6905BEC1-FEF8-48BD-8296-726DEE599DC6}"/>
          </ac:spMkLst>
        </pc:spChg>
        <pc:spChg chg="mod">
          <ac:chgData name="Zenos Zenica" userId="de3ee720dba36952" providerId="Windows Live" clId="Web-{87EC33F8-20F9-4A9B-8B0C-47C86D280FAD}" dt="2020-11-23T13:10:37.863" v="2655"/>
          <ac:spMkLst>
            <pc:docMk/>
            <pc:sldMk cId="597611853" sldId="370"/>
            <ac:spMk id="18" creationId="{C5692A4D-3BFF-412B-9503-AC6DDF76180C}"/>
          </ac:spMkLst>
        </pc:spChg>
        <pc:spChg chg="mod">
          <ac:chgData name="Zenos Zenica" userId="de3ee720dba36952" providerId="Windows Live" clId="Web-{87EC33F8-20F9-4A9B-8B0C-47C86D280FAD}" dt="2020-11-23T13:10:37.879" v="2656"/>
          <ac:spMkLst>
            <pc:docMk/>
            <pc:sldMk cId="597611853" sldId="370"/>
            <ac:spMk id="19" creationId="{B19899C5-06B9-4CBE-9D24-D3F69E15DEB6}"/>
          </ac:spMkLst>
        </pc:spChg>
        <pc:spChg chg="mod">
          <ac:chgData name="Zenos Zenica" userId="de3ee720dba36952" providerId="Windows Live" clId="Web-{87EC33F8-20F9-4A9B-8B0C-47C86D280FAD}" dt="2020-11-23T13:10:37.894" v="2657"/>
          <ac:spMkLst>
            <pc:docMk/>
            <pc:sldMk cId="597611853" sldId="370"/>
            <ac:spMk id="20" creationId="{B7B96230-025B-44B6-9924-01D9CECA4A9E}"/>
          </ac:spMkLst>
        </pc:spChg>
        <pc:spChg chg="mod">
          <ac:chgData name="Zenos Zenica" userId="de3ee720dba36952" providerId="Windows Live" clId="Web-{87EC33F8-20F9-4A9B-8B0C-47C86D280FAD}" dt="2020-11-23T13:10:37.926" v="2658"/>
          <ac:spMkLst>
            <pc:docMk/>
            <pc:sldMk cId="597611853" sldId="370"/>
            <ac:spMk id="22" creationId="{F52C07C2-1B2F-477F-B718-B68C436E2159}"/>
          </ac:spMkLst>
        </pc:spChg>
        <pc:spChg chg="mod">
          <ac:chgData name="Zenos Zenica" userId="de3ee720dba36952" providerId="Windows Live" clId="Web-{87EC33F8-20F9-4A9B-8B0C-47C86D280FAD}" dt="2020-11-23T13:10:37.941" v="2659"/>
          <ac:spMkLst>
            <pc:docMk/>
            <pc:sldMk cId="597611853" sldId="370"/>
            <ac:spMk id="23" creationId="{C9DC05DF-D6E1-4098-8DFB-5CD364F544E7}"/>
          </ac:spMkLst>
        </pc:spChg>
        <pc:spChg chg="mod">
          <ac:chgData name="Zenos Zenica" userId="de3ee720dba36952" providerId="Windows Live" clId="Web-{87EC33F8-20F9-4A9B-8B0C-47C86D280FAD}" dt="2020-11-23T13:10:37.957" v="2660"/>
          <ac:spMkLst>
            <pc:docMk/>
            <pc:sldMk cId="597611853" sldId="370"/>
            <ac:spMk id="24" creationId="{F2F78C99-2D40-4E3F-A396-747135948B80}"/>
          </ac:spMkLst>
        </pc:spChg>
        <pc:spChg chg="mod">
          <ac:chgData name="Zenos Zenica" userId="de3ee720dba36952" providerId="Windows Live" clId="Web-{87EC33F8-20F9-4A9B-8B0C-47C86D280FAD}" dt="2020-11-23T13:10:37.972" v="2661"/>
          <ac:spMkLst>
            <pc:docMk/>
            <pc:sldMk cId="597611853" sldId="370"/>
            <ac:spMk id="26" creationId="{F45767FC-CC33-49D3-BDD6-FB58E5021966}"/>
          </ac:spMkLst>
        </pc:spChg>
        <pc:spChg chg="mod">
          <ac:chgData name="Zenos Zenica" userId="de3ee720dba36952" providerId="Windows Live" clId="Web-{87EC33F8-20F9-4A9B-8B0C-47C86D280FAD}" dt="2020-11-23T13:10:38.004" v="2662"/>
          <ac:spMkLst>
            <pc:docMk/>
            <pc:sldMk cId="597611853" sldId="370"/>
            <ac:spMk id="27" creationId="{26CEAE79-A0C9-467A-A6DB-111F7A9A9F99}"/>
          </ac:spMkLst>
        </pc:spChg>
        <pc:spChg chg="mod">
          <ac:chgData name="Zenos Zenica" userId="de3ee720dba36952" providerId="Windows Live" clId="Web-{87EC33F8-20F9-4A9B-8B0C-47C86D280FAD}" dt="2020-11-23T13:10:38.019" v="2663"/>
          <ac:spMkLst>
            <pc:docMk/>
            <pc:sldMk cId="597611853" sldId="370"/>
            <ac:spMk id="28" creationId="{F020CAF4-5FC2-473D-89F4-E34C1E3A81BB}"/>
          </ac:spMkLst>
        </pc:spChg>
        <pc:spChg chg="mod">
          <ac:chgData name="Zenos Zenica" userId="de3ee720dba36952" providerId="Windows Live" clId="Web-{87EC33F8-20F9-4A9B-8B0C-47C86D280FAD}" dt="2020-11-23T13:10:38.051" v="2664"/>
          <ac:spMkLst>
            <pc:docMk/>
            <pc:sldMk cId="597611853" sldId="370"/>
            <ac:spMk id="30" creationId="{22CE87CE-C6C2-466C-B22F-3A3CBC478394}"/>
          </ac:spMkLst>
        </pc:spChg>
        <pc:spChg chg="mod">
          <ac:chgData name="Zenos Zenica" userId="de3ee720dba36952" providerId="Windows Live" clId="Web-{87EC33F8-20F9-4A9B-8B0C-47C86D280FAD}" dt="2020-11-23T13:10:38.066" v="2665"/>
          <ac:spMkLst>
            <pc:docMk/>
            <pc:sldMk cId="597611853" sldId="370"/>
            <ac:spMk id="31" creationId="{83EAEA51-F41E-4FA2-80C2-12121D110993}"/>
          </ac:spMkLst>
        </pc:spChg>
        <pc:spChg chg="mod">
          <ac:chgData name="Zenos Zenica" userId="de3ee720dba36952" providerId="Windows Live" clId="Web-{87EC33F8-20F9-4A9B-8B0C-47C86D280FAD}" dt="2020-11-23T13:10:38.082" v="2666"/>
          <ac:spMkLst>
            <pc:docMk/>
            <pc:sldMk cId="597611853" sldId="370"/>
            <ac:spMk id="32" creationId="{E910D177-8B88-4112-B827-2DDDC3B0101B}"/>
          </ac:spMkLst>
        </pc:spChg>
        <pc:spChg chg="mod">
          <ac:chgData name="Zenos Zenica" userId="de3ee720dba36952" providerId="Windows Live" clId="Web-{87EC33F8-20F9-4A9B-8B0C-47C86D280FAD}" dt="2020-11-23T13:11:24.083" v="2692" actId="20577"/>
          <ac:spMkLst>
            <pc:docMk/>
            <pc:sldMk cId="597611853" sldId="370"/>
            <ac:spMk id="33" creationId="{C400918B-741F-4E4D-AF98-D289B749D19C}"/>
          </ac:spMkLst>
        </pc:spChg>
        <pc:spChg chg="mod">
          <ac:chgData name="Zenos Zenica" userId="de3ee720dba36952" providerId="Windows Live" clId="Web-{87EC33F8-20F9-4A9B-8B0C-47C86D280FAD}" dt="2020-11-23T13:11:31.958" v="2698" actId="20577"/>
          <ac:spMkLst>
            <pc:docMk/>
            <pc:sldMk cId="597611853" sldId="370"/>
            <ac:spMk id="34" creationId="{C23895D4-E610-4EDC-BEF4-38F047F041C8}"/>
          </ac:spMkLst>
        </pc:spChg>
        <pc:spChg chg="mod">
          <ac:chgData name="Zenos Zenica" userId="de3ee720dba36952" providerId="Windows Live" clId="Web-{87EC33F8-20F9-4A9B-8B0C-47C86D280FAD}" dt="2020-11-23T13:11:15.567" v="2690" actId="20577"/>
          <ac:spMkLst>
            <pc:docMk/>
            <pc:sldMk cId="597611853" sldId="370"/>
            <ac:spMk id="35" creationId="{7497F00E-0871-438A-B3B5-3E9D57FF11EA}"/>
          </ac:spMkLst>
        </pc:spChg>
        <pc:spChg chg="mod">
          <ac:chgData name="Zenos Zenica" userId="de3ee720dba36952" providerId="Windows Live" clId="Web-{87EC33F8-20F9-4A9B-8B0C-47C86D280FAD}" dt="2020-11-23T13:10:38.129" v="2669"/>
          <ac:spMkLst>
            <pc:docMk/>
            <pc:sldMk cId="597611853" sldId="370"/>
            <ac:spMk id="36" creationId="{F6D71507-171A-4D1E-B844-3E727063B2E3}"/>
          </ac:spMkLst>
        </pc:spChg>
        <pc:spChg chg="mod">
          <ac:chgData name="Zenos Zenica" userId="de3ee720dba36952" providerId="Windows Live" clId="Web-{87EC33F8-20F9-4A9B-8B0C-47C86D280FAD}" dt="2020-11-23T13:10:38.144" v="2670"/>
          <ac:spMkLst>
            <pc:docMk/>
            <pc:sldMk cId="597611853" sldId="370"/>
            <ac:spMk id="37" creationId="{426E6CAF-85CE-485D-AE1A-A2B53026D9E8}"/>
          </ac:spMkLst>
        </pc:spChg>
        <pc:spChg chg="mod">
          <ac:chgData name="Zenos Zenica" userId="de3ee720dba36952" providerId="Windows Live" clId="Web-{87EC33F8-20F9-4A9B-8B0C-47C86D280FAD}" dt="2020-11-23T13:10:38.160" v="2671"/>
          <ac:spMkLst>
            <pc:docMk/>
            <pc:sldMk cId="597611853" sldId="370"/>
            <ac:spMk id="38" creationId="{0302F883-F10D-4957-93EC-E7D20ED4C862}"/>
          </ac:spMkLst>
        </pc:spChg>
        <pc:spChg chg="mod">
          <ac:chgData name="Zenos Zenica" userId="de3ee720dba36952" providerId="Windows Live" clId="Web-{87EC33F8-20F9-4A9B-8B0C-47C86D280FAD}" dt="2020-11-23T13:10:38.176" v="2672"/>
          <ac:spMkLst>
            <pc:docMk/>
            <pc:sldMk cId="597611853" sldId="370"/>
            <ac:spMk id="39" creationId="{BDD0B9A8-F9C3-4956-B6E0-6FC2D2AA3861}"/>
          </ac:spMkLst>
        </pc:spChg>
        <pc:spChg chg="mod">
          <ac:chgData name="Zenos Zenica" userId="de3ee720dba36952" providerId="Windows Live" clId="Web-{87EC33F8-20F9-4A9B-8B0C-47C86D280FAD}" dt="2020-11-23T13:10:38.191" v="2673"/>
          <ac:spMkLst>
            <pc:docMk/>
            <pc:sldMk cId="597611853" sldId="370"/>
            <ac:spMk id="40" creationId="{E58CFFFE-32DB-49F7-B01D-8C1C972804E2}"/>
          </ac:spMkLst>
        </pc:spChg>
        <pc:spChg chg="mod">
          <ac:chgData name="Zenos Zenica" userId="de3ee720dba36952" providerId="Windows Live" clId="Web-{87EC33F8-20F9-4A9B-8B0C-47C86D280FAD}" dt="2020-11-23T13:10:38.207" v="2674"/>
          <ac:spMkLst>
            <pc:docMk/>
            <pc:sldMk cId="597611853" sldId="370"/>
            <ac:spMk id="41" creationId="{F8BF2AEE-A0E5-4AC9-BD53-6037F617EDA4}"/>
          </ac:spMkLst>
        </pc:spChg>
        <pc:spChg chg="mod">
          <ac:chgData name="Zenos Zenica" userId="de3ee720dba36952" providerId="Windows Live" clId="Web-{87EC33F8-20F9-4A9B-8B0C-47C86D280FAD}" dt="2020-11-23T13:10:38.222" v="2675"/>
          <ac:spMkLst>
            <pc:docMk/>
            <pc:sldMk cId="597611853" sldId="370"/>
            <ac:spMk id="42" creationId="{2E950739-3027-47CD-885A-EF7DCDC1DF69}"/>
          </ac:spMkLst>
        </pc:spChg>
        <pc:spChg chg="mod">
          <ac:chgData name="Zenos Zenica" userId="de3ee720dba36952" providerId="Windows Live" clId="Web-{87EC33F8-20F9-4A9B-8B0C-47C86D280FAD}" dt="2020-11-23T13:10:38.238" v="2676"/>
          <ac:spMkLst>
            <pc:docMk/>
            <pc:sldMk cId="597611853" sldId="370"/>
            <ac:spMk id="43" creationId="{71D886A1-8395-4ADD-B181-D276A57BD818}"/>
          </ac:spMkLst>
        </pc:spChg>
        <pc:spChg chg="mod">
          <ac:chgData name="Zenos Zenica" userId="de3ee720dba36952" providerId="Windows Live" clId="Web-{87EC33F8-20F9-4A9B-8B0C-47C86D280FAD}" dt="2020-11-23T13:10:38.254" v="2677"/>
          <ac:spMkLst>
            <pc:docMk/>
            <pc:sldMk cId="597611853" sldId="370"/>
            <ac:spMk id="44" creationId="{E85F7125-8597-4088-A917-3BD02B84DB18}"/>
          </ac:spMkLst>
        </pc:spChg>
        <pc:spChg chg="mod">
          <ac:chgData name="Zenos Zenica" userId="de3ee720dba36952" providerId="Windows Live" clId="Web-{87EC33F8-20F9-4A9B-8B0C-47C86D280FAD}" dt="2020-11-23T13:10:38.269" v="2678"/>
          <ac:spMkLst>
            <pc:docMk/>
            <pc:sldMk cId="597611853" sldId="370"/>
            <ac:spMk id="45" creationId="{1C9D22B9-AADE-412C-968A-D8957EA0B7EB}"/>
          </ac:spMkLst>
        </pc:spChg>
        <pc:spChg chg="mod">
          <ac:chgData name="Zenos Zenica" userId="de3ee720dba36952" providerId="Windows Live" clId="Web-{87EC33F8-20F9-4A9B-8B0C-47C86D280FAD}" dt="2020-11-23T13:10:38.285" v="2679"/>
          <ac:spMkLst>
            <pc:docMk/>
            <pc:sldMk cId="597611853" sldId="370"/>
            <ac:spMk id="46" creationId="{5173466E-340F-42C9-BA5B-678CE97BB769}"/>
          </ac:spMkLst>
        </pc:spChg>
      </pc:sldChg>
      <pc:sldChg chg="modSp add">
        <pc:chgData name="Zenos Zenica" userId="de3ee720dba36952" providerId="Windows Live" clId="Web-{87EC33F8-20F9-4A9B-8B0C-47C86D280FAD}" dt="2020-11-23T13:12:10.694" v="2709"/>
        <pc:sldMkLst>
          <pc:docMk/>
          <pc:sldMk cId="2042271198" sldId="371"/>
        </pc:sldMkLst>
        <pc:spChg chg="mod">
          <ac:chgData name="Zenos Zenica" userId="de3ee720dba36952" providerId="Windows Live" clId="Web-{87EC33F8-20F9-4A9B-8B0C-47C86D280FAD}" dt="2020-11-23T13:12:05.475" v="2706" actId="1076"/>
          <ac:spMkLst>
            <pc:docMk/>
            <pc:sldMk cId="2042271198" sldId="371"/>
            <ac:spMk id="4" creationId="{B8CB9108-1583-4A1C-846B-3263D00D0833}"/>
          </ac:spMkLst>
        </pc:spChg>
        <pc:spChg chg="mod">
          <ac:chgData name="Zenos Zenica" userId="de3ee720dba36952" providerId="Windows Live" clId="Web-{87EC33F8-20F9-4A9B-8B0C-47C86D280FAD}" dt="2020-11-23T13:12:10.647" v="2707"/>
          <ac:spMkLst>
            <pc:docMk/>
            <pc:sldMk cId="2042271198" sldId="371"/>
            <ac:spMk id="51" creationId="{97FA5EE1-B019-4045-B36A-9F35DBE1C8A9}"/>
          </ac:spMkLst>
        </pc:spChg>
        <pc:spChg chg="mod">
          <ac:chgData name="Zenos Zenica" userId="de3ee720dba36952" providerId="Windows Live" clId="Web-{87EC33F8-20F9-4A9B-8B0C-47C86D280FAD}" dt="2020-11-23T13:12:10.678" v="2708"/>
          <ac:spMkLst>
            <pc:docMk/>
            <pc:sldMk cId="2042271198" sldId="371"/>
            <ac:spMk id="56" creationId="{70E6B2B6-5438-4DBC-A401-CCD0C2530C37}"/>
          </ac:spMkLst>
        </pc:spChg>
        <pc:spChg chg="mod">
          <ac:chgData name="Zenos Zenica" userId="de3ee720dba36952" providerId="Windows Live" clId="Web-{87EC33F8-20F9-4A9B-8B0C-47C86D280FAD}" dt="2020-11-23T13:12:10.694" v="2709"/>
          <ac:spMkLst>
            <pc:docMk/>
            <pc:sldMk cId="2042271198" sldId="371"/>
            <ac:spMk id="61" creationId="{187EA8A0-6494-4398-A159-92080FD70F42}"/>
          </ac:spMkLst>
        </pc:spChg>
      </pc:sldChg>
      <pc:sldChg chg="modSp add">
        <pc:chgData name="Zenos Zenica" userId="de3ee720dba36952" providerId="Windows Live" clId="Web-{87EC33F8-20F9-4A9B-8B0C-47C86D280FAD}" dt="2020-11-23T13:12:52.085" v="2723"/>
        <pc:sldMkLst>
          <pc:docMk/>
          <pc:sldMk cId="2906339350" sldId="372"/>
        </pc:sldMkLst>
        <pc:spChg chg="mod">
          <ac:chgData name="Zenos Zenica" userId="de3ee720dba36952" providerId="Windows Live" clId="Web-{87EC33F8-20F9-4A9B-8B0C-47C86D280FAD}" dt="2020-11-23T13:12:42.773" v="2720" actId="1076"/>
          <ac:spMkLst>
            <pc:docMk/>
            <pc:sldMk cId="2906339350" sldId="372"/>
            <ac:spMk id="4" creationId="{B8CB9108-1583-4A1C-846B-3263D00D0833}"/>
          </ac:spMkLst>
        </pc:spChg>
        <pc:spChg chg="mod">
          <ac:chgData name="Zenos Zenica" userId="de3ee720dba36952" providerId="Windows Live" clId="Web-{87EC33F8-20F9-4A9B-8B0C-47C86D280FAD}" dt="2020-11-23T13:12:52.054" v="2721"/>
          <ac:spMkLst>
            <pc:docMk/>
            <pc:sldMk cId="2906339350" sldId="372"/>
            <ac:spMk id="51" creationId="{97FA5EE1-B019-4045-B36A-9F35DBE1C8A9}"/>
          </ac:spMkLst>
        </pc:spChg>
        <pc:spChg chg="mod">
          <ac:chgData name="Zenos Zenica" userId="de3ee720dba36952" providerId="Windows Live" clId="Web-{87EC33F8-20F9-4A9B-8B0C-47C86D280FAD}" dt="2020-11-23T13:12:52.070" v="2722"/>
          <ac:spMkLst>
            <pc:docMk/>
            <pc:sldMk cId="2906339350" sldId="372"/>
            <ac:spMk id="56" creationId="{70E6B2B6-5438-4DBC-A401-CCD0C2530C37}"/>
          </ac:spMkLst>
        </pc:spChg>
        <pc:spChg chg="mod">
          <ac:chgData name="Zenos Zenica" userId="de3ee720dba36952" providerId="Windows Live" clId="Web-{87EC33F8-20F9-4A9B-8B0C-47C86D280FAD}" dt="2020-11-23T13:12:52.085" v="2723"/>
          <ac:spMkLst>
            <pc:docMk/>
            <pc:sldMk cId="2906339350" sldId="372"/>
            <ac:spMk id="61" creationId="{187EA8A0-6494-4398-A159-92080FD70F42}"/>
          </ac:spMkLst>
        </pc:spChg>
      </pc:sldChg>
      <pc:sldChg chg="modSp add">
        <pc:chgData name="Zenos Zenica" userId="de3ee720dba36952" providerId="Windows Live" clId="Web-{87EC33F8-20F9-4A9B-8B0C-47C86D280FAD}" dt="2020-11-23T13:13:53.228" v="2774" actId="1076"/>
        <pc:sldMkLst>
          <pc:docMk/>
          <pc:sldMk cId="3154047486" sldId="373"/>
        </pc:sldMkLst>
        <pc:spChg chg="mod">
          <ac:chgData name="Zenos Zenica" userId="de3ee720dba36952" providerId="Windows Live" clId="Web-{87EC33F8-20F9-4A9B-8B0C-47C86D280FAD}" dt="2020-11-23T13:13:53.228" v="2774" actId="1076"/>
          <ac:spMkLst>
            <pc:docMk/>
            <pc:sldMk cId="3154047486" sldId="373"/>
            <ac:spMk id="4" creationId="{B8CB9108-1583-4A1C-846B-3263D00D0833}"/>
          </ac:spMkLst>
        </pc:spChg>
        <pc:spChg chg="mod">
          <ac:chgData name="Zenos Zenica" userId="de3ee720dba36952" providerId="Windows Live" clId="Web-{87EC33F8-20F9-4A9B-8B0C-47C86D280FAD}" dt="2020-11-23T13:13:02.133" v="2724"/>
          <ac:spMkLst>
            <pc:docMk/>
            <pc:sldMk cId="3154047486" sldId="373"/>
            <ac:spMk id="25" creationId="{FA34A4D5-27F8-4689-BED6-338D4CFCAABF}"/>
          </ac:spMkLst>
        </pc:spChg>
        <pc:spChg chg="mod">
          <ac:chgData name="Zenos Zenica" userId="de3ee720dba36952" providerId="Windows Live" clId="Web-{87EC33F8-20F9-4A9B-8B0C-47C86D280FAD}" dt="2020-11-23T13:13:02.148" v="2725"/>
          <ac:spMkLst>
            <pc:docMk/>
            <pc:sldMk cId="3154047486" sldId="373"/>
            <ac:spMk id="26" creationId="{BD09A097-493F-4834-A271-3CAD8A4A8FD5}"/>
          </ac:spMkLst>
        </pc:spChg>
        <pc:spChg chg="mod">
          <ac:chgData name="Zenos Zenica" userId="de3ee720dba36952" providerId="Windows Live" clId="Web-{87EC33F8-20F9-4A9B-8B0C-47C86D280FAD}" dt="2020-11-23T13:13:02.164" v="2726"/>
          <ac:spMkLst>
            <pc:docMk/>
            <pc:sldMk cId="3154047486" sldId="373"/>
            <ac:spMk id="27" creationId="{98CEC835-6B66-491C-8262-AC6247DBD396}"/>
          </ac:spMkLst>
        </pc:spChg>
        <pc:spChg chg="mod">
          <ac:chgData name="Zenos Zenica" userId="de3ee720dba36952" providerId="Windows Live" clId="Web-{87EC33F8-20F9-4A9B-8B0C-47C86D280FAD}" dt="2020-11-23T13:13:02.164" v="2727"/>
          <ac:spMkLst>
            <pc:docMk/>
            <pc:sldMk cId="3154047486" sldId="373"/>
            <ac:spMk id="28" creationId="{1F42B3E1-4495-4F10-B16B-5655469C7646}"/>
          </ac:spMkLst>
        </pc:spChg>
        <pc:spChg chg="mod">
          <ac:chgData name="Zenos Zenica" userId="de3ee720dba36952" providerId="Windows Live" clId="Web-{87EC33F8-20F9-4A9B-8B0C-47C86D280FAD}" dt="2020-11-23T13:13:02.180" v="2728"/>
          <ac:spMkLst>
            <pc:docMk/>
            <pc:sldMk cId="3154047486" sldId="373"/>
            <ac:spMk id="39" creationId="{A25811A4-A86E-4DA5-B8FA-7CEB629853D0}"/>
          </ac:spMkLst>
        </pc:spChg>
        <pc:spChg chg="mod">
          <ac:chgData name="Zenos Zenica" userId="de3ee720dba36952" providerId="Windows Live" clId="Web-{87EC33F8-20F9-4A9B-8B0C-47C86D280FAD}" dt="2020-11-23T13:13:02.195" v="2729"/>
          <ac:spMkLst>
            <pc:docMk/>
            <pc:sldMk cId="3154047486" sldId="373"/>
            <ac:spMk id="40" creationId="{00EE5008-58F5-498F-AD45-1A7213F639A5}"/>
          </ac:spMkLst>
        </pc:spChg>
        <pc:spChg chg="mod">
          <ac:chgData name="Zenos Zenica" userId="de3ee720dba36952" providerId="Windows Live" clId="Web-{87EC33F8-20F9-4A9B-8B0C-47C86D280FAD}" dt="2020-11-23T13:13:02.211" v="2730"/>
          <ac:spMkLst>
            <pc:docMk/>
            <pc:sldMk cId="3154047486" sldId="373"/>
            <ac:spMk id="41" creationId="{017121F7-77FF-4C24-B223-78F74D070045}"/>
          </ac:spMkLst>
        </pc:spChg>
        <pc:spChg chg="mod">
          <ac:chgData name="Zenos Zenica" userId="de3ee720dba36952" providerId="Windows Live" clId="Web-{87EC33F8-20F9-4A9B-8B0C-47C86D280FAD}" dt="2020-11-23T13:13:02.226" v="2731"/>
          <ac:spMkLst>
            <pc:docMk/>
            <pc:sldMk cId="3154047486" sldId="373"/>
            <ac:spMk id="42" creationId="{4442B116-F7AA-44B5-9176-FBC16511D863}"/>
          </ac:spMkLst>
        </pc:spChg>
        <pc:spChg chg="mod">
          <ac:chgData name="Zenos Zenica" userId="de3ee720dba36952" providerId="Windows Live" clId="Web-{87EC33F8-20F9-4A9B-8B0C-47C86D280FAD}" dt="2020-11-23T13:13:02.242" v="2732"/>
          <ac:spMkLst>
            <pc:docMk/>
            <pc:sldMk cId="3154047486" sldId="373"/>
            <ac:spMk id="50" creationId="{0D0F3216-0449-44E4-B632-41B5A17F32CB}"/>
          </ac:spMkLst>
        </pc:spChg>
        <pc:spChg chg="mod">
          <ac:chgData name="Zenos Zenica" userId="de3ee720dba36952" providerId="Windows Live" clId="Web-{87EC33F8-20F9-4A9B-8B0C-47C86D280FAD}" dt="2020-11-23T13:13:02.258" v="2733"/>
          <ac:spMkLst>
            <pc:docMk/>
            <pc:sldMk cId="3154047486" sldId="373"/>
            <ac:spMk id="52" creationId="{4A5B6A49-D5D0-4ECD-ACF3-D7150FC68F70}"/>
          </ac:spMkLst>
        </pc:spChg>
        <pc:spChg chg="mod">
          <ac:chgData name="Zenos Zenica" userId="de3ee720dba36952" providerId="Windows Live" clId="Web-{87EC33F8-20F9-4A9B-8B0C-47C86D280FAD}" dt="2020-11-23T13:13:02.258" v="2734"/>
          <ac:spMkLst>
            <pc:docMk/>
            <pc:sldMk cId="3154047486" sldId="373"/>
            <ac:spMk id="57" creationId="{77ADB0A6-4C6F-4480-8595-4E8064A09E93}"/>
          </ac:spMkLst>
        </pc:spChg>
        <pc:spChg chg="mod">
          <ac:chgData name="Zenos Zenica" userId="de3ee720dba36952" providerId="Windows Live" clId="Web-{87EC33F8-20F9-4A9B-8B0C-47C86D280FAD}" dt="2020-11-23T13:13:02.273" v="2735"/>
          <ac:spMkLst>
            <pc:docMk/>
            <pc:sldMk cId="3154047486" sldId="373"/>
            <ac:spMk id="58" creationId="{618D181C-FE7F-43B6-81C6-916FCC29713A}"/>
          </ac:spMkLst>
        </pc:spChg>
        <pc:spChg chg="mod">
          <ac:chgData name="Zenos Zenica" userId="de3ee720dba36952" providerId="Windows Live" clId="Web-{87EC33F8-20F9-4A9B-8B0C-47C86D280FAD}" dt="2020-11-23T13:13:02.305" v="2736"/>
          <ac:spMkLst>
            <pc:docMk/>
            <pc:sldMk cId="3154047486" sldId="373"/>
            <ac:spMk id="63" creationId="{5D648690-D0FB-44EF-BB6A-CE7648344958}"/>
          </ac:spMkLst>
        </pc:spChg>
        <pc:spChg chg="mod">
          <ac:chgData name="Zenos Zenica" userId="de3ee720dba36952" providerId="Windows Live" clId="Web-{87EC33F8-20F9-4A9B-8B0C-47C86D280FAD}" dt="2020-11-23T13:13:02.320" v="2737"/>
          <ac:spMkLst>
            <pc:docMk/>
            <pc:sldMk cId="3154047486" sldId="373"/>
            <ac:spMk id="64" creationId="{79D48CF6-2F22-43B6-AAC4-C8F87A981B62}"/>
          </ac:spMkLst>
        </pc:spChg>
        <pc:spChg chg="mod">
          <ac:chgData name="Zenos Zenica" userId="de3ee720dba36952" providerId="Windows Live" clId="Web-{87EC33F8-20F9-4A9B-8B0C-47C86D280FAD}" dt="2020-11-23T13:13:02.336" v="2738"/>
          <ac:spMkLst>
            <pc:docMk/>
            <pc:sldMk cId="3154047486" sldId="373"/>
            <ac:spMk id="65" creationId="{1C717BD2-3743-4791-92BC-E69DC90C0F33}"/>
          </ac:spMkLst>
        </pc:spChg>
        <pc:spChg chg="mod">
          <ac:chgData name="Zenos Zenica" userId="de3ee720dba36952" providerId="Windows Live" clId="Web-{87EC33F8-20F9-4A9B-8B0C-47C86D280FAD}" dt="2020-11-23T13:13:02.351" v="2739"/>
          <ac:spMkLst>
            <pc:docMk/>
            <pc:sldMk cId="3154047486" sldId="373"/>
            <ac:spMk id="67" creationId="{F6E0C71B-5C8F-4165-AF9F-B40E369D88CB}"/>
          </ac:spMkLst>
        </pc:spChg>
        <pc:spChg chg="mod">
          <ac:chgData name="Zenos Zenica" userId="de3ee720dba36952" providerId="Windows Live" clId="Web-{87EC33F8-20F9-4A9B-8B0C-47C86D280FAD}" dt="2020-11-23T13:13:02.367" v="2740"/>
          <ac:spMkLst>
            <pc:docMk/>
            <pc:sldMk cId="3154047486" sldId="373"/>
            <ac:spMk id="68" creationId="{7A4AC1AF-C3F5-4290-A0BC-F8B1EB71F42B}"/>
          </ac:spMkLst>
        </pc:spChg>
        <pc:spChg chg="mod">
          <ac:chgData name="Zenos Zenica" userId="de3ee720dba36952" providerId="Windows Live" clId="Web-{87EC33F8-20F9-4A9B-8B0C-47C86D280FAD}" dt="2020-11-23T13:13:02.383" v="2741"/>
          <ac:spMkLst>
            <pc:docMk/>
            <pc:sldMk cId="3154047486" sldId="373"/>
            <ac:spMk id="69" creationId="{25F7B5A6-1F32-4D5D-9383-693043C3BA33}"/>
          </ac:spMkLst>
        </pc:spChg>
        <pc:spChg chg="mod">
          <ac:chgData name="Zenos Zenica" userId="de3ee720dba36952" providerId="Windows Live" clId="Web-{87EC33F8-20F9-4A9B-8B0C-47C86D280FAD}" dt="2020-11-23T13:13:02.398" v="2742"/>
          <ac:spMkLst>
            <pc:docMk/>
            <pc:sldMk cId="3154047486" sldId="373"/>
            <ac:spMk id="80" creationId="{DE099DC8-FA53-4D75-856F-D2F0968B2C30}"/>
          </ac:spMkLst>
        </pc:spChg>
        <pc:spChg chg="mod">
          <ac:chgData name="Zenos Zenica" userId="de3ee720dba36952" providerId="Windows Live" clId="Web-{87EC33F8-20F9-4A9B-8B0C-47C86D280FAD}" dt="2020-11-23T13:13:02.430" v="2743"/>
          <ac:spMkLst>
            <pc:docMk/>
            <pc:sldMk cId="3154047486" sldId="373"/>
            <ac:spMk id="81" creationId="{965A5AAE-55D0-40D3-9991-844120ED351A}"/>
          </ac:spMkLst>
        </pc:spChg>
        <pc:spChg chg="mod">
          <ac:chgData name="Zenos Zenica" userId="de3ee720dba36952" providerId="Windows Live" clId="Web-{87EC33F8-20F9-4A9B-8B0C-47C86D280FAD}" dt="2020-11-23T13:13:02.445" v="2744"/>
          <ac:spMkLst>
            <pc:docMk/>
            <pc:sldMk cId="3154047486" sldId="373"/>
            <ac:spMk id="82" creationId="{0E65D768-FADC-42A9-89BD-E513E4D45279}"/>
          </ac:spMkLst>
        </pc:spChg>
        <pc:spChg chg="mod">
          <ac:chgData name="Zenos Zenica" userId="de3ee720dba36952" providerId="Windows Live" clId="Web-{87EC33F8-20F9-4A9B-8B0C-47C86D280FAD}" dt="2020-11-23T13:13:02.461" v="2745"/>
          <ac:spMkLst>
            <pc:docMk/>
            <pc:sldMk cId="3154047486" sldId="373"/>
            <ac:spMk id="84" creationId="{53FA0203-D298-4DBB-BD18-47E5D9BFCD76}"/>
          </ac:spMkLst>
        </pc:spChg>
        <pc:spChg chg="mod">
          <ac:chgData name="Zenos Zenica" userId="de3ee720dba36952" providerId="Windows Live" clId="Web-{87EC33F8-20F9-4A9B-8B0C-47C86D280FAD}" dt="2020-11-23T13:13:02.476" v="2746"/>
          <ac:spMkLst>
            <pc:docMk/>
            <pc:sldMk cId="3154047486" sldId="373"/>
            <ac:spMk id="85" creationId="{2164AFE2-FD3B-46AF-8017-8C4431EA79F2}"/>
          </ac:spMkLst>
        </pc:spChg>
        <pc:spChg chg="mod">
          <ac:chgData name="Zenos Zenica" userId="de3ee720dba36952" providerId="Windows Live" clId="Web-{87EC33F8-20F9-4A9B-8B0C-47C86D280FAD}" dt="2020-11-23T13:13:02.492" v="2747"/>
          <ac:spMkLst>
            <pc:docMk/>
            <pc:sldMk cId="3154047486" sldId="373"/>
            <ac:spMk id="86" creationId="{F89EE0D9-DF53-4C52-8CA7-E85103DCB09E}"/>
          </ac:spMkLst>
        </pc:spChg>
        <pc:spChg chg="mod">
          <ac:chgData name="Zenos Zenica" userId="de3ee720dba36952" providerId="Windows Live" clId="Web-{87EC33F8-20F9-4A9B-8B0C-47C86D280FAD}" dt="2020-11-23T13:13:02.523" v="2748"/>
          <ac:spMkLst>
            <pc:docMk/>
            <pc:sldMk cId="3154047486" sldId="373"/>
            <ac:spMk id="88" creationId="{1C857129-DCE8-42F2-A01A-5AE6C426E2A0}"/>
          </ac:spMkLst>
        </pc:spChg>
        <pc:spChg chg="mod">
          <ac:chgData name="Zenos Zenica" userId="de3ee720dba36952" providerId="Windows Live" clId="Web-{87EC33F8-20F9-4A9B-8B0C-47C86D280FAD}" dt="2020-11-23T13:13:02.539" v="2749"/>
          <ac:spMkLst>
            <pc:docMk/>
            <pc:sldMk cId="3154047486" sldId="373"/>
            <ac:spMk id="89" creationId="{54B6C3CD-228A-4440-86E3-F06ADD6E5A14}"/>
          </ac:spMkLst>
        </pc:spChg>
        <pc:spChg chg="mod">
          <ac:chgData name="Zenos Zenica" userId="de3ee720dba36952" providerId="Windows Live" clId="Web-{87EC33F8-20F9-4A9B-8B0C-47C86D280FAD}" dt="2020-11-23T13:13:02.555" v="2750"/>
          <ac:spMkLst>
            <pc:docMk/>
            <pc:sldMk cId="3154047486" sldId="373"/>
            <ac:spMk id="90" creationId="{1F0865C4-D9CD-4B00-8DE5-2EE8EFB93EAC}"/>
          </ac:spMkLst>
        </pc:spChg>
        <pc:spChg chg="mod">
          <ac:chgData name="Zenos Zenica" userId="de3ee720dba36952" providerId="Windows Live" clId="Web-{87EC33F8-20F9-4A9B-8B0C-47C86D280FAD}" dt="2020-11-23T13:13:02.570" v="2751"/>
          <ac:spMkLst>
            <pc:docMk/>
            <pc:sldMk cId="3154047486" sldId="373"/>
            <ac:spMk id="92" creationId="{1D994512-8139-44F5-80DB-168D27E18A2E}"/>
          </ac:spMkLst>
        </pc:spChg>
        <pc:spChg chg="mod">
          <ac:chgData name="Zenos Zenica" userId="de3ee720dba36952" providerId="Windows Live" clId="Web-{87EC33F8-20F9-4A9B-8B0C-47C86D280FAD}" dt="2020-11-23T13:13:02.586" v="2752"/>
          <ac:spMkLst>
            <pc:docMk/>
            <pc:sldMk cId="3154047486" sldId="373"/>
            <ac:spMk id="93" creationId="{BAB17C48-9126-442B-A621-948CCC4B5FB8}"/>
          </ac:spMkLst>
        </pc:spChg>
        <pc:spChg chg="mod">
          <ac:chgData name="Zenos Zenica" userId="de3ee720dba36952" providerId="Windows Live" clId="Web-{87EC33F8-20F9-4A9B-8B0C-47C86D280FAD}" dt="2020-11-23T13:13:02.601" v="2753"/>
          <ac:spMkLst>
            <pc:docMk/>
            <pc:sldMk cId="3154047486" sldId="373"/>
            <ac:spMk id="94" creationId="{458B5F82-9E77-4428-A62D-4313C6DB345D}"/>
          </ac:spMkLst>
        </pc:spChg>
        <pc:spChg chg="mod">
          <ac:chgData name="Zenos Zenica" userId="de3ee720dba36952" providerId="Windows Live" clId="Web-{87EC33F8-20F9-4A9B-8B0C-47C86D280FAD}" dt="2020-11-23T13:13:02.617" v="2754"/>
          <ac:spMkLst>
            <pc:docMk/>
            <pc:sldMk cId="3154047486" sldId="373"/>
            <ac:spMk id="95" creationId="{4FFFFDF2-0C0F-4D6A-8D06-65F670FE730A}"/>
          </ac:spMkLst>
        </pc:spChg>
        <pc:spChg chg="mod">
          <ac:chgData name="Zenos Zenica" userId="de3ee720dba36952" providerId="Windows Live" clId="Web-{87EC33F8-20F9-4A9B-8B0C-47C86D280FAD}" dt="2020-11-23T13:13:02.633" v="2755"/>
          <ac:spMkLst>
            <pc:docMk/>
            <pc:sldMk cId="3154047486" sldId="373"/>
            <ac:spMk id="96" creationId="{37E0DD36-F605-4F6F-AB1E-DD4A1F1C9BFB}"/>
          </ac:spMkLst>
        </pc:spChg>
        <pc:spChg chg="mod">
          <ac:chgData name="Zenos Zenica" userId="de3ee720dba36952" providerId="Windows Live" clId="Web-{87EC33F8-20F9-4A9B-8B0C-47C86D280FAD}" dt="2020-11-23T13:13:02.648" v="2756"/>
          <ac:spMkLst>
            <pc:docMk/>
            <pc:sldMk cId="3154047486" sldId="373"/>
            <ac:spMk id="98" creationId="{76B9B93E-F138-4413-B98E-E7899E00C12E}"/>
          </ac:spMkLst>
        </pc:spChg>
        <pc:spChg chg="mod">
          <ac:chgData name="Zenos Zenica" userId="de3ee720dba36952" providerId="Windows Live" clId="Web-{87EC33F8-20F9-4A9B-8B0C-47C86D280FAD}" dt="2020-11-23T13:13:02.664" v="2757"/>
          <ac:spMkLst>
            <pc:docMk/>
            <pc:sldMk cId="3154047486" sldId="373"/>
            <ac:spMk id="99" creationId="{AEBD3F78-9B5F-4400-BE70-5DBF9A908B44}"/>
          </ac:spMkLst>
        </pc:spChg>
        <pc:spChg chg="mod">
          <ac:chgData name="Zenos Zenica" userId="de3ee720dba36952" providerId="Windows Live" clId="Web-{87EC33F8-20F9-4A9B-8B0C-47C86D280FAD}" dt="2020-11-23T13:13:02.695" v="2758"/>
          <ac:spMkLst>
            <pc:docMk/>
            <pc:sldMk cId="3154047486" sldId="373"/>
            <ac:spMk id="100" creationId="{D5E127AC-90E5-4AAB-ABB6-9CC6A6033BEC}"/>
          </ac:spMkLst>
        </pc:spChg>
      </pc:sldChg>
      <pc:sldChg chg="modSp add">
        <pc:chgData name="Zenos Zenica" userId="de3ee720dba36952" providerId="Windows Live" clId="Web-{87EC33F8-20F9-4A9B-8B0C-47C86D280FAD}" dt="2020-11-23T13:14:58.636" v="2796" actId="20577"/>
        <pc:sldMkLst>
          <pc:docMk/>
          <pc:sldMk cId="1625430609" sldId="374"/>
        </pc:sldMkLst>
        <pc:spChg chg="mod">
          <ac:chgData name="Zenos Zenica" userId="de3ee720dba36952" providerId="Windows Live" clId="Web-{87EC33F8-20F9-4A9B-8B0C-47C86D280FAD}" dt="2020-11-23T13:14:58.636" v="2796" actId="20577"/>
          <ac:spMkLst>
            <pc:docMk/>
            <pc:sldMk cId="1625430609" sldId="374"/>
            <ac:spMk id="4" creationId="{B8CB9108-1583-4A1C-846B-3263D00D0833}"/>
          </ac:spMkLst>
        </pc:spChg>
        <pc:spChg chg="mod">
          <ac:chgData name="Zenos Zenica" userId="de3ee720dba36952" providerId="Windows Live" clId="Web-{87EC33F8-20F9-4A9B-8B0C-47C86D280FAD}" dt="2020-11-23T13:14:14.713" v="2775"/>
          <ac:spMkLst>
            <pc:docMk/>
            <pc:sldMk cId="1625430609" sldId="374"/>
            <ac:spMk id="25" creationId="{FA34A4D5-27F8-4689-BED6-338D4CFCAABF}"/>
          </ac:spMkLst>
        </pc:spChg>
        <pc:spChg chg="mod">
          <ac:chgData name="Zenos Zenica" userId="de3ee720dba36952" providerId="Windows Live" clId="Web-{87EC33F8-20F9-4A9B-8B0C-47C86D280FAD}" dt="2020-11-23T13:14:24.526" v="2790" actId="14100"/>
          <ac:spMkLst>
            <pc:docMk/>
            <pc:sldMk cId="1625430609" sldId="374"/>
            <ac:spMk id="26" creationId="{BD09A097-493F-4834-A271-3CAD8A4A8FD5}"/>
          </ac:spMkLst>
        </pc:spChg>
        <pc:spChg chg="mod">
          <ac:chgData name="Zenos Zenica" userId="de3ee720dba36952" providerId="Windows Live" clId="Web-{87EC33F8-20F9-4A9B-8B0C-47C86D280FAD}" dt="2020-11-23T13:14:14.744" v="2777"/>
          <ac:spMkLst>
            <pc:docMk/>
            <pc:sldMk cId="1625430609" sldId="374"/>
            <ac:spMk id="27" creationId="{98CEC835-6B66-491C-8262-AC6247DBD396}"/>
          </ac:spMkLst>
        </pc:spChg>
        <pc:spChg chg="mod">
          <ac:chgData name="Zenos Zenica" userId="de3ee720dba36952" providerId="Windows Live" clId="Web-{87EC33F8-20F9-4A9B-8B0C-47C86D280FAD}" dt="2020-11-23T13:14:14.760" v="2778"/>
          <ac:spMkLst>
            <pc:docMk/>
            <pc:sldMk cId="1625430609" sldId="374"/>
            <ac:spMk id="28" creationId="{1F42B3E1-4495-4F10-B16B-5655469C7646}"/>
          </ac:spMkLst>
        </pc:spChg>
        <pc:spChg chg="mod">
          <ac:chgData name="Zenos Zenica" userId="de3ee720dba36952" providerId="Windows Live" clId="Web-{87EC33F8-20F9-4A9B-8B0C-47C86D280FAD}" dt="2020-11-23T13:14:14.853" v="2782"/>
          <ac:spMkLst>
            <pc:docMk/>
            <pc:sldMk cId="1625430609" sldId="374"/>
            <ac:spMk id="29" creationId="{085B5D65-4825-41CE-8579-1837F8B03D12}"/>
          </ac:spMkLst>
        </pc:spChg>
        <pc:spChg chg="mod">
          <ac:chgData name="Zenos Zenica" userId="de3ee720dba36952" providerId="Windows Live" clId="Web-{87EC33F8-20F9-4A9B-8B0C-47C86D280FAD}" dt="2020-11-23T13:14:29.416" v="2791" actId="14100"/>
          <ac:spMkLst>
            <pc:docMk/>
            <pc:sldMk cId="1625430609" sldId="374"/>
            <ac:spMk id="30" creationId="{BCA7D871-0D51-4DA6-B949-32A668E84F4F}"/>
          </ac:spMkLst>
        </pc:spChg>
        <pc:spChg chg="mod">
          <ac:chgData name="Zenos Zenica" userId="de3ee720dba36952" providerId="Windows Live" clId="Web-{87EC33F8-20F9-4A9B-8B0C-47C86D280FAD}" dt="2020-11-23T13:14:14.900" v="2784"/>
          <ac:spMkLst>
            <pc:docMk/>
            <pc:sldMk cId="1625430609" sldId="374"/>
            <ac:spMk id="37" creationId="{3C439CFB-E72B-4596-9F44-96F6AFB9AA64}"/>
          </ac:spMkLst>
        </pc:spChg>
        <pc:spChg chg="mod">
          <ac:chgData name="Zenos Zenica" userId="de3ee720dba36952" providerId="Windows Live" clId="Web-{87EC33F8-20F9-4A9B-8B0C-47C86D280FAD}" dt="2020-11-23T13:14:14.916" v="2785"/>
          <ac:spMkLst>
            <pc:docMk/>
            <pc:sldMk cId="1625430609" sldId="374"/>
            <ac:spMk id="53" creationId="{75273325-F27E-4C57-853F-AAE83A4332A1}"/>
          </ac:spMkLst>
        </pc:spChg>
        <pc:spChg chg="mod">
          <ac:chgData name="Zenos Zenica" userId="de3ee720dba36952" providerId="Windows Live" clId="Web-{87EC33F8-20F9-4A9B-8B0C-47C86D280FAD}" dt="2020-11-23T13:14:42.667" v="2792" actId="14100"/>
          <ac:spMkLst>
            <pc:docMk/>
            <pc:sldMk cId="1625430609" sldId="374"/>
            <ac:spMk id="54" creationId="{0680E122-A7AB-41B7-8A23-049A3459C3B7}"/>
          </ac:spMkLst>
        </pc:spChg>
        <pc:spChg chg="mod">
          <ac:chgData name="Zenos Zenica" userId="de3ee720dba36952" providerId="Windows Live" clId="Web-{87EC33F8-20F9-4A9B-8B0C-47C86D280FAD}" dt="2020-11-23T13:14:14.947" v="2787"/>
          <ac:spMkLst>
            <pc:docMk/>
            <pc:sldMk cId="1625430609" sldId="374"/>
            <ac:spMk id="55" creationId="{7CE51E15-B79E-48F0-AF1E-EC58562032AC}"/>
          </ac:spMkLst>
        </pc:spChg>
        <pc:spChg chg="mod">
          <ac:chgData name="Zenos Zenica" userId="de3ee720dba36952" providerId="Windows Live" clId="Web-{87EC33F8-20F9-4A9B-8B0C-47C86D280FAD}" dt="2020-11-23T13:14:14.963" v="2788"/>
          <ac:spMkLst>
            <pc:docMk/>
            <pc:sldMk cId="1625430609" sldId="374"/>
            <ac:spMk id="56" creationId="{7ADFB08D-493C-459D-84E2-6E9B8256585F}"/>
          </ac:spMkLst>
        </pc:spChg>
        <pc:spChg chg="mod">
          <ac:chgData name="Zenos Zenica" userId="de3ee720dba36952" providerId="Windows Live" clId="Web-{87EC33F8-20F9-4A9B-8B0C-47C86D280FAD}" dt="2020-11-23T13:14:14.978" v="2789"/>
          <ac:spMkLst>
            <pc:docMk/>
            <pc:sldMk cId="1625430609" sldId="374"/>
            <ac:spMk id="57" creationId="{70EA4A0D-30AC-4DB1-A863-DE55D70AE824}"/>
          </ac:spMkLst>
        </pc:spChg>
        <pc:spChg chg="mod">
          <ac:chgData name="Zenos Zenica" userId="de3ee720dba36952" providerId="Windows Live" clId="Web-{87EC33F8-20F9-4A9B-8B0C-47C86D280FAD}" dt="2020-11-23T13:14:14.775" v="2779"/>
          <ac:spMkLst>
            <pc:docMk/>
            <pc:sldMk cId="1625430609" sldId="374"/>
            <ac:spMk id="92" creationId="{1D994512-8139-44F5-80DB-168D27E18A2E}"/>
          </ac:spMkLst>
        </pc:spChg>
        <pc:spChg chg="mod">
          <ac:chgData name="Zenos Zenica" userId="de3ee720dba36952" providerId="Windows Live" clId="Web-{87EC33F8-20F9-4A9B-8B0C-47C86D280FAD}" dt="2020-11-23T13:14:14.791" v="2780"/>
          <ac:spMkLst>
            <pc:docMk/>
            <pc:sldMk cId="1625430609" sldId="374"/>
            <ac:spMk id="95" creationId="{4FFFFDF2-0C0F-4D6A-8D06-65F670FE730A}"/>
          </ac:spMkLst>
        </pc:spChg>
        <pc:spChg chg="mod">
          <ac:chgData name="Zenos Zenica" userId="de3ee720dba36952" providerId="Windows Live" clId="Web-{87EC33F8-20F9-4A9B-8B0C-47C86D280FAD}" dt="2020-11-23T13:14:14.838" v="2781"/>
          <ac:spMkLst>
            <pc:docMk/>
            <pc:sldMk cId="1625430609" sldId="374"/>
            <ac:spMk id="96" creationId="{37E0DD36-F605-4F6F-AB1E-DD4A1F1C9BFB}"/>
          </ac:spMkLst>
        </pc:spChg>
        <pc:cxnChg chg="mod">
          <ac:chgData name="Zenos Zenica" userId="de3ee720dba36952" providerId="Windows Live" clId="Web-{87EC33F8-20F9-4A9B-8B0C-47C86D280FAD}" dt="2020-11-23T13:14:14.838" v="2781"/>
          <ac:cxnSpMkLst>
            <pc:docMk/>
            <pc:sldMk cId="1625430609" sldId="374"/>
            <ac:cxnSpMk id="21" creationId="{7BD19275-38FE-4245-8AC9-35120A991ADA}"/>
          </ac:cxnSpMkLst>
        </pc:cxnChg>
        <pc:cxnChg chg="mod">
          <ac:chgData name="Zenos Zenica" userId="de3ee720dba36952" providerId="Windows Live" clId="Web-{87EC33F8-20F9-4A9B-8B0C-47C86D280FAD}" dt="2020-11-23T13:14:14.838" v="2781"/>
          <ac:cxnSpMkLst>
            <pc:docMk/>
            <pc:sldMk cId="1625430609" sldId="374"/>
            <ac:cxnSpMk id="35" creationId="{0E6FA181-6B63-437A-AF87-F0F3822C000E}"/>
          </ac:cxnSpMkLst>
        </pc:cxnChg>
        <pc:cxnChg chg="mod">
          <ac:chgData name="Zenos Zenica" userId="de3ee720dba36952" providerId="Windows Live" clId="Web-{87EC33F8-20F9-4A9B-8B0C-47C86D280FAD}" dt="2020-11-23T13:14:14.838" v="2781"/>
          <ac:cxnSpMkLst>
            <pc:docMk/>
            <pc:sldMk cId="1625430609" sldId="374"/>
            <ac:cxnSpMk id="38" creationId="{4E095394-BF5C-41E3-BAE7-C1489851EFE6}"/>
          </ac:cxnSpMkLst>
        </pc:cxnChg>
      </pc:sldChg>
      <pc:sldChg chg="modSp add">
        <pc:chgData name="Zenos Zenica" userId="de3ee720dba36952" providerId="Windows Live" clId="Web-{87EC33F8-20F9-4A9B-8B0C-47C86D280FAD}" dt="2020-11-23T13:16:44.826" v="2827" actId="20577"/>
        <pc:sldMkLst>
          <pc:docMk/>
          <pc:sldMk cId="4128815717" sldId="375"/>
        </pc:sldMkLst>
        <pc:spChg chg="mod">
          <ac:chgData name="Zenos Zenica" userId="de3ee720dba36952" providerId="Windows Live" clId="Web-{87EC33F8-20F9-4A9B-8B0C-47C86D280FAD}" dt="2020-11-23T13:16:44.826" v="2827" actId="20577"/>
          <ac:spMkLst>
            <pc:docMk/>
            <pc:sldMk cId="4128815717" sldId="375"/>
            <ac:spMk id="4" creationId="{B8CB9108-1583-4A1C-846B-3263D00D0833}"/>
          </ac:spMkLst>
        </pc:spChg>
        <pc:spChg chg="mod">
          <ac:chgData name="Zenos Zenica" userId="de3ee720dba36952" providerId="Windows Live" clId="Web-{87EC33F8-20F9-4A9B-8B0C-47C86D280FAD}" dt="2020-11-23T13:15:33.215" v="2806" actId="1076"/>
          <ac:spMkLst>
            <pc:docMk/>
            <pc:sldMk cId="4128815717" sldId="375"/>
            <ac:spMk id="5" creationId="{E0DFE09A-343C-4754-88E6-409F141394F4}"/>
          </ac:spMkLst>
        </pc:spChg>
        <pc:graphicFrameChg chg="mod modGraphic">
          <ac:chgData name="Zenos Zenica" userId="de3ee720dba36952" providerId="Windows Live" clId="Web-{87EC33F8-20F9-4A9B-8B0C-47C86D280FAD}" dt="2020-11-23T13:15:44.528" v="2811"/>
          <ac:graphicFrameMkLst>
            <pc:docMk/>
            <pc:sldMk cId="4128815717" sldId="375"/>
            <ac:graphicFrameMk id="53" creationId="{E82591D0-8DD7-4571-8988-F0E12F34DFFA}"/>
          </ac:graphicFrameMkLst>
        </pc:graphicFrameChg>
        <pc:graphicFrameChg chg="mod modGraphic">
          <ac:chgData name="Zenos Zenica" userId="de3ee720dba36952" providerId="Windows Live" clId="Web-{87EC33F8-20F9-4A9B-8B0C-47C86D280FAD}" dt="2020-11-23T13:16:31.998" v="2825" actId="1076"/>
          <ac:graphicFrameMkLst>
            <pc:docMk/>
            <pc:sldMk cId="4128815717" sldId="375"/>
            <ac:graphicFrameMk id="55" creationId="{FC56DE70-C637-41E8-9F67-B98577AF8118}"/>
          </ac:graphicFrameMkLst>
        </pc:graphicFrameChg>
      </pc:sldChg>
      <pc:sldChg chg="modSp add">
        <pc:chgData name="Zenos Zenica" userId="de3ee720dba36952" providerId="Windows Live" clId="Web-{87EC33F8-20F9-4A9B-8B0C-47C86D280FAD}" dt="2020-11-23T13:18:10.579" v="2859" actId="14100"/>
        <pc:sldMkLst>
          <pc:docMk/>
          <pc:sldMk cId="1712965595" sldId="376"/>
        </pc:sldMkLst>
        <pc:spChg chg="mod">
          <ac:chgData name="Zenos Zenica" userId="de3ee720dba36952" providerId="Windows Live" clId="Web-{87EC33F8-20F9-4A9B-8B0C-47C86D280FAD}" dt="2020-11-23T13:17:26.546" v="2835" actId="14100"/>
          <ac:spMkLst>
            <pc:docMk/>
            <pc:sldMk cId="1712965595" sldId="376"/>
            <ac:spMk id="4" creationId="{B8CB9108-1583-4A1C-846B-3263D00D0833}"/>
          </ac:spMkLst>
        </pc:spChg>
        <pc:spChg chg="mod">
          <ac:chgData name="Zenos Zenica" userId="de3ee720dba36952" providerId="Windows Live" clId="Web-{87EC33F8-20F9-4A9B-8B0C-47C86D280FAD}" dt="2020-11-23T13:17:30.468" v="2839"/>
          <ac:spMkLst>
            <pc:docMk/>
            <pc:sldMk cId="1712965595" sldId="376"/>
            <ac:spMk id="8" creationId="{CA355C14-CA35-4EF3-A1D2-58F203B6880D}"/>
          </ac:spMkLst>
        </pc:spChg>
        <pc:spChg chg="mod">
          <ac:chgData name="Zenos Zenica" userId="de3ee720dba36952" providerId="Windows Live" clId="Web-{87EC33F8-20F9-4A9B-8B0C-47C86D280FAD}" dt="2020-11-23T13:17:30.484" v="2840"/>
          <ac:spMkLst>
            <pc:docMk/>
            <pc:sldMk cId="1712965595" sldId="376"/>
            <ac:spMk id="9" creationId="{09A40833-9F07-40EE-BDB3-BFB02B265A3A}"/>
          </ac:spMkLst>
        </pc:spChg>
        <pc:spChg chg="mod">
          <ac:chgData name="Zenos Zenica" userId="de3ee720dba36952" providerId="Windows Live" clId="Web-{87EC33F8-20F9-4A9B-8B0C-47C86D280FAD}" dt="2020-11-23T13:17:30.499" v="2841"/>
          <ac:spMkLst>
            <pc:docMk/>
            <pc:sldMk cId="1712965595" sldId="376"/>
            <ac:spMk id="10" creationId="{297C2258-5D02-444A-AE3B-199B77967C08}"/>
          </ac:spMkLst>
        </pc:spChg>
        <pc:spChg chg="mod">
          <ac:chgData name="Zenos Zenica" userId="de3ee720dba36952" providerId="Windows Live" clId="Web-{87EC33F8-20F9-4A9B-8B0C-47C86D280FAD}" dt="2020-11-23T13:17:50.734" v="2855" actId="1076"/>
          <ac:spMkLst>
            <pc:docMk/>
            <pc:sldMk cId="1712965595" sldId="376"/>
            <ac:spMk id="11" creationId="{ACF18B8D-8725-470B-82D8-108713D211F1}"/>
          </ac:spMkLst>
        </pc:spChg>
        <pc:spChg chg="mod">
          <ac:chgData name="Zenos Zenica" userId="de3ee720dba36952" providerId="Windows Live" clId="Web-{87EC33F8-20F9-4A9B-8B0C-47C86D280FAD}" dt="2020-11-23T13:18:00.922" v="2857" actId="1076"/>
          <ac:spMkLst>
            <pc:docMk/>
            <pc:sldMk cId="1712965595" sldId="376"/>
            <ac:spMk id="12" creationId="{A2798216-4869-4647-93DD-3541C0A720C4}"/>
          </ac:spMkLst>
        </pc:spChg>
        <pc:spChg chg="mod">
          <ac:chgData name="Zenos Zenica" userId="de3ee720dba36952" providerId="Windows Live" clId="Web-{87EC33F8-20F9-4A9B-8B0C-47C86D280FAD}" dt="2020-11-23T13:17:39.328" v="2854" actId="1076"/>
          <ac:spMkLst>
            <pc:docMk/>
            <pc:sldMk cId="1712965595" sldId="376"/>
            <ac:spMk id="13" creationId="{8E442F5C-CE9D-48DD-A7B0-DBA1E44F8373}"/>
          </ac:spMkLst>
        </pc:spChg>
        <pc:spChg chg="mod">
          <ac:chgData name="Zenos Zenica" userId="de3ee720dba36952" providerId="Windows Live" clId="Web-{87EC33F8-20F9-4A9B-8B0C-47C86D280FAD}" dt="2020-11-23T13:18:09.657" v="2858" actId="14100"/>
          <ac:spMkLst>
            <pc:docMk/>
            <pc:sldMk cId="1712965595" sldId="376"/>
            <ac:spMk id="14" creationId="{2DCB4C89-C352-4260-9CAB-6089A30A64F9}"/>
          </ac:spMkLst>
        </pc:spChg>
        <pc:spChg chg="mod">
          <ac:chgData name="Zenos Zenica" userId="de3ee720dba36952" providerId="Windows Live" clId="Web-{87EC33F8-20F9-4A9B-8B0C-47C86D280FAD}" dt="2020-11-23T13:17:30.531" v="2843"/>
          <ac:spMkLst>
            <pc:docMk/>
            <pc:sldMk cId="1712965595" sldId="376"/>
            <ac:spMk id="15" creationId="{378E589C-9F23-4B5B-A92F-468EF0D23D9B}"/>
          </ac:spMkLst>
        </pc:spChg>
        <pc:spChg chg="mod">
          <ac:chgData name="Zenos Zenica" userId="de3ee720dba36952" providerId="Windows Live" clId="Web-{87EC33F8-20F9-4A9B-8B0C-47C86D280FAD}" dt="2020-11-23T13:18:10.579" v="2859" actId="14100"/>
          <ac:spMkLst>
            <pc:docMk/>
            <pc:sldMk cId="1712965595" sldId="376"/>
            <ac:spMk id="16" creationId="{83D4BEAA-4708-4B03-8112-03E1AB9D8B4F}"/>
          </ac:spMkLst>
        </pc:spChg>
        <pc:spChg chg="mod">
          <ac:chgData name="Zenos Zenica" userId="de3ee720dba36952" providerId="Windows Live" clId="Web-{87EC33F8-20F9-4A9B-8B0C-47C86D280FAD}" dt="2020-11-23T13:17:30.562" v="2845"/>
          <ac:spMkLst>
            <pc:docMk/>
            <pc:sldMk cId="1712965595" sldId="376"/>
            <ac:spMk id="17" creationId="{077C37F3-76FA-4916-896F-BA2EDA2245F5}"/>
          </ac:spMkLst>
        </pc:spChg>
        <pc:spChg chg="mod">
          <ac:chgData name="Zenos Zenica" userId="de3ee720dba36952" providerId="Windows Live" clId="Web-{87EC33F8-20F9-4A9B-8B0C-47C86D280FAD}" dt="2020-11-23T13:17:30.578" v="2846"/>
          <ac:spMkLst>
            <pc:docMk/>
            <pc:sldMk cId="1712965595" sldId="376"/>
            <ac:spMk id="18" creationId="{EB834B57-E58E-4CEA-BBDE-7EE2498A3358}"/>
          </ac:spMkLst>
        </pc:spChg>
        <pc:spChg chg="mod">
          <ac:chgData name="Zenos Zenica" userId="de3ee720dba36952" providerId="Windows Live" clId="Web-{87EC33F8-20F9-4A9B-8B0C-47C86D280FAD}" dt="2020-11-23T13:17:30.593" v="2847"/>
          <ac:spMkLst>
            <pc:docMk/>
            <pc:sldMk cId="1712965595" sldId="376"/>
            <ac:spMk id="19" creationId="{A4FE6C57-C7D2-4D03-9B88-89FC492132AD}"/>
          </ac:spMkLst>
        </pc:spChg>
        <pc:spChg chg="mod">
          <ac:chgData name="Zenos Zenica" userId="de3ee720dba36952" providerId="Windows Live" clId="Web-{87EC33F8-20F9-4A9B-8B0C-47C86D280FAD}" dt="2020-11-23T13:17:30.609" v="2848"/>
          <ac:spMkLst>
            <pc:docMk/>
            <pc:sldMk cId="1712965595" sldId="376"/>
            <ac:spMk id="23" creationId="{4B5F459C-511A-4835-837F-059C73BA8AB5}"/>
          </ac:spMkLst>
        </pc:spChg>
        <pc:spChg chg="mod">
          <ac:chgData name="Zenos Zenica" userId="de3ee720dba36952" providerId="Windows Live" clId="Web-{87EC33F8-20F9-4A9B-8B0C-47C86D280FAD}" dt="2020-11-23T13:17:30.624" v="2849"/>
          <ac:spMkLst>
            <pc:docMk/>
            <pc:sldMk cId="1712965595" sldId="376"/>
            <ac:spMk id="26" creationId="{CAA4807B-31E3-4621-8C09-69C12DE2C0C2}"/>
          </ac:spMkLst>
        </pc:spChg>
        <pc:spChg chg="mod">
          <ac:chgData name="Zenos Zenica" userId="de3ee720dba36952" providerId="Windows Live" clId="Web-{87EC33F8-20F9-4A9B-8B0C-47C86D280FAD}" dt="2020-11-23T13:17:30.640" v="2850"/>
          <ac:spMkLst>
            <pc:docMk/>
            <pc:sldMk cId="1712965595" sldId="376"/>
            <ac:spMk id="27" creationId="{654490A2-119E-4A9A-9383-3A37B8A01623}"/>
          </ac:spMkLst>
        </pc:spChg>
      </pc:sldChg>
      <pc:sldChg chg="modSp add">
        <pc:chgData name="Zenos Zenica" userId="de3ee720dba36952" providerId="Windows Live" clId="Web-{87EC33F8-20F9-4A9B-8B0C-47C86D280FAD}" dt="2020-11-23T13:19:27.565" v="2878" actId="20577"/>
        <pc:sldMkLst>
          <pc:docMk/>
          <pc:sldMk cId="1190727556" sldId="377"/>
        </pc:sldMkLst>
        <pc:spChg chg="mod">
          <ac:chgData name="Zenos Zenica" userId="de3ee720dba36952" providerId="Windows Live" clId="Web-{87EC33F8-20F9-4A9B-8B0C-47C86D280FAD}" dt="2020-11-23T13:19:27.565" v="2878" actId="20577"/>
          <ac:spMkLst>
            <pc:docMk/>
            <pc:sldMk cId="1190727556" sldId="377"/>
            <ac:spMk id="4" creationId="{B8CB9108-1583-4A1C-846B-3263D00D0833}"/>
          </ac:spMkLst>
        </pc:spChg>
        <pc:spChg chg="mod">
          <ac:chgData name="Zenos Zenica" userId="de3ee720dba36952" providerId="Windows Live" clId="Web-{87EC33F8-20F9-4A9B-8B0C-47C86D280FAD}" dt="2020-11-23T13:18:47.064" v="2866"/>
          <ac:spMkLst>
            <pc:docMk/>
            <pc:sldMk cId="1190727556" sldId="377"/>
            <ac:spMk id="29" creationId="{96F0992B-EAD8-4CE7-831B-443389EABB34}"/>
          </ac:spMkLst>
        </pc:spChg>
        <pc:spChg chg="mod">
          <ac:chgData name="Zenos Zenica" userId="de3ee720dba36952" providerId="Windows Live" clId="Web-{87EC33F8-20F9-4A9B-8B0C-47C86D280FAD}" dt="2020-11-23T13:18:47.080" v="2867"/>
          <ac:spMkLst>
            <pc:docMk/>
            <pc:sldMk cId="1190727556" sldId="377"/>
            <ac:spMk id="30" creationId="{530F8013-333E-4780-8316-12D9CA305298}"/>
          </ac:spMkLst>
        </pc:spChg>
        <pc:spChg chg="mod">
          <ac:chgData name="Zenos Zenica" userId="de3ee720dba36952" providerId="Windows Live" clId="Web-{87EC33F8-20F9-4A9B-8B0C-47C86D280FAD}" dt="2020-11-23T13:19:06.018" v="2873" actId="1076"/>
          <ac:spMkLst>
            <pc:docMk/>
            <pc:sldMk cId="1190727556" sldId="377"/>
            <ac:spMk id="31" creationId="{07055CE9-EF3A-44C5-8B9D-F79FD5F68122}"/>
          </ac:spMkLst>
        </pc:spChg>
        <pc:spChg chg="mod">
          <ac:chgData name="Zenos Zenica" userId="de3ee720dba36952" providerId="Windows Live" clId="Web-{87EC33F8-20F9-4A9B-8B0C-47C86D280FAD}" dt="2020-11-23T13:18:47.111" v="2869"/>
          <ac:spMkLst>
            <pc:docMk/>
            <pc:sldMk cId="1190727556" sldId="377"/>
            <ac:spMk id="32" creationId="{E2F98401-1BC1-46E0-BA36-DE6B266B49CA}"/>
          </ac:spMkLst>
        </pc:spChg>
        <pc:spChg chg="mod">
          <ac:chgData name="Zenos Zenica" userId="de3ee720dba36952" providerId="Windows Live" clId="Web-{87EC33F8-20F9-4A9B-8B0C-47C86D280FAD}" dt="2020-11-23T13:18:47.127" v="2870"/>
          <ac:spMkLst>
            <pc:docMk/>
            <pc:sldMk cId="1190727556" sldId="377"/>
            <ac:spMk id="33" creationId="{933DCDBF-68E4-48A7-B0F3-906E30EF367C}"/>
          </ac:spMkLst>
        </pc:spChg>
        <pc:spChg chg="mod">
          <ac:chgData name="Zenos Zenica" userId="de3ee720dba36952" providerId="Windows Live" clId="Web-{87EC33F8-20F9-4A9B-8B0C-47C86D280FAD}" dt="2020-11-23T13:18:47.158" v="2871"/>
          <ac:spMkLst>
            <pc:docMk/>
            <pc:sldMk cId="1190727556" sldId="377"/>
            <ac:spMk id="34" creationId="{81549C8A-573D-4AA0-A1B8-4D43EBC048BA}"/>
          </ac:spMkLst>
        </pc:spChg>
        <pc:spChg chg="mod">
          <ac:chgData name="Zenos Zenica" userId="de3ee720dba36952" providerId="Windows Live" clId="Web-{87EC33F8-20F9-4A9B-8B0C-47C86D280FAD}" dt="2020-11-23T13:18:56.424" v="2872" actId="1076"/>
          <ac:spMkLst>
            <pc:docMk/>
            <pc:sldMk cId="1190727556" sldId="377"/>
            <ac:spMk id="35" creationId="{1A13044F-6AEB-428D-9C65-6232F3090444}"/>
          </ac:spMkLst>
        </pc:spChg>
      </pc:sldChg>
      <pc:sldChg chg="modSp add">
        <pc:chgData name="Zenos Zenica" userId="de3ee720dba36952" providerId="Windows Live" clId="Web-{87EC33F8-20F9-4A9B-8B0C-47C86D280FAD}" dt="2020-11-23T13:24:43.730" v="2985"/>
        <pc:sldMkLst>
          <pc:docMk/>
          <pc:sldMk cId="3770450365" sldId="378"/>
        </pc:sldMkLst>
        <pc:spChg chg="mod">
          <ac:chgData name="Zenos Zenica" userId="de3ee720dba36952" providerId="Windows Live" clId="Web-{87EC33F8-20F9-4A9B-8B0C-47C86D280FAD}" dt="2020-11-23T13:19:55.285" v="2890" actId="1076"/>
          <ac:spMkLst>
            <pc:docMk/>
            <pc:sldMk cId="3770450365" sldId="378"/>
            <ac:spMk id="4" creationId="{B8CB9108-1583-4A1C-846B-3263D00D0833}"/>
          </ac:spMkLst>
        </pc:spChg>
        <pc:spChg chg="mod">
          <ac:chgData name="Zenos Zenica" userId="de3ee720dba36952" providerId="Windows Live" clId="Web-{87EC33F8-20F9-4A9B-8B0C-47C86D280FAD}" dt="2020-11-23T13:24:43.574" v="2976"/>
          <ac:spMkLst>
            <pc:docMk/>
            <pc:sldMk cId="3770450365" sldId="378"/>
            <ac:spMk id="19" creationId="{FC79A5AD-A1C5-4C54-8B66-DFC112E058A8}"/>
          </ac:spMkLst>
        </pc:spChg>
        <pc:spChg chg="mod">
          <ac:chgData name="Zenos Zenica" userId="de3ee720dba36952" providerId="Windows Live" clId="Web-{87EC33F8-20F9-4A9B-8B0C-47C86D280FAD}" dt="2020-11-23T13:24:43.590" v="2977"/>
          <ac:spMkLst>
            <pc:docMk/>
            <pc:sldMk cId="3770450365" sldId="378"/>
            <ac:spMk id="23" creationId="{5DB4A469-BD32-49CA-85AD-0BE6EDBD03A9}"/>
          </ac:spMkLst>
        </pc:spChg>
        <pc:spChg chg="mod">
          <ac:chgData name="Zenos Zenica" userId="de3ee720dba36952" providerId="Windows Live" clId="Web-{87EC33F8-20F9-4A9B-8B0C-47C86D280FAD}" dt="2020-11-23T13:24:43.605" v="2978"/>
          <ac:spMkLst>
            <pc:docMk/>
            <pc:sldMk cId="3770450365" sldId="378"/>
            <ac:spMk id="26" creationId="{B6274F5F-B287-44AC-9C32-5D1553E80BCA}"/>
          </ac:spMkLst>
        </pc:spChg>
        <pc:spChg chg="mod">
          <ac:chgData name="Zenos Zenica" userId="de3ee720dba36952" providerId="Windows Live" clId="Web-{87EC33F8-20F9-4A9B-8B0C-47C86D280FAD}" dt="2020-11-23T13:24:43.636" v="2979"/>
          <ac:spMkLst>
            <pc:docMk/>
            <pc:sldMk cId="3770450365" sldId="378"/>
            <ac:spMk id="27" creationId="{23AA4662-1E50-4968-B353-7C977F8980FA}"/>
          </ac:spMkLst>
        </pc:spChg>
        <pc:spChg chg="mod">
          <ac:chgData name="Zenos Zenica" userId="de3ee720dba36952" providerId="Windows Live" clId="Web-{87EC33F8-20F9-4A9B-8B0C-47C86D280FAD}" dt="2020-11-23T13:24:43.652" v="2980"/>
          <ac:spMkLst>
            <pc:docMk/>
            <pc:sldMk cId="3770450365" sldId="378"/>
            <ac:spMk id="36" creationId="{C5CBE19A-8EC4-4E17-8F7A-836B7E91852B}"/>
          </ac:spMkLst>
        </pc:spChg>
        <pc:spChg chg="mod">
          <ac:chgData name="Zenos Zenica" userId="de3ee720dba36952" providerId="Windows Live" clId="Web-{87EC33F8-20F9-4A9B-8B0C-47C86D280FAD}" dt="2020-11-23T13:24:43.668" v="2981"/>
          <ac:spMkLst>
            <pc:docMk/>
            <pc:sldMk cId="3770450365" sldId="378"/>
            <ac:spMk id="37" creationId="{457B3B6B-CEF0-486A-AEA4-1708549C2BE3}"/>
          </ac:spMkLst>
        </pc:spChg>
        <pc:spChg chg="mod">
          <ac:chgData name="Zenos Zenica" userId="de3ee720dba36952" providerId="Windows Live" clId="Web-{87EC33F8-20F9-4A9B-8B0C-47C86D280FAD}" dt="2020-11-23T13:24:43.683" v="2982"/>
          <ac:spMkLst>
            <pc:docMk/>
            <pc:sldMk cId="3770450365" sldId="378"/>
            <ac:spMk id="38" creationId="{5EAE4798-EE94-4C69-8120-75FCE9B3EF0B}"/>
          </ac:spMkLst>
        </pc:spChg>
        <pc:spChg chg="mod">
          <ac:chgData name="Zenos Zenica" userId="de3ee720dba36952" providerId="Windows Live" clId="Web-{87EC33F8-20F9-4A9B-8B0C-47C86D280FAD}" dt="2020-11-23T13:24:43.699" v="2983"/>
          <ac:spMkLst>
            <pc:docMk/>
            <pc:sldMk cId="3770450365" sldId="378"/>
            <ac:spMk id="39" creationId="{BF1202B6-C208-4DB2-952D-9B42E96BA44E}"/>
          </ac:spMkLst>
        </pc:spChg>
        <pc:spChg chg="mod">
          <ac:chgData name="Zenos Zenica" userId="de3ee720dba36952" providerId="Windows Live" clId="Web-{87EC33F8-20F9-4A9B-8B0C-47C86D280FAD}" dt="2020-11-23T13:24:43.715" v="2984"/>
          <ac:spMkLst>
            <pc:docMk/>
            <pc:sldMk cId="3770450365" sldId="378"/>
            <ac:spMk id="40" creationId="{044AA074-D4F0-4D0B-9F16-A8E8F1BFC26C}"/>
          </ac:spMkLst>
        </pc:spChg>
        <pc:spChg chg="mod">
          <ac:chgData name="Zenos Zenica" userId="de3ee720dba36952" providerId="Windows Live" clId="Web-{87EC33F8-20F9-4A9B-8B0C-47C86D280FAD}" dt="2020-11-23T13:24:43.730" v="2985"/>
          <ac:spMkLst>
            <pc:docMk/>
            <pc:sldMk cId="3770450365" sldId="378"/>
            <ac:spMk id="41" creationId="{4B033314-8376-4B93-BDD0-EB65A3B48C1E}"/>
          </ac:spMkLst>
        </pc:spChg>
        <pc:spChg chg="mod">
          <ac:chgData name="Zenos Zenica" userId="de3ee720dba36952" providerId="Windows Live" clId="Web-{87EC33F8-20F9-4A9B-8B0C-47C86D280FAD}" dt="2020-11-23T13:20:42.177" v="2901" actId="14100"/>
          <ac:spMkLst>
            <pc:docMk/>
            <pc:sldMk cId="3770450365" sldId="378"/>
            <ac:spMk id="42" creationId="{809D22EB-2609-4D39-8E92-51A2829B82FB}"/>
          </ac:spMkLst>
        </pc:spChg>
        <pc:spChg chg="mod">
          <ac:chgData name="Zenos Zenica" userId="de3ee720dba36952" providerId="Windows Live" clId="Web-{87EC33F8-20F9-4A9B-8B0C-47C86D280FAD}" dt="2020-11-23T13:20:49.224" v="2903" actId="14100"/>
          <ac:spMkLst>
            <pc:docMk/>
            <pc:sldMk cId="3770450365" sldId="378"/>
            <ac:spMk id="43" creationId="{C6AC052F-2891-4D83-AA23-0639B87900C9}"/>
          </ac:spMkLst>
        </pc:spChg>
        <pc:spChg chg="mod">
          <ac:chgData name="Zenos Zenica" userId="de3ee720dba36952" providerId="Windows Live" clId="Web-{87EC33F8-20F9-4A9B-8B0C-47C86D280FAD}" dt="2020-11-23T13:20:46.020" v="2902" actId="14100"/>
          <ac:spMkLst>
            <pc:docMk/>
            <pc:sldMk cId="3770450365" sldId="378"/>
            <ac:spMk id="44" creationId="{20019679-2364-4AAE-A7AB-2563DF8A219E}"/>
          </ac:spMkLst>
        </pc:spChg>
        <pc:spChg chg="mod">
          <ac:chgData name="Zenos Zenica" userId="de3ee720dba36952" providerId="Windows Live" clId="Web-{87EC33F8-20F9-4A9B-8B0C-47C86D280FAD}" dt="2020-11-23T13:24:18.433" v="2973" actId="1076"/>
          <ac:spMkLst>
            <pc:docMk/>
            <pc:sldMk cId="3770450365" sldId="378"/>
            <ac:spMk id="45" creationId="{D4725715-5810-4881-B49E-63B497BCEBD0}"/>
          </ac:spMkLst>
        </pc:spChg>
        <pc:spChg chg="mod">
          <ac:chgData name="Zenos Zenica" userId="de3ee720dba36952" providerId="Windows Live" clId="Web-{87EC33F8-20F9-4A9B-8B0C-47C86D280FAD}" dt="2020-11-23T13:21:01.005" v="2906" actId="14100"/>
          <ac:spMkLst>
            <pc:docMk/>
            <pc:sldMk cId="3770450365" sldId="378"/>
            <ac:spMk id="46" creationId="{6B9D1117-6531-41AE-AD6D-61C33944E9AC}"/>
          </ac:spMkLst>
        </pc:spChg>
        <pc:spChg chg="mod">
          <ac:chgData name="Zenos Zenica" userId="de3ee720dba36952" providerId="Windows Live" clId="Web-{87EC33F8-20F9-4A9B-8B0C-47C86D280FAD}" dt="2020-11-23T13:22:18.976" v="2923"/>
          <ac:spMkLst>
            <pc:docMk/>
            <pc:sldMk cId="3770450365" sldId="378"/>
            <ac:spMk id="47" creationId="{58002E68-1605-4679-93AD-FDD87D44C559}"/>
          </ac:spMkLst>
        </pc:spChg>
        <pc:spChg chg="mod">
          <ac:chgData name="Zenos Zenica" userId="de3ee720dba36952" providerId="Windows Live" clId="Web-{87EC33F8-20F9-4A9B-8B0C-47C86D280FAD}" dt="2020-11-23T13:22:19.007" v="2924"/>
          <ac:spMkLst>
            <pc:docMk/>
            <pc:sldMk cId="3770450365" sldId="378"/>
            <ac:spMk id="48" creationId="{82F4E0FE-FF93-4FFE-8281-76F4FA9644D8}"/>
          </ac:spMkLst>
        </pc:spChg>
        <pc:spChg chg="mod">
          <ac:chgData name="Zenos Zenica" userId="de3ee720dba36952" providerId="Windows Live" clId="Web-{87EC33F8-20F9-4A9B-8B0C-47C86D280FAD}" dt="2020-11-23T13:22:19.023" v="2925"/>
          <ac:spMkLst>
            <pc:docMk/>
            <pc:sldMk cId="3770450365" sldId="378"/>
            <ac:spMk id="49" creationId="{BC0C98EB-08A4-4FFC-941E-C0EF3DDD1B14}"/>
          </ac:spMkLst>
        </pc:spChg>
        <pc:spChg chg="mod">
          <ac:chgData name="Zenos Zenica" userId="de3ee720dba36952" providerId="Windows Live" clId="Web-{87EC33F8-20F9-4A9B-8B0C-47C86D280FAD}" dt="2020-11-23T13:22:19.054" v="2926"/>
          <ac:spMkLst>
            <pc:docMk/>
            <pc:sldMk cId="3770450365" sldId="378"/>
            <ac:spMk id="50" creationId="{4A1354B9-89E6-4F0B-B3A6-319C42EBB6A1}"/>
          </ac:spMkLst>
        </pc:spChg>
        <pc:spChg chg="mod">
          <ac:chgData name="Zenos Zenica" userId="de3ee720dba36952" providerId="Windows Live" clId="Web-{87EC33F8-20F9-4A9B-8B0C-47C86D280FAD}" dt="2020-11-23T13:22:19.070" v="2927"/>
          <ac:spMkLst>
            <pc:docMk/>
            <pc:sldMk cId="3770450365" sldId="378"/>
            <ac:spMk id="51" creationId="{336E0557-6EE0-4DDA-B7DC-8D91D2BDF181}"/>
          </ac:spMkLst>
        </pc:spChg>
        <pc:spChg chg="mod">
          <ac:chgData name="Zenos Zenica" userId="de3ee720dba36952" providerId="Windows Live" clId="Web-{87EC33F8-20F9-4A9B-8B0C-47C86D280FAD}" dt="2020-11-23T13:21:49.366" v="2915" actId="14100"/>
          <ac:spMkLst>
            <pc:docMk/>
            <pc:sldMk cId="3770450365" sldId="378"/>
            <ac:spMk id="52" creationId="{5C9DC143-1563-4C18-8CB0-6115BD5315AF}"/>
          </ac:spMkLst>
        </pc:spChg>
        <pc:spChg chg="mod">
          <ac:chgData name="Zenos Zenica" userId="de3ee720dba36952" providerId="Windows Live" clId="Web-{87EC33F8-20F9-4A9B-8B0C-47C86D280FAD}" dt="2020-11-23T13:23:06.118" v="2949" actId="1076"/>
          <ac:spMkLst>
            <pc:docMk/>
            <pc:sldMk cId="3770450365" sldId="378"/>
            <ac:spMk id="53" creationId="{40EFA63A-28BC-4C9F-BEE5-1157C0B799A8}"/>
          </ac:spMkLst>
        </pc:spChg>
        <pc:spChg chg="mod">
          <ac:chgData name="Zenos Zenica" userId="de3ee720dba36952" providerId="Windows Live" clId="Web-{87EC33F8-20F9-4A9B-8B0C-47C86D280FAD}" dt="2020-11-23T13:21:50.225" v="2917" actId="14100"/>
          <ac:spMkLst>
            <pc:docMk/>
            <pc:sldMk cId="3770450365" sldId="378"/>
            <ac:spMk id="54" creationId="{5AD556B5-6A21-48E8-A4BE-7BD7FC1B3160}"/>
          </ac:spMkLst>
        </pc:spChg>
        <pc:spChg chg="mod">
          <ac:chgData name="Zenos Zenica" userId="de3ee720dba36952" providerId="Windows Live" clId="Web-{87EC33F8-20F9-4A9B-8B0C-47C86D280FAD}" dt="2020-11-23T13:22:05.929" v="2921" actId="14100"/>
          <ac:spMkLst>
            <pc:docMk/>
            <pc:sldMk cId="3770450365" sldId="378"/>
            <ac:spMk id="55" creationId="{6968D882-E68D-4279-AD9C-BCB05B95F811}"/>
          </ac:spMkLst>
        </pc:spChg>
        <pc:spChg chg="mod">
          <ac:chgData name="Zenos Zenica" userId="de3ee720dba36952" providerId="Windows Live" clId="Web-{87EC33F8-20F9-4A9B-8B0C-47C86D280FAD}" dt="2020-11-23T13:22:10.773" v="2922" actId="14100"/>
          <ac:spMkLst>
            <pc:docMk/>
            <pc:sldMk cId="3770450365" sldId="378"/>
            <ac:spMk id="56" creationId="{AFC0CFB4-B923-4EBF-8A68-962DF7181CD2}"/>
          </ac:spMkLst>
        </pc:spChg>
        <pc:spChg chg="mod">
          <ac:chgData name="Zenos Zenica" userId="de3ee720dba36952" providerId="Windows Live" clId="Web-{87EC33F8-20F9-4A9B-8B0C-47C86D280FAD}" dt="2020-11-23T13:21:50.178" v="2916" actId="1076"/>
          <ac:spMkLst>
            <pc:docMk/>
            <pc:sldMk cId="3770450365" sldId="378"/>
            <ac:spMk id="57" creationId="{68DE1A07-F497-4CC7-9AE1-73A441BAF648}"/>
          </ac:spMkLst>
        </pc:spChg>
        <pc:spChg chg="mod">
          <ac:chgData name="Zenos Zenica" userId="de3ee720dba36952" providerId="Windows Live" clId="Web-{87EC33F8-20F9-4A9B-8B0C-47C86D280FAD}" dt="2020-11-23T13:22:29.586" v="2937" actId="1076"/>
          <ac:spMkLst>
            <pc:docMk/>
            <pc:sldMk cId="3770450365" sldId="378"/>
            <ac:spMk id="58" creationId="{89519318-20D5-41D1-808F-E77833BD7490}"/>
          </ac:spMkLst>
        </pc:spChg>
        <pc:spChg chg="mod">
          <ac:chgData name="Zenos Zenica" userId="de3ee720dba36952" providerId="Windows Live" clId="Web-{87EC33F8-20F9-4A9B-8B0C-47C86D280FAD}" dt="2020-11-23T13:23:42.135" v="2962" actId="1076"/>
          <ac:spMkLst>
            <pc:docMk/>
            <pc:sldMk cId="3770450365" sldId="378"/>
            <ac:spMk id="59" creationId="{A9872E48-DD7B-41D2-AC9F-9CF961963C0D}"/>
          </ac:spMkLst>
        </pc:spChg>
        <pc:spChg chg="mod">
          <ac:chgData name="Zenos Zenica" userId="de3ee720dba36952" providerId="Windows Live" clId="Web-{87EC33F8-20F9-4A9B-8B0C-47C86D280FAD}" dt="2020-11-23T13:24:23.386" v="2974" actId="1076"/>
          <ac:spMkLst>
            <pc:docMk/>
            <pc:sldMk cId="3770450365" sldId="378"/>
            <ac:spMk id="60" creationId="{3B2151AB-36A9-41ED-A6E4-AF8C0940FD83}"/>
          </ac:spMkLst>
        </pc:spChg>
        <pc:spChg chg="mod">
          <ac:chgData name="Zenos Zenica" userId="de3ee720dba36952" providerId="Windows Live" clId="Web-{87EC33F8-20F9-4A9B-8B0C-47C86D280FAD}" dt="2020-11-23T13:24:27.636" v="2975" actId="1076"/>
          <ac:spMkLst>
            <pc:docMk/>
            <pc:sldMk cId="3770450365" sldId="378"/>
            <ac:spMk id="61" creationId="{EE49686B-080D-4532-98CD-06CCDF9BC683}"/>
          </ac:spMkLst>
        </pc:spChg>
      </pc:sldChg>
      <pc:sldChg chg="modSp add">
        <pc:chgData name="Zenos Zenica" userId="de3ee720dba36952" providerId="Windows Live" clId="Web-{87EC33F8-20F9-4A9B-8B0C-47C86D280FAD}" dt="2020-11-23T13:26:17.108" v="3031" actId="1076"/>
        <pc:sldMkLst>
          <pc:docMk/>
          <pc:sldMk cId="1828066919" sldId="379"/>
        </pc:sldMkLst>
        <pc:spChg chg="mod">
          <ac:chgData name="Zenos Zenica" userId="de3ee720dba36952" providerId="Windows Live" clId="Web-{87EC33F8-20F9-4A9B-8B0C-47C86D280FAD}" dt="2020-11-23T13:26:17.108" v="3031" actId="1076"/>
          <ac:spMkLst>
            <pc:docMk/>
            <pc:sldMk cId="1828066919" sldId="379"/>
            <ac:spMk id="4" creationId="{B8CB9108-1583-4A1C-846B-3263D00D0833}"/>
          </ac:spMkLst>
        </pc:spChg>
        <pc:graphicFrameChg chg="mod modGraphic">
          <ac:chgData name="Zenos Zenica" userId="de3ee720dba36952" providerId="Windows Live" clId="Web-{87EC33F8-20F9-4A9B-8B0C-47C86D280FAD}" dt="2020-11-23T13:25:48.498" v="3021" actId="1076"/>
          <ac:graphicFrameMkLst>
            <pc:docMk/>
            <pc:sldMk cId="1828066919" sldId="379"/>
            <ac:graphicFrameMk id="5" creationId="{97EE422A-12B2-476F-90D7-963701CC40F9}"/>
          </ac:graphicFrameMkLst>
        </pc:graphicFrameChg>
      </pc:sldChg>
      <pc:sldChg chg="modSp add">
        <pc:chgData name="Zenos Zenica" userId="de3ee720dba36952" providerId="Windows Live" clId="Web-{87EC33F8-20F9-4A9B-8B0C-47C86D280FAD}" dt="2020-11-23T13:43:03.854" v="3330" actId="1076"/>
        <pc:sldMkLst>
          <pc:docMk/>
          <pc:sldMk cId="864202869" sldId="380"/>
        </pc:sldMkLst>
        <pc:spChg chg="mod">
          <ac:chgData name="Zenos Zenica" userId="de3ee720dba36952" providerId="Windows Live" clId="Web-{87EC33F8-20F9-4A9B-8B0C-47C86D280FAD}" dt="2020-11-23T13:26:52.843" v="3042"/>
          <ac:spMkLst>
            <pc:docMk/>
            <pc:sldMk cId="864202869" sldId="380"/>
            <ac:spMk id="7" creationId="{D9990D1C-6908-4833-9D62-721B52558E41}"/>
          </ac:spMkLst>
        </pc:spChg>
        <pc:spChg chg="mod">
          <ac:chgData name="Zenos Zenica" userId="de3ee720dba36952" providerId="Windows Live" clId="Web-{87EC33F8-20F9-4A9B-8B0C-47C86D280FAD}" dt="2020-11-23T13:26:52.859" v="3043"/>
          <ac:spMkLst>
            <pc:docMk/>
            <pc:sldMk cId="864202869" sldId="380"/>
            <ac:spMk id="8" creationId="{C923110C-A421-4F7E-8F3B-8052EA6163B2}"/>
          </ac:spMkLst>
        </pc:spChg>
        <pc:spChg chg="mod">
          <ac:chgData name="Zenos Zenica" userId="de3ee720dba36952" providerId="Windows Live" clId="Web-{87EC33F8-20F9-4A9B-8B0C-47C86D280FAD}" dt="2020-11-23T13:26:52.890" v="3044"/>
          <ac:spMkLst>
            <pc:docMk/>
            <pc:sldMk cId="864202869" sldId="380"/>
            <ac:spMk id="9" creationId="{6FF20836-3C82-4ABA-BABB-743C37979052}"/>
          </ac:spMkLst>
        </pc:spChg>
        <pc:spChg chg="mod">
          <ac:chgData name="Zenos Zenica" userId="de3ee720dba36952" providerId="Windows Live" clId="Web-{87EC33F8-20F9-4A9B-8B0C-47C86D280FAD}" dt="2020-11-23T13:26:52.906" v="3045"/>
          <ac:spMkLst>
            <pc:docMk/>
            <pc:sldMk cId="864202869" sldId="380"/>
            <ac:spMk id="10" creationId="{FCDD1FA8-93C4-4A37-BD9F-4C76B00CE4D8}"/>
          </ac:spMkLst>
        </pc:spChg>
        <pc:spChg chg="mod">
          <ac:chgData name="Zenos Zenica" userId="de3ee720dba36952" providerId="Windows Live" clId="Web-{87EC33F8-20F9-4A9B-8B0C-47C86D280FAD}" dt="2020-11-23T13:42:33.182" v="3326" actId="14100"/>
          <ac:spMkLst>
            <pc:docMk/>
            <pc:sldMk cId="864202869" sldId="380"/>
            <ac:spMk id="11" creationId="{D8E1D7E0-4C0B-4443-837D-A6D1BCE73E31}"/>
          </ac:spMkLst>
        </pc:spChg>
        <pc:spChg chg="mod">
          <ac:chgData name="Zenos Zenica" userId="de3ee720dba36952" providerId="Windows Live" clId="Web-{87EC33F8-20F9-4A9B-8B0C-47C86D280FAD}" dt="2020-11-23T13:42:38.307" v="3327" actId="1076"/>
          <ac:spMkLst>
            <pc:docMk/>
            <pc:sldMk cId="864202869" sldId="380"/>
            <ac:spMk id="12" creationId="{B79E3188-FAC4-4D75-AABE-934EE293AD1C}"/>
          </ac:spMkLst>
        </pc:spChg>
        <pc:spChg chg="mod">
          <ac:chgData name="Zenos Zenica" userId="de3ee720dba36952" providerId="Windows Live" clId="Web-{87EC33F8-20F9-4A9B-8B0C-47C86D280FAD}" dt="2020-11-23T13:42:58.401" v="3329" actId="14100"/>
          <ac:spMkLst>
            <pc:docMk/>
            <pc:sldMk cId="864202869" sldId="380"/>
            <ac:spMk id="13" creationId="{54E9B391-EFF3-4591-8C18-D21B0684391A}"/>
          </ac:spMkLst>
        </pc:spChg>
        <pc:spChg chg="mod">
          <ac:chgData name="Zenos Zenica" userId="de3ee720dba36952" providerId="Windows Live" clId="Web-{87EC33F8-20F9-4A9B-8B0C-47C86D280FAD}" dt="2020-11-23T13:43:03.854" v="3330" actId="1076"/>
          <ac:spMkLst>
            <pc:docMk/>
            <pc:sldMk cId="864202869" sldId="380"/>
            <ac:spMk id="14" creationId="{F43D6D0F-A6CB-4078-AADA-3AE3AB4C5A74}"/>
          </ac:spMkLst>
        </pc:spChg>
        <pc:spChg chg="mod">
          <ac:chgData name="Zenos Zenica" userId="de3ee720dba36952" providerId="Windows Live" clId="Web-{87EC33F8-20F9-4A9B-8B0C-47C86D280FAD}" dt="2020-11-23T13:26:52.999" v="3050"/>
          <ac:spMkLst>
            <pc:docMk/>
            <pc:sldMk cId="864202869" sldId="380"/>
            <ac:spMk id="15" creationId="{C359E422-F1F8-4DC0-B890-DDDE45FCD6B1}"/>
          </ac:spMkLst>
        </pc:spChg>
        <pc:spChg chg="mod">
          <ac:chgData name="Zenos Zenica" userId="de3ee720dba36952" providerId="Windows Live" clId="Web-{87EC33F8-20F9-4A9B-8B0C-47C86D280FAD}" dt="2020-11-23T13:42:50.495" v="3328" actId="1076"/>
          <ac:spMkLst>
            <pc:docMk/>
            <pc:sldMk cId="864202869" sldId="380"/>
            <ac:spMk id="17" creationId="{995B47BD-0CD2-40B3-A042-6C26851CEAB0}"/>
          </ac:spMkLst>
        </pc:spChg>
        <pc:spChg chg="mod">
          <ac:chgData name="Zenos Zenica" userId="de3ee720dba36952" providerId="Windows Live" clId="Web-{87EC33F8-20F9-4A9B-8B0C-47C86D280FAD}" dt="2020-11-23T13:26:53.031" v="3051"/>
          <ac:spMkLst>
            <pc:docMk/>
            <pc:sldMk cId="864202869" sldId="380"/>
            <ac:spMk id="19" creationId="{F2A51824-B11A-4E32-9BF7-E66B7C2D3B35}"/>
          </ac:spMkLst>
        </pc:spChg>
        <pc:spChg chg="mod">
          <ac:chgData name="Zenos Zenica" userId="de3ee720dba36952" providerId="Windows Live" clId="Web-{87EC33F8-20F9-4A9B-8B0C-47C86D280FAD}" dt="2020-11-23T13:26:36.686" v="3039" actId="20577"/>
          <ac:spMkLst>
            <pc:docMk/>
            <pc:sldMk cId="864202869" sldId="380"/>
            <ac:spMk id="21" creationId="{CB4BC806-EF56-4D77-94C0-98A9C8BA5E7C}"/>
          </ac:spMkLst>
        </pc:spChg>
      </pc:sldChg>
      <pc:sldChg chg="modSp add">
        <pc:chgData name="Zenos Zenica" userId="de3ee720dba36952" providerId="Windows Live" clId="Web-{87EC33F8-20F9-4A9B-8B0C-47C86D280FAD}" dt="2020-11-23T13:33:34.339" v="3203" actId="20577"/>
        <pc:sldMkLst>
          <pc:docMk/>
          <pc:sldMk cId="4095727054" sldId="381"/>
        </pc:sldMkLst>
        <pc:spChg chg="mod">
          <ac:chgData name="Zenos Zenica" userId="de3ee720dba36952" providerId="Windows Live" clId="Web-{87EC33F8-20F9-4A9B-8B0C-47C86D280FAD}" dt="2020-11-23T13:33:34.339" v="3203" actId="20577"/>
          <ac:spMkLst>
            <pc:docMk/>
            <pc:sldMk cId="4095727054" sldId="381"/>
            <ac:spMk id="4" creationId="{B8CB9108-1583-4A1C-846B-3263D00D0833}"/>
          </ac:spMkLst>
        </pc:spChg>
        <pc:spChg chg="mod">
          <ac:chgData name="Zenos Zenica" userId="de3ee720dba36952" providerId="Windows Live" clId="Web-{87EC33F8-20F9-4A9B-8B0C-47C86D280FAD}" dt="2020-11-23T13:31:05.397" v="3169" actId="14100"/>
          <ac:spMkLst>
            <pc:docMk/>
            <pc:sldMk cId="4095727054" sldId="381"/>
            <ac:spMk id="23" creationId="{38CEBAD3-01EC-4FB8-8E56-4B6620A121BF}"/>
          </ac:spMkLst>
        </pc:spChg>
        <pc:spChg chg="mod">
          <ac:chgData name="Zenos Zenica" userId="de3ee720dba36952" providerId="Windows Live" clId="Web-{87EC33F8-20F9-4A9B-8B0C-47C86D280FAD}" dt="2020-11-23T13:31:05.413" v="3170" actId="14100"/>
          <ac:spMkLst>
            <pc:docMk/>
            <pc:sldMk cId="4095727054" sldId="381"/>
            <ac:spMk id="24" creationId="{06CFC4F6-74A8-4DFE-8F0F-7FCD4D96999A}"/>
          </ac:spMkLst>
        </pc:spChg>
        <pc:spChg chg="mod">
          <ac:chgData name="Zenos Zenica" userId="de3ee720dba36952" providerId="Windows Live" clId="Web-{87EC33F8-20F9-4A9B-8B0C-47C86D280FAD}" dt="2020-11-23T13:31:05.428" v="3171" actId="14100"/>
          <ac:spMkLst>
            <pc:docMk/>
            <pc:sldMk cId="4095727054" sldId="381"/>
            <ac:spMk id="25" creationId="{B0FD7098-F76C-477A-B6DD-A166CAFF8710}"/>
          </ac:spMkLst>
        </pc:spChg>
        <pc:spChg chg="mod">
          <ac:chgData name="Zenos Zenica" userId="de3ee720dba36952" providerId="Windows Live" clId="Web-{87EC33F8-20F9-4A9B-8B0C-47C86D280FAD}" dt="2020-11-23T13:31:05.428" v="3172" actId="14100"/>
          <ac:spMkLst>
            <pc:docMk/>
            <pc:sldMk cId="4095727054" sldId="381"/>
            <ac:spMk id="27" creationId="{914D4433-7180-4DE8-9A0F-6C91DC9382F9}"/>
          </ac:spMkLst>
        </pc:spChg>
        <pc:spChg chg="mod">
          <ac:chgData name="Zenos Zenica" userId="de3ee720dba36952" providerId="Windows Live" clId="Web-{87EC33F8-20F9-4A9B-8B0C-47C86D280FAD}" dt="2020-11-23T13:32:17.352" v="3189" actId="1076"/>
          <ac:spMkLst>
            <pc:docMk/>
            <pc:sldMk cId="4095727054" sldId="381"/>
            <ac:spMk id="28" creationId="{503844B9-581D-43F8-AB66-B6B4644929CE}"/>
          </ac:spMkLst>
        </pc:spChg>
        <pc:spChg chg="mod">
          <ac:chgData name="Zenos Zenica" userId="de3ee720dba36952" providerId="Windows Live" clId="Web-{87EC33F8-20F9-4A9B-8B0C-47C86D280FAD}" dt="2020-11-23T13:31:53.633" v="3185" actId="14100"/>
          <ac:spMkLst>
            <pc:docMk/>
            <pc:sldMk cId="4095727054" sldId="381"/>
            <ac:spMk id="29" creationId="{0B443420-F081-4BC0-A70C-B3CC8F948189}"/>
          </ac:spMkLst>
        </pc:spChg>
        <pc:spChg chg="mod">
          <ac:chgData name="Zenos Zenica" userId="de3ee720dba36952" providerId="Windows Live" clId="Web-{87EC33F8-20F9-4A9B-8B0C-47C86D280FAD}" dt="2020-11-23T13:32:05.117" v="3187" actId="14100"/>
          <ac:spMkLst>
            <pc:docMk/>
            <pc:sldMk cId="4095727054" sldId="381"/>
            <ac:spMk id="30" creationId="{3FD3AE5A-1BE1-4E29-8F6D-90DE7E837AE0}"/>
          </ac:spMkLst>
        </pc:spChg>
        <pc:spChg chg="mod">
          <ac:chgData name="Zenos Zenica" userId="de3ee720dba36952" providerId="Windows Live" clId="Web-{87EC33F8-20F9-4A9B-8B0C-47C86D280FAD}" dt="2020-11-23T13:31:05.491" v="3176" actId="14100"/>
          <ac:spMkLst>
            <pc:docMk/>
            <pc:sldMk cId="4095727054" sldId="381"/>
            <ac:spMk id="31" creationId="{9A2A44DC-0DB5-4668-B47A-C8688596BCBD}"/>
          </ac:spMkLst>
        </pc:spChg>
        <pc:spChg chg="mod">
          <ac:chgData name="Zenos Zenica" userId="de3ee720dba36952" providerId="Windows Live" clId="Web-{87EC33F8-20F9-4A9B-8B0C-47C86D280FAD}" dt="2020-11-23T13:31:05.506" v="3177" actId="14100"/>
          <ac:spMkLst>
            <pc:docMk/>
            <pc:sldMk cId="4095727054" sldId="381"/>
            <ac:spMk id="33" creationId="{4A26CA74-E445-4E0B-B9FE-840C8E8A4F43}"/>
          </ac:spMkLst>
        </pc:spChg>
        <pc:spChg chg="mod">
          <ac:chgData name="Zenos Zenica" userId="de3ee720dba36952" providerId="Windows Live" clId="Web-{87EC33F8-20F9-4A9B-8B0C-47C86D280FAD}" dt="2020-11-23T13:32:13.399" v="3188" actId="1076"/>
          <ac:spMkLst>
            <pc:docMk/>
            <pc:sldMk cId="4095727054" sldId="381"/>
            <ac:spMk id="34" creationId="{22AB0BEC-29BD-4F64-B782-0187ABB23EC3}"/>
          </ac:spMkLst>
        </pc:spChg>
        <pc:spChg chg="mod">
          <ac:chgData name="Zenos Zenica" userId="de3ee720dba36952" providerId="Windows Live" clId="Web-{87EC33F8-20F9-4A9B-8B0C-47C86D280FAD}" dt="2020-11-23T13:32:47.290" v="3193" actId="14100"/>
          <ac:spMkLst>
            <pc:docMk/>
            <pc:sldMk cId="4095727054" sldId="381"/>
            <ac:spMk id="35" creationId="{1AE2E2D8-7FFA-4C5F-BCB6-396B14434D86}"/>
          </ac:spMkLst>
        </pc:spChg>
        <pc:spChg chg="mod">
          <ac:chgData name="Zenos Zenica" userId="de3ee720dba36952" providerId="Windows Live" clId="Web-{87EC33F8-20F9-4A9B-8B0C-47C86D280FAD}" dt="2020-11-23T13:33:08.338" v="3196" actId="14100"/>
          <ac:spMkLst>
            <pc:docMk/>
            <pc:sldMk cId="4095727054" sldId="381"/>
            <ac:spMk id="36" creationId="{11CD41B8-E7A0-4BC7-889B-A2AEA92A3D10}"/>
          </ac:spMkLst>
        </pc:spChg>
        <pc:spChg chg="mod">
          <ac:chgData name="Zenos Zenica" userId="de3ee720dba36952" providerId="Windows Live" clId="Web-{87EC33F8-20F9-4A9B-8B0C-47C86D280FAD}" dt="2020-11-23T13:31:10.381" v="3184" actId="14100"/>
          <ac:spMkLst>
            <pc:docMk/>
            <pc:sldMk cId="4095727054" sldId="381"/>
            <ac:spMk id="37" creationId="{6C69C51B-A138-4ECD-B041-3B9DF3EB887E}"/>
          </ac:spMkLst>
        </pc:spChg>
        <pc:spChg chg="mod">
          <ac:chgData name="Zenos Zenica" userId="de3ee720dba36952" providerId="Windows Live" clId="Web-{87EC33F8-20F9-4A9B-8B0C-47C86D280FAD}" dt="2020-11-23T13:31:05.584" v="3182" actId="14100"/>
          <ac:spMkLst>
            <pc:docMk/>
            <pc:sldMk cId="4095727054" sldId="381"/>
            <ac:spMk id="39" creationId="{2A1552D3-2090-4A15-BD98-8D3B0C1215D9}"/>
          </ac:spMkLst>
        </pc:spChg>
        <pc:spChg chg="mod">
          <ac:chgData name="Zenos Zenica" userId="de3ee720dba36952" providerId="Windows Live" clId="Web-{87EC33F8-20F9-4A9B-8B0C-47C86D280FAD}" dt="2020-11-23T13:33:02.385" v="3195" actId="1076"/>
          <ac:spMkLst>
            <pc:docMk/>
            <pc:sldMk cId="4095727054" sldId="381"/>
            <ac:spMk id="40" creationId="{27A142E1-D7BF-483C-98D0-BCD3911C3078}"/>
          </ac:spMkLst>
        </pc:spChg>
      </pc:sldChg>
      <pc:sldChg chg="modSp add">
        <pc:chgData name="Zenos Zenica" userId="de3ee720dba36952" providerId="Windows Live" clId="Web-{87EC33F8-20F9-4A9B-8B0C-47C86D280FAD}" dt="2020-11-23T13:37:42.845" v="3249" actId="20577"/>
        <pc:sldMkLst>
          <pc:docMk/>
          <pc:sldMk cId="3730906223" sldId="382"/>
        </pc:sldMkLst>
        <pc:spChg chg="mod">
          <ac:chgData name="Zenos Zenica" userId="de3ee720dba36952" providerId="Windows Live" clId="Web-{87EC33F8-20F9-4A9B-8B0C-47C86D280FAD}" dt="2020-11-23T13:37:42.845" v="3249" actId="20577"/>
          <ac:spMkLst>
            <pc:docMk/>
            <pc:sldMk cId="3730906223" sldId="382"/>
            <ac:spMk id="4" creationId="{B8CB9108-1583-4A1C-846B-3263D00D0833}"/>
          </ac:spMkLst>
        </pc:spChg>
        <pc:spChg chg="mod">
          <ac:chgData name="Zenos Zenica" userId="de3ee720dba36952" providerId="Windows Live" clId="Web-{87EC33F8-20F9-4A9B-8B0C-47C86D280FAD}" dt="2020-11-23T13:35:59.468" v="3222" actId="1076"/>
          <ac:spMkLst>
            <pc:docMk/>
            <pc:sldMk cId="3730906223" sldId="382"/>
            <ac:spMk id="63" creationId="{090A32C1-11C9-4E5B-8E18-7B19ECEEF201}"/>
          </ac:spMkLst>
        </pc:spChg>
        <pc:spChg chg="mod">
          <ac:chgData name="Zenos Zenica" userId="de3ee720dba36952" providerId="Windows Live" clId="Web-{87EC33F8-20F9-4A9B-8B0C-47C86D280FAD}" dt="2020-11-23T13:35:25.873" v="3215" actId="1076"/>
          <ac:spMkLst>
            <pc:docMk/>
            <pc:sldMk cId="3730906223" sldId="382"/>
            <ac:spMk id="64" creationId="{DF9B471D-2D31-4257-87A0-9702833E1C64}"/>
          </ac:spMkLst>
        </pc:spChg>
        <pc:spChg chg="mod">
          <ac:chgData name="Zenos Zenica" userId="de3ee720dba36952" providerId="Windows Live" clId="Web-{87EC33F8-20F9-4A9B-8B0C-47C86D280FAD}" dt="2020-11-23T13:36:04.530" v="3223" actId="1076"/>
          <ac:spMkLst>
            <pc:docMk/>
            <pc:sldMk cId="3730906223" sldId="382"/>
            <ac:spMk id="66" creationId="{6A9CA847-1C3D-45E5-9C4F-D5433FA6AEF5}"/>
          </ac:spMkLst>
        </pc:spChg>
        <pc:spChg chg="mod">
          <ac:chgData name="Zenos Zenica" userId="de3ee720dba36952" providerId="Windows Live" clId="Web-{87EC33F8-20F9-4A9B-8B0C-47C86D280FAD}" dt="2020-11-23T13:36:44.703" v="3234" actId="20577"/>
          <ac:spMkLst>
            <pc:docMk/>
            <pc:sldMk cId="3730906223" sldId="382"/>
            <ac:spMk id="67" creationId="{DF46AECD-160B-43F4-BBF2-A6B450C361AB}"/>
          </ac:spMkLst>
        </pc:spChg>
        <pc:spChg chg="mod">
          <ac:chgData name="Zenos Zenica" userId="de3ee720dba36952" providerId="Windows Live" clId="Web-{87EC33F8-20F9-4A9B-8B0C-47C86D280FAD}" dt="2020-11-23T13:36:51.203" v="3237" actId="1076"/>
          <ac:spMkLst>
            <pc:docMk/>
            <pc:sldMk cId="3730906223" sldId="382"/>
            <ac:spMk id="69" creationId="{E38030BA-FEEE-4C86-85F0-81F39C8E24D7}"/>
          </ac:spMkLst>
        </pc:spChg>
        <pc:spChg chg="mod">
          <ac:chgData name="Zenos Zenica" userId="de3ee720dba36952" providerId="Windows Live" clId="Web-{87EC33F8-20F9-4A9B-8B0C-47C86D280FAD}" dt="2020-11-23T13:37:12.454" v="3240" actId="1076"/>
          <ac:spMkLst>
            <pc:docMk/>
            <pc:sldMk cId="3730906223" sldId="382"/>
            <ac:spMk id="70" creationId="{89C24A82-1F5E-4E90-8368-81AE7A79BCA4}"/>
          </ac:spMkLst>
        </pc:spChg>
        <pc:grpChg chg="mod">
          <ac:chgData name="Zenos Zenica" userId="de3ee720dba36952" providerId="Windows Live" clId="Web-{87EC33F8-20F9-4A9B-8B0C-47C86D280FAD}" dt="2020-11-23T13:34:54.231" v="3205" actId="1076"/>
          <ac:grpSpMkLst>
            <pc:docMk/>
            <pc:sldMk cId="3730906223" sldId="382"/>
            <ac:grpSpMk id="5" creationId="{37CB6D36-4C3D-45A7-A36D-042A32271E56}"/>
          </ac:grpSpMkLst>
        </pc:grpChg>
      </pc:sldChg>
      <pc:sldChg chg="modSp add">
        <pc:chgData name="Zenos Zenica" userId="de3ee720dba36952" providerId="Windows Live" clId="Web-{87EC33F8-20F9-4A9B-8B0C-47C86D280FAD}" dt="2020-11-23T13:45:12.405" v="3359" actId="1076"/>
        <pc:sldMkLst>
          <pc:docMk/>
          <pc:sldMk cId="555467006" sldId="383"/>
        </pc:sldMkLst>
        <pc:spChg chg="mod">
          <ac:chgData name="Zenos Zenica" userId="de3ee720dba36952" providerId="Windows Live" clId="Web-{87EC33F8-20F9-4A9B-8B0C-47C86D280FAD}" dt="2020-11-23T13:45:12.405" v="3359" actId="1076"/>
          <ac:spMkLst>
            <pc:docMk/>
            <pc:sldMk cId="555467006" sldId="383"/>
            <ac:spMk id="4" creationId="{B8CB9108-1583-4A1C-846B-3263D00D0833}"/>
          </ac:spMkLst>
        </pc:spChg>
        <pc:spChg chg="mod">
          <ac:chgData name="Zenos Zenica" userId="de3ee720dba36952" providerId="Windows Live" clId="Web-{87EC33F8-20F9-4A9B-8B0C-47C86D280FAD}" dt="2020-11-23T13:44:23.794" v="3347" actId="1076"/>
          <ac:spMkLst>
            <pc:docMk/>
            <pc:sldMk cId="555467006" sldId="383"/>
            <ac:spMk id="68" creationId="{4C178A3B-186B-4F5B-A13F-89D47B3955CE}"/>
          </ac:spMkLst>
        </pc:spChg>
        <pc:spChg chg="mod">
          <ac:chgData name="Zenos Zenica" userId="de3ee720dba36952" providerId="Windows Live" clId="Web-{87EC33F8-20F9-4A9B-8B0C-47C86D280FAD}" dt="2020-11-23T13:44:19.981" v="3346" actId="1076"/>
          <ac:spMkLst>
            <pc:docMk/>
            <pc:sldMk cId="555467006" sldId="383"/>
            <ac:spMk id="71" creationId="{02E605D7-241B-4C88-9438-1300EB47C0F2}"/>
          </ac:spMkLst>
        </pc:spChg>
        <pc:spChg chg="mod">
          <ac:chgData name="Zenos Zenica" userId="de3ee720dba36952" providerId="Windows Live" clId="Web-{87EC33F8-20F9-4A9B-8B0C-47C86D280FAD}" dt="2020-11-23T13:44:15.809" v="3345" actId="1076"/>
          <ac:spMkLst>
            <pc:docMk/>
            <pc:sldMk cId="555467006" sldId="383"/>
            <ac:spMk id="72" creationId="{55FF8A2F-2739-4B2B-8F20-1475B64E1D35}"/>
          </ac:spMkLst>
        </pc:spChg>
        <pc:grpChg chg="mod">
          <ac:chgData name="Zenos Zenica" userId="de3ee720dba36952" providerId="Windows Live" clId="Web-{87EC33F8-20F9-4A9B-8B0C-47C86D280FAD}" dt="2020-11-23T13:43:51.153" v="3339" actId="14100"/>
          <ac:grpSpMkLst>
            <pc:docMk/>
            <pc:sldMk cId="555467006" sldId="383"/>
            <ac:grpSpMk id="7" creationId="{3D5012A7-9541-40B7-91B7-F89B38B3DA02}"/>
          </ac:grpSpMkLst>
        </pc:grpChg>
      </pc:sldChg>
      <pc:sldChg chg="modSp add">
        <pc:chgData name="Zenos Zenica" userId="de3ee720dba36952" providerId="Windows Live" clId="Web-{87EC33F8-20F9-4A9B-8B0C-47C86D280FAD}" dt="2020-11-23T13:45:42.859" v="3388"/>
        <pc:sldMkLst>
          <pc:docMk/>
          <pc:sldMk cId="4174632747" sldId="384"/>
        </pc:sldMkLst>
        <pc:spChg chg="mod">
          <ac:chgData name="Zenos Zenica" userId="de3ee720dba36952" providerId="Windows Live" clId="Web-{87EC33F8-20F9-4A9B-8B0C-47C86D280FAD}" dt="2020-11-23T13:45:29.358" v="3365" actId="14100"/>
          <ac:spMkLst>
            <pc:docMk/>
            <pc:sldMk cId="4174632747" sldId="384"/>
            <ac:spMk id="4" creationId="{B8CB9108-1583-4A1C-846B-3263D00D0833}"/>
          </ac:spMkLst>
        </pc:spChg>
        <pc:spChg chg="mod">
          <ac:chgData name="Zenos Zenica" userId="de3ee720dba36952" providerId="Windows Live" clId="Web-{87EC33F8-20F9-4A9B-8B0C-47C86D280FAD}" dt="2020-11-23T13:45:42.546" v="3366"/>
          <ac:spMkLst>
            <pc:docMk/>
            <pc:sldMk cId="4174632747" sldId="384"/>
            <ac:spMk id="22" creationId="{E4B66A95-D654-43EA-80E1-38CC105C151F}"/>
          </ac:spMkLst>
        </pc:spChg>
        <pc:spChg chg="mod">
          <ac:chgData name="Zenos Zenica" userId="de3ee720dba36952" providerId="Windows Live" clId="Web-{87EC33F8-20F9-4A9B-8B0C-47C86D280FAD}" dt="2020-11-23T13:45:42.562" v="3367"/>
          <ac:spMkLst>
            <pc:docMk/>
            <pc:sldMk cId="4174632747" sldId="384"/>
            <ac:spMk id="35" creationId="{7442D6C5-DB40-45E0-9B08-31DF2805A2FF}"/>
          </ac:spMkLst>
        </pc:spChg>
        <pc:spChg chg="mod">
          <ac:chgData name="Zenos Zenica" userId="de3ee720dba36952" providerId="Windows Live" clId="Web-{87EC33F8-20F9-4A9B-8B0C-47C86D280FAD}" dt="2020-11-23T13:45:42.593" v="3368"/>
          <ac:spMkLst>
            <pc:docMk/>
            <pc:sldMk cId="4174632747" sldId="384"/>
            <ac:spMk id="36" creationId="{C1BE49CB-7129-4538-ACD6-2A72AE5EC5FC}"/>
          </ac:spMkLst>
        </pc:spChg>
        <pc:spChg chg="mod">
          <ac:chgData name="Zenos Zenica" userId="de3ee720dba36952" providerId="Windows Live" clId="Web-{87EC33F8-20F9-4A9B-8B0C-47C86D280FAD}" dt="2020-11-23T13:45:42.609" v="3369"/>
          <ac:spMkLst>
            <pc:docMk/>
            <pc:sldMk cId="4174632747" sldId="384"/>
            <ac:spMk id="37" creationId="{B3845CA6-FE40-468E-84EF-B544B7323DE2}"/>
          </ac:spMkLst>
        </pc:spChg>
        <pc:spChg chg="mod">
          <ac:chgData name="Zenos Zenica" userId="de3ee720dba36952" providerId="Windows Live" clId="Web-{87EC33F8-20F9-4A9B-8B0C-47C86D280FAD}" dt="2020-11-23T13:45:42.640" v="3370"/>
          <ac:spMkLst>
            <pc:docMk/>
            <pc:sldMk cId="4174632747" sldId="384"/>
            <ac:spMk id="38" creationId="{158A44F4-BE30-4C85-88F1-F39BDC01810A}"/>
          </ac:spMkLst>
        </pc:spChg>
        <pc:spChg chg="mod">
          <ac:chgData name="Zenos Zenica" userId="de3ee720dba36952" providerId="Windows Live" clId="Web-{87EC33F8-20F9-4A9B-8B0C-47C86D280FAD}" dt="2020-11-23T13:45:42.656" v="3371"/>
          <ac:spMkLst>
            <pc:docMk/>
            <pc:sldMk cId="4174632747" sldId="384"/>
            <ac:spMk id="39" creationId="{91485255-9400-4F1C-B104-8CF92688DF50}"/>
          </ac:spMkLst>
        </pc:spChg>
        <pc:spChg chg="mod">
          <ac:chgData name="Zenos Zenica" userId="de3ee720dba36952" providerId="Windows Live" clId="Web-{87EC33F8-20F9-4A9B-8B0C-47C86D280FAD}" dt="2020-11-23T13:45:42.671" v="3372"/>
          <ac:spMkLst>
            <pc:docMk/>
            <pc:sldMk cId="4174632747" sldId="384"/>
            <ac:spMk id="40" creationId="{7703EE77-9BA1-4056-AE15-DBAEBE2071E9}"/>
          </ac:spMkLst>
        </pc:spChg>
        <pc:spChg chg="mod">
          <ac:chgData name="Zenos Zenica" userId="de3ee720dba36952" providerId="Windows Live" clId="Web-{87EC33F8-20F9-4A9B-8B0C-47C86D280FAD}" dt="2020-11-23T13:45:42.702" v="3373"/>
          <ac:spMkLst>
            <pc:docMk/>
            <pc:sldMk cId="4174632747" sldId="384"/>
            <ac:spMk id="41" creationId="{507D20F4-78ED-4CFE-9978-4830087A5916}"/>
          </ac:spMkLst>
        </pc:spChg>
        <pc:spChg chg="mod">
          <ac:chgData name="Zenos Zenica" userId="de3ee720dba36952" providerId="Windows Live" clId="Web-{87EC33F8-20F9-4A9B-8B0C-47C86D280FAD}" dt="2020-11-23T13:45:42.702" v="3374"/>
          <ac:spMkLst>
            <pc:docMk/>
            <pc:sldMk cId="4174632747" sldId="384"/>
            <ac:spMk id="42" creationId="{67686590-C4FF-4F64-9189-C9A9E843A6E0}"/>
          </ac:spMkLst>
        </pc:spChg>
        <pc:spChg chg="mod">
          <ac:chgData name="Zenos Zenica" userId="de3ee720dba36952" providerId="Windows Live" clId="Web-{87EC33F8-20F9-4A9B-8B0C-47C86D280FAD}" dt="2020-11-23T13:45:42.718" v="3375"/>
          <ac:spMkLst>
            <pc:docMk/>
            <pc:sldMk cId="4174632747" sldId="384"/>
            <ac:spMk id="43" creationId="{AAD62CF3-10D6-4A44-A78A-C28D416FC7FE}"/>
          </ac:spMkLst>
        </pc:spChg>
        <pc:spChg chg="mod">
          <ac:chgData name="Zenos Zenica" userId="de3ee720dba36952" providerId="Windows Live" clId="Web-{87EC33F8-20F9-4A9B-8B0C-47C86D280FAD}" dt="2020-11-23T13:45:42.734" v="3376"/>
          <ac:spMkLst>
            <pc:docMk/>
            <pc:sldMk cId="4174632747" sldId="384"/>
            <ac:spMk id="44" creationId="{61D4D171-72E0-42A9-A19D-295F8F7D2A48}"/>
          </ac:spMkLst>
        </pc:spChg>
        <pc:spChg chg="mod">
          <ac:chgData name="Zenos Zenica" userId="de3ee720dba36952" providerId="Windows Live" clId="Web-{87EC33F8-20F9-4A9B-8B0C-47C86D280FAD}" dt="2020-11-23T13:45:42.734" v="3377"/>
          <ac:spMkLst>
            <pc:docMk/>
            <pc:sldMk cId="4174632747" sldId="384"/>
            <ac:spMk id="45" creationId="{9CAF8C97-3835-4EA6-B18D-3646BCC60F4F}"/>
          </ac:spMkLst>
        </pc:spChg>
        <pc:spChg chg="mod">
          <ac:chgData name="Zenos Zenica" userId="de3ee720dba36952" providerId="Windows Live" clId="Web-{87EC33F8-20F9-4A9B-8B0C-47C86D280FAD}" dt="2020-11-23T13:45:42.749" v="3378"/>
          <ac:spMkLst>
            <pc:docMk/>
            <pc:sldMk cId="4174632747" sldId="384"/>
            <ac:spMk id="46" creationId="{C44F0BA4-6F0A-4E6C-A6E8-F464941BEB25}"/>
          </ac:spMkLst>
        </pc:spChg>
        <pc:spChg chg="mod">
          <ac:chgData name="Zenos Zenica" userId="de3ee720dba36952" providerId="Windows Live" clId="Web-{87EC33F8-20F9-4A9B-8B0C-47C86D280FAD}" dt="2020-11-23T13:45:42.765" v="3379"/>
          <ac:spMkLst>
            <pc:docMk/>
            <pc:sldMk cId="4174632747" sldId="384"/>
            <ac:spMk id="47" creationId="{04F3E5A4-5FCD-4757-ADD3-B1DF04258E9E}"/>
          </ac:spMkLst>
        </pc:spChg>
        <pc:spChg chg="mod">
          <ac:chgData name="Zenos Zenica" userId="de3ee720dba36952" providerId="Windows Live" clId="Web-{87EC33F8-20F9-4A9B-8B0C-47C86D280FAD}" dt="2020-11-23T13:45:42.765" v="3380"/>
          <ac:spMkLst>
            <pc:docMk/>
            <pc:sldMk cId="4174632747" sldId="384"/>
            <ac:spMk id="48" creationId="{F8841DF6-E419-4E6A-A29B-98DFC9605C1F}"/>
          </ac:spMkLst>
        </pc:spChg>
        <pc:spChg chg="mod">
          <ac:chgData name="Zenos Zenica" userId="de3ee720dba36952" providerId="Windows Live" clId="Web-{87EC33F8-20F9-4A9B-8B0C-47C86D280FAD}" dt="2020-11-23T13:45:42.781" v="3381"/>
          <ac:spMkLst>
            <pc:docMk/>
            <pc:sldMk cId="4174632747" sldId="384"/>
            <ac:spMk id="49" creationId="{50A92525-86A1-40EA-826E-8D9D1ECA95DB}"/>
          </ac:spMkLst>
        </pc:spChg>
        <pc:spChg chg="mod">
          <ac:chgData name="Zenos Zenica" userId="de3ee720dba36952" providerId="Windows Live" clId="Web-{87EC33F8-20F9-4A9B-8B0C-47C86D280FAD}" dt="2020-11-23T13:45:42.796" v="3382"/>
          <ac:spMkLst>
            <pc:docMk/>
            <pc:sldMk cId="4174632747" sldId="384"/>
            <ac:spMk id="50" creationId="{0E7235BF-4B45-439B-B230-26D0F9055693}"/>
          </ac:spMkLst>
        </pc:spChg>
        <pc:spChg chg="mod">
          <ac:chgData name="Zenos Zenica" userId="de3ee720dba36952" providerId="Windows Live" clId="Web-{87EC33F8-20F9-4A9B-8B0C-47C86D280FAD}" dt="2020-11-23T13:45:42.796" v="3383"/>
          <ac:spMkLst>
            <pc:docMk/>
            <pc:sldMk cId="4174632747" sldId="384"/>
            <ac:spMk id="51" creationId="{437B0A34-5B92-4B02-AB25-5D7C3FCDEDA4}"/>
          </ac:spMkLst>
        </pc:spChg>
        <pc:spChg chg="mod">
          <ac:chgData name="Zenos Zenica" userId="de3ee720dba36952" providerId="Windows Live" clId="Web-{87EC33F8-20F9-4A9B-8B0C-47C86D280FAD}" dt="2020-11-23T13:45:42.812" v="3384"/>
          <ac:spMkLst>
            <pc:docMk/>
            <pc:sldMk cId="4174632747" sldId="384"/>
            <ac:spMk id="53" creationId="{4E79DDAA-2D4D-447E-BBAA-883C7E0D2CC9}"/>
          </ac:spMkLst>
        </pc:spChg>
        <pc:spChg chg="mod">
          <ac:chgData name="Zenos Zenica" userId="de3ee720dba36952" providerId="Windows Live" clId="Web-{87EC33F8-20F9-4A9B-8B0C-47C86D280FAD}" dt="2020-11-23T13:45:42.827" v="3385"/>
          <ac:spMkLst>
            <pc:docMk/>
            <pc:sldMk cId="4174632747" sldId="384"/>
            <ac:spMk id="55" creationId="{1D5B14D5-CE68-4515-A196-24A70F7D6D21}"/>
          </ac:spMkLst>
        </pc:spChg>
        <pc:spChg chg="mod">
          <ac:chgData name="Zenos Zenica" userId="de3ee720dba36952" providerId="Windows Live" clId="Web-{87EC33F8-20F9-4A9B-8B0C-47C86D280FAD}" dt="2020-11-23T13:45:42.827" v="3386"/>
          <ac:spMkLst>
            <pc:docMk/>
            <pc:sldMk cId="4174632747" sldId="384"/>
            <ac:spMk id="57" creationId="{4D6AECCD-62E8-4EFB-94F4-3D92B0888DEE}"/>
          </ac:spMkLst>
        </pc:spChg>
        <pc:spChg chg="mod">
          <ac:chgData name="Zenos Zenica" userId="de3ee720dba36952" providerId="Windows Live" clId="Web-{87EC33F8-20F9-4A9B-8B0C-47C86D280FAD}" dt="2020-11-23T13:45:42.843" v="3387"/>
          <ac:spMkLst>
            <pc:docMk/>
            <pc:sldMk cId="4174632747" sldId="384"/>
            <ac:spMk id="59" creationId="{DE4507BB-C188-4784-9874-5CDBC3F09A61}"/>
          </ac:spMkLst>
        </pc:spChg>
        <pc:spChg chg="mod">
          <ac:chgData name="Zenos Zenica" userId="de3ee720dba36952" providerId="Windows Live" clId="Web-{87EC33F8-20F9-4A9B-8B0C-47C86D280FAD}" dt="2020-11-23T13:45:42.859" v="3388"/>
          <ac:spMkLst>
            <pc:docMk/>
            <pc:sldMk cId="4174632747" sldId="384"/>
            <ac:spMk id="61" creationId="{BA6CD509-1097-470E-8B93-628628669957}"/>
          </ac:spMkLst>
        </pc:spChg>
      </pc:sldChg>
      <pc:sldChg chg="add">
        <pc:chgData name="Zenos Zenica" userId="de3ee720dba36952" providerId="Windows Live" clId="Web-{87EC33F8-20F9-4A9B-8B0C-47C86D280FAD}" dt="2020-11-23T11:56:53.132" v="1570"/>
        <pc:sldMkLst>
          <pc:docMk/>
          <pc:sldMk cId="3720050404" sldId="385"/>
        </pc:sldMkLst>
      </pc:sldChg>
      <pc:sldChg chg="modSp add">
        <pc:chgData name="Zenos Zenica" userId="de3ee720dba36952" providerId="Windows Live" clId="Web-{87EC33F8-20F9-4A9B-8B0C-47C86D280FAD}" dt="2020-11-23T12:59:21.188" v="2586"/>
        <pc:sldMkLst>
          <pc:docMk/>
          <pc:sldMk cId="520614005" sldId="386"/>
        </pc:sldMkLst>
        <pc:spChg chg="mod">
          <ac:chgData name="Zenos Zenica" userId="de3ee720dba36952" providerId="Windows Live" clId="Web-{87EC33F8-20F9-4A9B-8B0C-47C86D280FAD}" dt="2020-11-23T12:56:49.406" v="2554" actId="20577"/>
          <ac:spMkLst>
            <pc:docMk/>
            <pc:sldMk cId="520614005" sldId="386"/>
            <ac:spMk id="4" creationId="{B8CB9108-1583-4A1C-846B-3263D00D0833}"/>
          </ac:spMkLst>
        </pc:spChg>
        <pc:graphicFrameChg chg="mod modGraphic">
          <ac:chgData name="Zenos Zenica" userId="de3ee720dba36952" providerId="Windows Live" clId="Web-{87EC33F8-20F9-4A9B-8B0C-47C86D280FAD}" dt="2020-11-23T12:59:21.188" v="2586"/>
          <ac:graphicFrameMkLst>
            <pc:docMk/>
            <pc:sldMk cId="520614005" sldId="386"/>
            <ac:graphicFrameMk id="3" creationId="{C1559540-4AE0-4200-867B-8DF9AE0D32A0}"/>
          </ac:graphicFrameMkLst>
        </pc:graphicFrameChg>
      </pc:sldChg>
      <pc:sldChg chg="add del">
        <pc:chgData name="Zenos Zenica" userId="de3ee720dba36952" providerId="Windows Live" clId="Web-{87EC33F8-20F9-4A9B-8B0C-47C86D280FAD}" dt="2020-11-23T13:29:49.223" v="3120"/>
        <pc:sldMkLst>
          <pc:docMk/>
          <pc:sldMk cId="352624858" sldId="387"/>
        </pc:sldMkLst>
      </pc:sldChg>
      <pc:sldChg chg="add del">
        <pc:chgData name="Zenos Zenica" userId="de3ee720dba36952" providerId="Windows Live" clId="Web-{87EC33F8-20F9-4A9B-8B0C-47C86D280FAD}" dt="2020-11-23T13:29:26.707" v="3116"/>
        <pc:sldMkLst>
          <pc:docMk/>
          <pc:sldMk cId="3038238164" sldId="387"/>
        </pc:sldMkLst>
      </pc:sldChg>
      <pc:sldChg chg="modSp add">
        <pc:chgData name="Zenos Zenica" userId="de3ee720dba36952" providerId="Windows Live" clId="Web-{87EC33F8-20F9-4A9B-8B0C-47C86D280FAD}" dt="2020-11-23T13:53:20.496" v="3430" actId="1076"/>
        <pc:sldMkLst>
          <pc:docMk/>
          <pc:sldMk cId="3367601027" sldId="387"/>
        </pc:sldMkLst>
        <pc:spChg chg="mod">
          <ac:chgData name="Zenos Zenica" userId="de3ee720dba36952" providerId="Windows Live" clId="Web-{87EC33F8-20F9-4A9B-8B0C-47C86D280FAD}" dt="2020-11-23T13:52:19.167" v="3402" actId="20577"/>
          <ac:spMkLst>
            <pc:docMk/>
            <pc:sldMk cId="3367601027" sldId="387"/>
            <ac:spMk id="4" creationId="{B8CB9108-1583-4A1C-846B-3263D00D0833}"/>
          </ac:spMkLst>
        </pc:spChg>
        <pc:spChg chg="mod">
          <ac:chgData name="Zenos Zenica" userId="de3ee720dba36952" providerId="Windows Live" clId="Web-{87EC33F8-20F9-4A9B-8B0C-47C86D280FAD}" dt="2020-11-23T13:53:20.496" v="3430" actId="1076"/>
          <ac:spMkLst>
            <pc:docMk/>
            <pc:sldMk cId="3367601027" sldId="387"/>
            <ac:spMk id="10" creationId="{A06627C5-88FD-435D-BB87-B92048E4396C}"/>
          </ac:spMkLst>
        </pc:spChg>
        <pc:spChg chg="mod">
          <ac:chgData name="Zenos Zenica" userId="de3ee720dba36952" providerId="Windows Live" clId="Web-{87EC33F8-20F9-4A9B-8B0C-47C86D280FAD}" dt="2020-11-23T13:52:29.198" v="3404"/>
          <ac:spMkLst>
            <pc:docMk/>
            <pc:sldMk cId="3367601027" sldId="387"/>
            <ac:spMk id="15" creationId="{526B4135-23D6-4306-8400-BB39290940B0}"/>
          </ac:spMkLst>
        </pc:spChg>
        <pc:spChg chg="mod">
          <ac:chgData name="Zenos Zenica" userId="de3ee720dba36952" providerId="Windows Live" clId="Web-{87EC33F8-20F9-4A9B-8B0C-47C86D280FAD}" dt="2020-11-23T13:53:11.887" v="3428" actId="1076"/>
          <ac:spMkLst>
            <pc:docMk/>
            <pc:sldMk cId="3367601027" sldId="387"/>
            <ac:spMk id="27" creationId="{EF53EEEF-79F1-4264-B7C1-76A10BA92A62}"/>
          </ac:spMkLst>
        </pc:spChg>
        <pc:spChg chg="mod">
          <ac:chgData name="Zenos Zenica" userId="de3ee720dba36952" providerId="Windows Live" clId="Web-{87EC33F8-20F9-4A9B-8B0C-47C86D280FAD}" dt="2020-11-23T13:53:00.652" v="3426" actId="1076"/>
          <ac:spMkLst>
            <pc:docMk/>
            <pc:sldMk cId="3367601027" sldId="387"/>
            <ac:spMk id="28" creationId="{30C7381B-19C1-4ECB-BEA3-DE9F770B261C}"/>
          </ac:spMkLst>
        </pc:spChg>
        <pc:spChg chg="mod">
          <ac:chgData name="Zenos Zenica" userId="de3ee720dba36952" providerId="Windows Live" clId="Web-{87EC33F8-20F9-4A9B-8B0C-47C86D280FAD}" dt="2020-11-23T13:52:29.229" v="3405"/>
          <ac:spMkLst>
            <pc:docMk/>
            <pc:sldMk cId="3367601027" sldId="387"/>
            <ac:spMk id="30" creationId="{A88E5632-6724-4CC5-B3FB-CEE38EF09E12}"/>
          </ac:spMkLst>
        </pc:spChg>
        <pc:spChg chg="mod">
          <ac:chgData name="Zenos Zenica" userId="de3ee720dba36952" providerId="Windows Live" clId="Web-{87EC33F8-20F9-4A9B-8B0C-47C86D280FAD}" dt="2020-11-23T13:52:29.261" v="3406"/>
          <ac:spMkLst>
            <pc:docMk/>
            <pc:sldMk cId="3367601027" sldId="387"/>
            <ac:spMk id="31" creationId="{531FB429-A8ED-42D6-ACF6-984197945835}"/>
          </ac:spMkLst>
        </pc:spChg>
        <pc:spChg chg="mod">
          <ac:chgData name="Zenos Zenica" userId="de3ee720dba36952" providerId="Windows Live" clId="Web-{87EC33F8-20F9-4A9B-8B0C-47C86D280FAD}" dt="2020-11-23T13:52:29.292" v="3407"/>
          <ac:spMkLst>
            <pc:docMk/>
            <pc:sldMk cId="3367601027" sldId="387"/>
            <ac:spMk id="32" creationId="{B443DE50-BA9B-460A-A652-D0F8510F1834}"/>
          </ac:spMkLst>
        </pc:spChg>
        <pc:spChg chg="mod">
          <ac:chgData name="Zenos Zenica" userId="de3ee720dba36952" providerId="Windows Live" clId="Web-{87EC33F8-20F9-4A9B-8B0C-47C86D280FAD}" dt="2020-11-23T13:52:29.323" v="3408"/>
          <ac:spMkLst>
            <pc:docMk/>
            <pc:sldMk cId="3367601027" sldId="387"/>
            <ac:spMk id="33" creationId="{50327453-A0C8-4C9C-A723-F5A62964C464}"/>
          </ac:spMkLst>
        </pc:spChg>
        <pc:spChg chg="mod">
          <ac:chgData name="Zenos Zenica" userId="de3ee720dba36952" providerId="Windows Live" clId="Web-{87EC33F8-20F9-4A9B-8B0C-47C86D280FAD}" dt="2020-11-23T13:52:29.354" v="3409"/>
          <ac:spMkLst>
            <pc:docMk/>
            <pc:sldMk cId="3367601027" sldId="387"/>
            <ac:spMk id="34" creationId="{537DCA4C-4D2D-4D1D-AE30-09FF1596835C}"/>
          </ac:spMkLst>
        </pc:spChg>
        <pc:spChg chg="mod">
          <ac:chgData name="Zenos Zenica" userId="de3ee720dba36952" providerId="Windows Live" clId="Web-{87EC33F8-20F9-4A9B-8B0C-47C86D280FAD}" dt="2020-11-23T13:52:29.636" v="3420"/>
          <ac:spMkLst>
            <pc:docMk/>
            <pc:sldMk cId="3367601027" sldId="387"/>
            <ac:spMk id="35" creationId="{8A4B0004-94E4-4748-A797-4D663671AD6C}"/>
          </ac:spMkLst>
        </pc:spChg>
        <pc:spChg chg="mod">
          <ac:chgData name="Zenos Zenica" userId="de3ee720dba36952" providerId="Windows Live" clId="Web-{87EC33F8-20F9-4A9B-8B0C-47C86D280FAD}" dt="2020-11-23T13:52:29.651" v="3421"/>
          <ac:spMkLst>
            <pc:docMk/>
            <pc:sldMk cId="3367601027" sldId="387"/>
            <ac:spMk id="36" creationId="{CC71196F-2C0B-4DCD-9E00-FC75CF1AD994}"/>
          </ac:spMkLst>
        </pc:spChg>
        <pc:spChg chg="mod">
          <ac:chgData name="Zenos Zenica" userId="de3ee720dba36952" providerId="Windows Live" clId="Web-{87EC33F8-20F9-4A9B-8B0C-47C86D280FAD}" dt="2020-11-23T13:52:29.667" v="3422"/>
          <ac:spMkLst>
            <pc:docMk/>
            <pc:sldMk cId="3367601027" sldId="387"/>
            <ac:spMk id="37" creationId="{4A73DF15-608B-4BC8-98BD-F90F6B33AD29}"/>
          </ac:spMkLst>
        </pc:spChg>
        <pc:spChg chg="mod">
          <ac:chgData name="Zenos Zenica" userId="de3ee720dba36952" providerId="Windows Live" clId="Web-{87EC33F8-20F9-4A9B-8B0C-47C86D280FAD}" dt="2020-11-23T13:52:29.682" v="3423"/>
          <ac:spMkLst>
            <pc:docMk/>
            <pc:sldMk cId="3367601027" sldId="387"/>
            <ac:spMk id="39" creationId="{6F8CC65D-E60B-48B9-B839-B5188A172BAD}"/>
          </ac:spMkLst>
        </pc:spChg>
        <pc:spChg chg="mod">
          <ac:chgData name="Zenos Zenica" userId="de3ee720dba36952" providerId="Windows Live" clId="Web-{87EC33F8-20F9-4A9B-8B0C-47C86D280FAD}" dt="2020-11-23T13:52:29.698" v="3424"/>
          <ac:spMkLst>
            <pc:docMk/>
            <pc:sldMk cId="3367601027" sldId="387"/>
            <ac:spMk id="40" creationId="{6CF10598-6013-4248-ACD6-86B7163CCC06}"/>
          </ac:spMkLst>
        </pc:spChg>
        <pc:spChg chg="mod">
          <ac:chgData name="Zenos Zenica" userId="de3ee720dba36952" providerId="Windows Live" clId="Web-{87EC33F8-20F9-4A9B-8B0C-47C86D280FAD}" dt="2020-11-23T13:52:29.401" v="3410"/>
          <ac:spMkLst>
            <pc:docMk/>
            <pc:sldMk cId="3367601027" sldId="387"/>
            <ac:spMk id="52" creationId="{D21437F2-7788-475D-A847-654AFFC9E153}"/>
          </ac:spMkLst>
        </pc:spChg>
        <pc:spChg chg="mod">
          <ac:chgData name="Zenos Zenica" userId="de3ee720dba36952" providerId="Windows Live" clId="Web-{87EC33F8-20F9-4A9B-8B0C-47C86D280FAD}" dt="2020-11-23T13:52:29.432" v="3411"/>
          <ac:spMkLst>
            <pc:docMk/>
            <pc:sldMk cId="3367601027" sldId="387"/>
            <ac:spMk id="54" creationId="{2C2C73FE-884C-46E1-A7CB-4A65BC769DEA}"/>
          </ac:spMkLst>
        </pc:spChg>
        <pc:spChg chg="mod">
          <ac:chgData name="Zenos Zenica" userId="de3ee720dba36952" providerId="Windows Live" clId="Web-{87EC33F8-20F9-4A9B-8B0C-47C86D280FAD}" dt="2020-11-23T13:52:29.464" v="3412"/>
          <ac:spMkLst>
            <pc:docMk/>
            <pc:sldMk cId="3367601027" sldId="387"/>
            <ac:spMk id="56" creationId="{6C78DFA9-BB51-4F51-9F88-BAF6956964B1}"/>
          </ac:spMkLst>
        </pc:spChg>
        <pc:spChg chg="mod">
          <ac:chgData name="Zenos Zenica" userId="de3ee720dba36952" providerId="Windows Live" clId="Web-{87EC33F8-20F9-4A9B-8B0C-47C86D280FAD}" dt="2020-11-23T13:52:29.495" v="3413"/>
          <ac:spMkLst>
            <pc:docMk/>
            <pc:sldMk cId="3367601027" sldId="387"/>
            <ac:spMk id="58" creationId="{63DD5497-D8F0-4473-B27A-7281CAA7F43F}"/>
          </ac:spMkLst>
        </pc:spChg>
        <pc:spChg chg="mod">
          <ac:chgData name="Zenos Zenica" userId="de3ee720dba36952" providerId="Windows Live" clId="Web-{87EC33F8-20F9-4A9B-8B0C-47C86D280FAD}" dt="2020-11-23T13:52:29.511" v="3414"/>
          <ac:spMkLst>
            <pc:docMk/>
            <pc:sldMk cId="3367601027" sldId="387"/>
            <ac:spMk id="60" creationId="{E8BB1ED0-F2B0-4475-95CD-4B2E132753CB}"/>
          </ac:spMkLst>
        </pc:spChg>
        <pc:spChg chg="mod">
          <ac:chgData name="Zenos Zenica" userId="de3ee720dba36952" providerId="Windows Live" clId="Web-{87EC33F8-20F9-4A9B-8B0C-47C86D280FAD}" dt="2020-11-23T13:52:29.557" v="3415"/>
          <ac:spMkLst>
            <pc:docMk/>
            <pc:sldMk cId="3367601027" sldId="387"/>
            <ac:spMk id="62" creationId="{65B2C7D8-E80F-4A1E-817F-D0ED9661347A}"/>
          </ac:spMkLst>
        </pc:spChg>
        <pc:spChg chg="mod">
          <ac:chgData name="Zenos Zenica" userId="de3ee720dba36952" providerId="Windows Live" clId="Web-{87EC33F8-20F9-4A9B-8B0C-47C86D280FAD}" dt="2020-11-23T13:52:29.589" v="3416"/>
          <ac:spMkLst>
            <pc:docMk/>
            <pc:sldMk cId="3367601027" sldId="387"/>
            <ac:spMk id="63" creationId="{19159016-EDE8-4FC2-8ED1-3166DAD0A143}"/>
          </ac:spMkLst>
        </pc:spChg>
      </pc:sldChg>
      <pc:sldChg chg="modSp add">
        <pc:chgData name="Zenos Zenica" userId="de3ee720dba36952" providerId="Windows Live" clId="Web-{87EC33F8-20F9-4A9B-8B0C-47C86D280FAD}" dt="2020-11-23T13:53:55.154" v="3449"/>
        <pc:sldMkLst>
          <pc:docMk/>
          <pc:sldMk cId="364719658" sldId="388"/>
        </pc:sldMkLst>
        <pc:spChg chg="mod">
          <ac:chgData name="Zenos Zenica" userId="de3ee720dba36952" providerId="Windows Live" clId="Web-{87EC33F8-20F9-4A9B-8B0C-47C86D280FAD}" dt="2020-11-23T13:53:44.888" v="3437" actId="1076"/>
          <ac:spMkLst>
            <pc:docMk/>
            <pc:sldMk cId="364719658" sldId="388"/>
            <ac:spMk id="4" creationId="{B8CB9108-1583-4A1C-846B-3263D00D0833}"/>
          </ac:spMkLst>
        </pc:spChg>
        <pc:spChg chg="mod">
          <ac:chgData name="Zenos Zenica" userId="de3ee720dba36952" providerId="Windows Live" clId="Web-{87EC33F8-20F9-4A9B-8B0C-47C86D280FAD}" dt="2020-11-23T13:53:54.997" v="3438"/>
          <ac:spMkLst>
            <pc:docMk/>
            <pc:sldMk cId="364719658" sldId="388"/>
            <ac:spMk id="66" creationId="{4BDB9038-0C3C-45F5-9807-93F150471EA9}"/>
          </ac:spMkLst>
        </pc:spChg>
        <pc:spChg chg="mod">
          <ac:chgData name="Zenos Zenica" userId="de3ee720dba36952" providerId="Windows Live" clId="Web-{87EC33F8-20F9-4A9B-8B0C-47C86D280FAD}" dt="2020-11-23T13:53:55.013" v="3439"/>
          <ac:spMkLst>
            <pc:docMk/>
            <pc:sldMk cId="364719658" sldId="388"/>
            <ac:spMk id="67" creationId="{C214A02F-34E0-452E-84EF-D2ED0290BFB8}"/>
          </ac:spMkLst>
        </pc:spChg>
        <pc:spChg chg="mod">
          <ac:chgData name="Zenos Zenica" userId="de3ee720dba36952" providerId="Windows Live" clId="Web-{87EC33F8-20F9-4A9B-8B0C-47C86D280FAD}" dt="2020-11-23T13:53:55.029" v="3440"/>
          <ac:spMkLst>
            <pc:docMk/>
            <pc:sldMk cId="364719658" sldId="388"/>
            <ac:spMk id="68" creationId="{668596EC-B052-4373-AAB3-926755114F2D}"/>
          </ac:spMkLst>
        </pc:spChg>
        <pc:spChg chg="mod">
          <ac:chgData name="Zenos Zenica" userId="de3ee720dba36952" providerId="Windows Live" clId="Web-{87EC33F8-20F9-4A9B-8B0C-47C86D280FAD}" dt="2020-11-23T13:53:55.044" v="3441"/>
          <ac:spMkLst>
            <pc:docMk/>
            <pc:sldMk cId="364719658" sldId="388"/>
            <ac:spMk id="69" creationId="{137038A8-095B-4F12-B618-A83D07635F06}"/>
          </ac:spMkLst>
        </pc:spChg>
        <pc:spChg chg="mod">
          <ac:chgData name="Zenos Zenica" userId="de3ee720dba36952" providerId="Windows Live" clId="Web-{87EC33F8-20F9-4A9B-8B0C-47C86D280FAD}" dt="2020-11-23T13:53:55.060" v="3442"/>
          <ac:spMkLst>
            <pc:docMk/>
            <pc:sldMk cId="364719658" sldId="388"/>
            <ac:spMk id="70" creationId="{80C32724-4FB7-44FC-BA7A-F584A81CF91B}"/>
          </ac:spMkLst>
        </pc:spChg>
        <pc:spChg chg="mod">
          <ac:chgData name="Zenos Zenica" userId="de3ee720dba36952" providerId="Windows Live" clId="Web-{87EC33F8-20F9-4A9B-8B0C-47C86D280FAD}" dt="2020-11-23T13:53:55.075" v="3443"/>
          <ac:spMkLst>
            <pc:docMk/>
            <pc:sldMk cId="364719658" sldId="388"/>
            <ac:spMk id="71" creationId="{A040C607-6976-45CD-8963-0302E006F692}"/>
          </ac:spMkLst>
        </pc:spChg>
        <pc:spChg chg="mod">
          <ac:chgData name="Zenos Zenica" userId="de3ee720dba36952" providerId="Windows Live" clId="Web-{87EC33F8-20F9-4A9B-8B0C-47C86D280FAD}" dt="2020-11-23T13:53:55.091" v="3444"/>
          <ac:spMkLst>
            <pc:docMk/>
            <pc:sldMk cId="364719658" sldId="388"/>
            <ac:spMk id="72" creationId="{68EAEF29-F9B8-4195-93ED-C9C63581AFBB}"/>
          </ac:spMkLst>
        </pc:spChg>
        <pc:spChg chg="mod">
          <ac:chgData name="Zenos Zenica" userId="de3ee720dba36952" providerId="Windows Live" clId="Web-{87EC33F8-20F9-4A9B-8B0C-47C86D280FAD}" dt="2020-11-23T13:53:55.107" v="3445"/>
          <ac:spMkLst>
            <pc:docMk/>
            <pc:sldMk cId="364719658" sldId="388"/>
            <ac:spMk id="73" creationId="{6C3A1E9A-2274-45FC-979C-00A786B7ACB7}"/>
          </ac:spMkLst>
        </pc:spChg>
        <pc:spChg chg="mod">
          <ac:chgData name="Zenos Zenica" userId="de3ee720dba36952" providerId="Windows Live" clId="Web-{87EC33F8-20F9-4A9B-8B0C-47C86D280FAD}" dt="2020-11-23T13:53:55.107" v="3446"/>
          <ac:spMkLst>
            <pc:docMk/>
            <pc:sldMk cId="364719658" sldId="388"/>
            <ac:spMk id="74" creationId="{76830284-E2DD-490C-B1C5-02A4F0AEFD8C}"/>
          </ac:spMkLst>
        </pc:spChg>
        <pc:spChg chg="mod">
          <ac:chgData name="Zenos Zenica" userId="de3ee720dba36952" providerId="Windows Live" clId="Web-{87EC33F8-20F9-4A9B-8B0C-47C86D280FAD}" dt="2020-11-23T13:53:55.122" v="3447"/>
          <ac:spMkLst>
            <pc:docMk/>
            <pc:sldMk cId="364719658" sldId="388"/>
            <ac:spMk id="75" creationId="{EAD05D6E-DC3E-43DE-B19D-9D2DFB7B2E6F}"/>
          </ac:spMkLst>
        </pc:spChg>
        <pc:spChg chg="mod">
          <ac:chgData name="Zenos Zenica" userId="de3ee720dba36952" providerId="Windows Live" clId="Web-{87EC33F8-20F9-4A9B-8B0C-47C86D280FAD}" dt="2020-11-23T13:53:55.138" v="3448"/>
          <ac:spMkLst>
            <pc:docMk/>
            <pc:sldMk cId="364719658" sldId="388"/>
            <ac:spMk id="76" creationId="{055A1FD5-0306-4806-976C-61DD24969DAF}"/>
          </ac:spMkLst>
        </pc:spChg>
        <pc:spChg chg="mod">
          <ac:chgData name="Zenos Zenica" userId="de3ee720dba36952" providerId="Windows Live" clId="Web-{87EC33F8-20F9-4A9B-8B0C-47C86D280FAD}" dt="2020-11-23T13:53:55.154" v="3449"/>
          <ac:spMkLst>
            <pc:docMk/>
            <pc:sldMk cId="364719658" sldId="388"/>
            <ac:spMk id="77" creationId="{114DB682-C71F-4AAC-A332-DB42F2F3753C}"/>
          </ac:spMkLst>
        </pc:spChg>
      </pc:sldChg>
      <pc:sldChg chg="modSp add">
        <pc:chgData name="Zenos Zenica" userId="de3ee720dba36952" providerId="Windows Live" clId="Web-{87EC33F8-20F9-4A9B-8B0C-47C86D280FAD}" dt="2020-11-23T13:54:22.154" v="3453" actId="20577"/>
        <pc:sldMkLst>
          <pc:docMk/>
          <pc:sldMk cId="574872604" sldId="389"/>
        </pc:sldMkLst>
        <pc:spChg chg="mod">
          <ac:chgData name="Zenos Zenica" userId="de3ee720dba36952" providerId="Windows Live" clId="Web-{87EC33F8-20F9-4A9B-8B0C-47C86D280FAD}" dt="2020-11-23T13:54:22.154" v="3453" actId="20577"/>
          <ac:spMkLst>
            <pc:docMk/>
            <pc:sldMk cId="574872604" sldId="389"/>
            <ac:spMk id="4" creationId="{B8CB9108-1583-4A1C-846B-3263D00D0833}"/>
          </ac:spMkLst>
        </pc:spChg>
      </pc:sldChg>
      <pc:sldChg chg="modSp add">
        <pc:chgData name="Zenos Zenica" userId="de3ee720dba36952" providerId="Windows Live" clId="Web-{87EC33F8-20F9-4A9B-8B0C-47C86D280FAD}" dt="2020-11-23T13:54:52.624" v="3464"/>
        <pc:sldMkLst>
          <pc:docMk/>
          <pc:sldMk cId="847728907" sldId="390"/>
        </pc:sldMkLst>
        <pc:spChg chg="mod">
          <ac:chgData name="Zenos Zenica" userId="de3ee720dba36952" providerId="Windows Live" clId="Web-{87EC33F8-20F9-4A9B-8B0C-47C86D280FAD}" dt="2020-11-23T13:54:44.046" v="3460" actId="14100"/>
          <ac:spMkLst>
            <pc:docMk/>
            <pc:sldMk cId="847728907" sldId="390"/>
            <ac:spMk id="4" creationId="{B8CB9108-1583-4A1C-846B-3263D00D0833}"/>
          </ac:spMkLst>
        </pc:spChg>
        <pc:spChg chg="mod">
          <ac:chgData name="Zenos Zenica" userId="de3ee720dba36952" providerId="Windows Live" clId="Web-{87EC33F8-20F9-4A9B-8B0C-47C86D280FAD}" dt="2020-11-23T13:54:52.593" v="3461"/>
          <ac:spMkLst>
            <pc:docMk/>
            <pc:sldMk cId="847728907" sldId="390"/>
            <ac:spMk id="31" creationId="{787A516F-3FB2-47F1-84A0-CDACB19D7E2C}"/>
          </ac:spMkLst>
        </pc:spChg>
        <pc:spChg chg="mod">
          <ac:chgData name="Zenos Zenica" userId="de3ee720dba36952" providerId="Windows Live" clId="Web-{87EC33F8-20F9-4A9B-8B0C-47C86D280FAD}" dt="2020-11-23T13:54:52.608" v="3462"/>
          <ac:spMkLst>
            <pc:docMk/>
            <pc:sldMk cId="847728907" sldId="390"/>
            <ac:spMk id="32" creationId="{2F6B44A6-77D0-4EB5-BAFA-BC46403239DE}"/>
          </ac:spMkLst>
        </pc:spChg>
        <pc:spChg chg="mod">
          <ac:chgData name="Zenos Zenica" userId="de3ee720dba36952" providerId="Windows Live" clId="Web-{87EC33F8-20F9-4A9B-8B0C-47C86D280FAD}" dt="2020-11-23T13:54:52.608" v="3463"/>
          <ac:spMkLst>
            <pc:docMk/>
            <pc:sldMk cId="847728907" sldId="390"/>
            <ac:spMk id="33" creationId="{75FDE408-36C2-4CE8-B11C-EB4902BAF4FC}"/>
          </ac:spMkLst>
        </pc:spChg>
        <pc:spChg chg="mod">
          <ac:chgData name="Zenos Zenica" userId="de3ee720dba36952" providerId="Windows Live" clId="Web-{87EC33F8-20F9-4A9B-8B0C-47C86D280FAD}" dt="2020-11-23T13:54:52.624" v="3464"/>
          <ac:spMkLst>
            <pc:docMk/>
            <pc:sldMk cId="847728907" sldId="390"/>
            <ac:spMk id="34" creationId="{85A6F7ED-C858-45F7-8C46-0E53E78CC4A7}"/>
          </ac:spMkLst>
        </pc:spChg>
      </pc:sldChg>
      <pc:sldChg chg="modSp add">
        <pc:chgData name="Zenos Zenica" userId="de3ee720dba36952" providerId="Windows Live" clId="Web-{87EC33F8-20F9-4A9B-8B0C-47C86D280FAD}" dt="2020-11-23T13:58:53.943" v="3514" actId="14100"/>
        <pc:sldMkLst>
          <pc:docMk/>
          <pc:sldMk cId="2683792818" sldId="391"/>
        </pc:sldMkLst>
        <pc:spChg chg="mod">
          <ac:chgData name="Zenos Zenica" userId="de3ee720dba36952" providerId="Windows Live" clId="Web-{87EC33F8-20F9-4A9B-8B0C-47C86D280FAD}" dt="2020-11-23T13:55:12.390" v="3465"/>
          <ac:spMkLst>
            <pc:docMk/>
            <pc:sldMk cId="2683792818" sldId="391"/>
            <ac:spMk id="13" creationId="{0BACE9AF-7F41-4D15-9F3F-792178534ADA}"/>
          </ac:spMkLst>
        </pc:spChg>
        <pc:spChg chg="mod">
          <ac:chgData name="Zenos Zenica" userId="de3ee720dba36952" providerId="Windows Live" clId="Web-{87EC33F8-20F9-4A9B-8B0C-47C86D280FAD}" dt="2020-11-23T13:55:12.421" v="3466"/>
          <ac:spMkLst>
            <pc:docMk/>
            <pc:sldMk cId="2683792818" sldId="391"/>
            <ac:spMk id="14" creationId="{E2D48363-1742-4AFD-89EE-C92CE506C8FD}"/>
          </ac:spMkLst>
        </pc:spChg>
        <pc:spChg chg="mod">
          <ac:chgData name="Zenos Zenica" userId="de3ee720dba36952" providerId="Windows Live" clId="Web-{87EC33F8-20F9-4A9B-8B0C-47C86D280FAD}" dt="2020-11-23T13:55:12.437" v="3467"/>
          <ac:spMkLst>
            <pc:docMk/>
            <pc:sldMk cId="2683792818" sldId="391"/>
            <ac:spMk id="15" creationId="{D1DF5FD1-97C5-4D75-85FE-11D5D8129B0C}"/>
          </ac:spMkLst>
        </pc:spChg>
        <pc:spChg chg="mod">
          <ac:chgData name="Zenos Zenica" userId="de3ee720dba36952" providerId="Windows Live" clId="Web-{87EC33F8-20F9-4A9B-8B0C-47C86D280FAD}" dt="2020-11-23T13:55:12.453" v="3468"/>
          <ac:spMkLst>
            <pc:docMk/>
            <pc:sldMk cId="2683792818" sldId="391"/>
            <ac:spMk id="16" creationId="{8C7C11BD-21C7-43E4-B7F4-A19810321CD6}"/>
          </ac:spMkLst>
        </pc:spChg>
        <pc:spChg chg="mod">
          <ac:chgData name="Zenos Zenica" userId="de3ee720dba36952" providerId="Windows Live" clId="Web-{87EC33F8-20F9-4A9B-8B0C-47C86D280FAD}" dt="2020-11-23T13:55:12.484" v="3469"/>
          <ac:spMkLst>
            <pc:docMk/>
            <pc:sldMk cId="2683792818" sldId="391"/>
            <ac:spMk id="17" creationId="{5E43A55B-40EF-49F0-9F68-1D605C2DBEF1}"/>
          </ac:spMkLst>
        </pc:spChg>
        <pc:spChg chg="mod">
          <ac:chgData name="Zenos Zenica" userId="de3ee720dba36952" providerId="Windows Live" clId="Web-{87EC33F8-20F9-4A9B-8B0C-47C86D280FAD}" dt="2020-11-23T13:55:12.500" v="3470"/>
          <ac:spMkLst>
            <pc:docMk/>
            <pc:sldMk cId="2683792818" sldId="391"/>
            <ac:spMk id="18" creationId="{FEB8FBEE-1E07-47D4-AF2A-6CBE248A557F}"/>
          </ac:spMkLst>
        </pc:spChg>
        <pc:spChg chg="mod">
          <ac:chgData name="Zenos Zenica" userId="de3ee720dba36952" providerId="Windows Live" clId="Web-{87EC33F8-20F9-4A9B-8B0C-47C86D280FAD}" dt="2020-11-23T13:55:12.515" v="3471"/>
          <ac:spMkLst>
            <pc:docMk/>
            <pc:sldMk cId="2683792818" sldId="391"/>
            <ac:spMk id="19" creationId="{33F66BD7-A774-46B7-BA70-A06B6EFD57C9}"/>
          </ac:spMkLst>
        </pc:spChg>
        <pc:spChg chg="mod">
          <ac:chgData name="Zenos Zenica" userId="de3ee720dba36952" providerId="Windows Live" clId="Web-{87EC33F8-20F9-4A9B-8B0C-47C86D280FAD}" dt="2020-11-23T13:55:37.438" v="3493" actId="1076"/>
          <ac:spMkLst>
            <pc:docMk/>
            <pc:sldMk cId="2683792818" sldId="391"/>
            <ac:spMk id="20" creationId="{502AEBD1-80D4-40F3-97AB-3ADAA4B3EB4A}"/>
          </ac:spMkLst>
        </pc:spChg>
        <pc:spChg chg="mod">
          <ac:chgData name="Zenos Zenica" userId="de3ee720dba36952" providerId="Windows Live" clId="Web-{87EC33F8-20F9-4A9B-8B0C-47C86D280FAD}" dt="2020-11-23T13:55:12.562" v="3473"/>
          <ac:spMkLst>
            <pc:docMk/>
            <pc:sldMk cId="2683792818" sldId="391"/>
            <ac:spMk id="21" creationId="{54853689-670C-4AA0-8DE7-5E657961A817}"/>
          </ac:spMkLst>
        </pc:spChg>
        <pc:spChg chg="mod">
          <ac:chgData name="Zenos Zenica" userId="de3ee720dba36952" providerId="Windows Live" clId="Web-{87EC33F8-20F9-4A9B-8B0C-47C86D280FAD}" dt="2020-11-23T13:55:12.578" v="3474"/>
          <ac:spMkLst>
            <pc:docMk/>
            <pc:sldMk cId="2683792818" sldId="391"/>
            <ac:spMk id="22" creationId="{FF6A3ABE-83D1-4F1F-BFF7-EC585C5F4B91}"/>
          </ac:spMkLst>
        </pc:spChg>
        <pc:spChg chg="mod">
          <ac:chgData name="Zenos Zenica" userId="de3ee720dba36952" providerId="Windows Live" clId="Web-{87EC33F8-20F9-4A9B-8B0C-47C86D280FAD}" dt="2020-11-23T13:55:41.641" v="3494" actId="1076"/>
          <ac:spMkLst>
            <pc:docMk/>
            <pc:sldMk cId="2683792818" sldId="391"/>
            <ac:spMk id="23" creationId="{1C910CB4-5F1D-449C-A515-9EA96DA34472}"/>
          </ac:spMkLst>
        </pc:spChg>
        <pc:spChg chg="mod">
          <ac:chgData name="Zenos Zenica" userId="de3ee720dba36952" providerId="Windows Live" clId="Web-{87EC33F8-20F9-4A9B-8B0C-47C86D280FAD}" dt="2020-11-23T13:55:12.625" v="3476"/>
          <ac:spMkLst>
            <pc:docMk/>
            <pc:sldMk cId="2683792818" sldId="391"/>
            <ac:spMk id="25" creationId="{95F273B7-F633-43FB-95F5-033CAE9B6A41}"/>
          </ac:spMkLst>
        </pc:spChg>
        <pc:spChg chg="mod">
          <ac:chgData name="Zenos Zenica" userId="de3ee720dba36952" providerId="Windows Live" clId="Web-{87EC33F8-20F9-4A9B-8B0C-47C86D280FAD}" dt="2020-11-23T13:55:12.640" v="3477"/>
          <ac:spMkLst>
            <pc:docMk/>
            <pc:sldMk cId="2683792818" sldId="391"/>
            <ac:spMk id="26" creationId="{9E64CF08-E778-4F38-AFD2-EC0E68F1C5AD}"/>
          </ac:spMkLst>
        </pc:spChg>
        <pc:spChg chg="mod">
          <ac:chgData name="Zenos Zenica" userId="de3ee720dba36952" providerId="Windows Live" clId="Web-{87EC33F8-20F9-4A9B-8B0C-47C86D280FAD}" dt="2020-11-23T13:55:12.656" v="3478"/>
          <ac:spMkLst>
            <pc:docMk/>
            <pc:sldMk cId="2683792818" sldId="391"/>
            <ac:spMk id="28" creationId="{077607D7-7F26-41A7-AC4B-A92B2785268A}"/>
          </ac:spMkLst>
        </pc:spChg>
        <pc:spChg chg="mod">
          <ac:chgData name="Zenos Zenica" userId="de3ee720dba36952" providerId="Windows Live" clId="Web-{87EC33F8-20F9-4A9B-8B0C-47C86D280FAD}" dt="2020-11-23T13:55:12.687" v="3479"/>
          <ac:spMkLst>
            <pc:docMk/>
            <pc:sldMk cId="2683792818" sldId="391"/>
            <ac:spMk id="29" creationId="{85A83096-DF76-4356-97D7-EC0ADBB28862}"/>
          </ac:spMkLst>
        </pc:spChg>
        <pc:spChg chg="mod">
          <ac:chgData name="Zenos Zenica" userId="de3ee720dba36952" providerId="Windows Live" clId="Web-{87EC33F8-20F9-4A9B-8B0C-47C86D280FAD}" dt="2020-11-23T13:58:53.881" v="3511" actId="14100"/>
          <ac:spMkLst>
            <pc:docMk/>
            <pc:sldMk cId="2683792818" sldId="391"/>
            <ac:spMk id="31" creationId="{787A516F-3FB2-47F1-84A0-CDACB19D7E2C}"/>
          </ac:spMkLst>
        </pc:spChg>
        <pc:spChg chg="mod">
          <ac:chgData name="Zenos Zenica" userId="de3ee720dba36952" providerId="Windows Live" clId="Web-{87EC33F8-20F9-4A9B-8B0C-47C86D280FAD}" dt="2020-11-23T13:58:53.896" v="3512" actId="14100"/>
          <ac:spMkLst>
            <pc:docMk/>
            <pc:sldMk cId="2683792818" sldId="391"/>
            <ac:spMk id="32" creationId="{2F6B44A6-77D0-4EB5-BAFA-BC46403239DE}"/>
          </ac:spMkLst>
        </pc:spChg>
        <pc:spChg chg="mod">
          <ac:chgData name="Zenos Zenica" userId="de3ee720dba36952" providerId="Windows Live" clId="Web-{87EC33F8-20F9-4A9B-8B0C-47C86D280FAD}" dt="2020-11-23T13:58:53.928" v="3513" actId="14100"/>
          <ac:spMkLst>
            <pc:docMk/>
            <pc:sldMk cId="2683792818" sldId="391"/>
            <ac:spMk id="33" creationId="{75FDE408-36C2-4CE8-B11C-EB4902BAF4FC}"/>
          </ac:spMkLst>
        </pc:spChg>
        <pc:spChg chg="mod">
          <ac:chgData name="Zenos Zenica" userId="de3ee720dba36952" providerId="Windows Live" clId="Web-{87EC33F8-20F9-4A9B-8B0C-47C86D280FAD}" dt="2020-11-23T13:58:53.943" v="3514" actId="14100"/>
          <ac:spMkLst>
            <pc:docMk/>
            <pc:sldMk cId="2683792818" sldId="391"/>
            <ac:spMk id="34" creationId="{85A6F7ED-C858-45F7-8C46-0E53E78CC4A7}"/>
          </ac:spMkLst>
        </pc:spChg>
        <pc:spChg chg="mod">
          <ac:chgData name="Zenos Zenica" userId="de3ee720dba36952" providerId="Windows Live" clId="Web-{87EC33F8-20F9-4A9B-8B0C-47C86D280FAD}" dt="2020-11-23T13:55:12.703" v="3480"/>
          <ac:spMkLst>
            <pc:docMk/>
            <pc:sldMk cId="2683792818" sldId="391"/>
            <ac:spMk id="35" creationId="{CB2C17B0-F551-4135-9ED8-26344AF6ADB3}"/>
          </ac:spMkLst>
        </pc:spChg>
        <pc:spChg chg="mod">
          <ac:chgData name="Zenos Zenica" userId="de3ee720dba36952" providerId="Windows Live" clId="Web-{87EC33F8-20F9-4A9B-8B0C-47C86D280FAD}" dt="2020-11-23T13:55:12.734" v="3481"/>
          <ac:spMkLst>
            <pc:docMk/>
            <pc:sldMk cId="2683792818" sldId="391"/>
            <ac:spMk id="36" creationId="{74CBBA61-D167-4CFE-9C35-9F18001BF992}"/>
          </ac:spMkLst>
        </pc:spChg>
        <pc:spChg chg="mod">
          <ac:chgData name="Zenos Zenica" userId="de3ee720dba36952" providerId="Windows Live" clId="Web-{87EC33F8-20F9-4A9B-8B0C-47C86D280FAD}" dt="2020-11-23T13:55:12.750" v="3482"/>
          <ac:spMkLst>
            <pc:docMk/>
            <pc:sldMk cId="2683792818" sldId="391"/>
            <ac:spMk id="37" creationId="{AA258434-424C-4C3E-B9A5-8CA63008B7B9}"/>
          </ac:spMkLst>
        </pc:spChg>
        <pc:spChg chg="mod">
          <ac:chgData name="Zenos Zenica" userId="de3ee720dba36952" providerId="Windows Live" clId="Web-{87EC33F8-20F9-4A9B-8B0C-47C86D280FAD}" dt="2020-11-23T13:56:24.892" v="3502" actId="1076"/>
          <ac:spMkLst>
            <pc:docMk/>
            <pc:sldMk cId="2683792818" sldId="391"/>
            <ac:spMk id="38" creationId="{69452073-79CA-4F6F-9942-8DEFA5D35732}"/>
          </ac:spMkLst>
        </pc:spChg>
        <pc:spChg chg="mod">
          <ac:chgData name="Zenos Zenica" userId="de3ee720dba36952" providerId="Windows Live" clId="Web-{87EC33F8-20F9-4A9B-8B0C-47C86D280FAD}" dt="2020-11-23T13:55:12.796" v="3484"/>
          <ac:spMkLst>
            <pc:docMk/>
            <pc:sldMk cId="2683792818" sldId="391"/>
            <ac:spMk id="39" creationId="{5D485E5C-9773-4749-B661-88A9CEB1F25D}"/>
          </ac:spMkLst>
        </pc:spChg>
        <pc:spChg chg="mod">
          <ac:chgData name="Zenos Zenica" userId="de3ee720dba36952" providerId="Windows Live" clId="Web-{87EC33F8-20F9-4A9B-8B0C-47C86D280FAD}" dt="2020-11-23T13:55:51.469" v="3496" actId="1076"/>
          <ac:spMkLst>
            <pc:docMk/>
            <pc:sldMk cId="2683792818" sldId="391"/>
            <ac:spMk id="40" creationId="{5C3A15BE-0EFC-42A9-A023-EA77458217E4}"/>
          </ac:spMkLst>
        </pc:spChg>
        <pc:spChg chg="mod">
          <ac:chgData name="Zenos Zenica" userId="de3ee720dba36952" providerId="Windows Live" clId="Web-{87EC33F8-20F9-4A9B-8B0C-47C86D280FAD}" dt="2020-11-23T13:55:59.266" v="3497" actId="1076"/>
          <ac:spMkLst>
            <pc:docMk/>
            <pc:sldMk cId="2683792818" sldId="391"/>
            <ac:spMk id="41" creationId="{3C0D22FB-A412-438A-96BC-80EE73FBC9EF}"/>
          </ac:spMkLst>
        </pc:spChg>
        <pc:spChg chg="mod">
          <ac:chgData name="Zenos Zenica" userId="de3ee720dba36952" providerId="Windows Live" clId="Web-{87EC33F8-20F9-4A9B-8B0C-47C86D280FAD}" dt="2020-11-23T13:55:12.859" v="3487"/>
          <ac:spMkLst>
            <pc:docMk/>
            <pc:sldMk cId="2683792818" sldId="391"/>
            <ac:spMk id="42" creationId="{77064EE9-DD0F-4092-B53F-0E9F2ECFA4CE}"/>
          </ac:spMkLst>
        </pc:spChg>
        <pc:spChg chg="mod">
          <ac:chgData name="Zenos Zenica" userId="de3ee720dba36952" providerId="Windows Live" clId="Web-{87EC33F8-20F9-4A9B-8B0C-47C86D280FAD}" dt="2020-11-23T13:55:12.875" v="3488"/>
          <ac:spMkLst>
            <pc:docMk/>
            <pc:sldMk cId="2683792818" sldId="391"/>
            <ac:spMk id="43" creationId="{818AEE50-C750-49E5-B349-66656EF2FA6A}"/>
          </ac:spMkLst>
        </pc:spChg>
        <pc:spChg chg="mod">
          <ac:chgData name="Zenos Zenica" userId="de3ee720dba36952" providerId="Windows Live" clId="Web-{87EC33F8-20F9-4A9B-8B0C-47C86D280FAD}" dt="2020-11-23T13:55:12.906" v="3489"/>
          <ac:spMkLst>
            <pc:docMk/>
            <pc:sldMk cId="2683792818" sldId="391"/>
            <ac:spMk id="44" creationId="{AED8DEAC-7968-4F02-8C93-52369387BF95}"/>
          </ac:spMkLst>
        </pc:spChg>
        <pc:spChg chg="mod">
          <ac:chgData name="Zenos Zenica" userId="de3ee720dba36952" providerId="Windows Live" clId="Web-{87EC33F8-20F9-4A9B-8B0C-47C86D280FAD}" dt="2020-11-23T13:56:51.596" v="3504" actId="1076"/>
          <ac:spMkLst>
            <pc:docMk/>
            <pc:sldMk cId="2683792818" sldId="391"/>
            <ac:spMk id="45" creationId="{4D24F9B9-66EA-40B2-8EE6-FCBF476897A4}"/>
          </ac:spMkLst>
        </pc:spChg>
        <pc:spChg chg="mod">
          <ac:chgData name="Zenos Zenica" userId="de3ee720dba36952" providerId="Windows Live" clId="Web-{87EC33F8-20F9-4A9B-8B0C-47C86D280FAD}" dt="2020-11-23T13:57:04.128" v="3506" actId="1076"/>
          <ac:spMkLst>
            <pc:docMk/>
            <pc:sldMk cId="2683792818" sldId="391"/>
            <ac:spMk id="46" creationId="{10F4FA76-8FA2-4F55-B622-F3A135FAA57C}"/>
          </ac:spMkLst>
        </pc:spChg>
        <pc:spChg chg="mod">
          <ac:chgData name="Zenos Zenica" userId="de3ee720dba36952" providerId="Windows Live" clId="Web-{87EC33F8-20F9-4A9B-8B0C-47C86D280FAD}" dt="2020-11-23T13:56:03.907" v="3499" actId="20577"/>
          <ac:spMkLst>
            <pc:docMk/>
            <pc:sldMk cId="2683792818" sldId="391"/>
            <ac:spMk id="47" creationId="{499B5E48-05D6-4A5C-A2E5-A600052A9300}"/>
          </ac:spMkLst>
        </pc:spChg>
        <pc:spChg chg="mod">
          <ac:chgData name="Zenos Zenica" userId="de3ee720dba36952" providerId="Windows Live" clId="Web-{87EC33F8-20F9-4A9B-8B0C-47C86D280FAD}" dt="2020-11-23T13:56:55.252" v="3505" actId="1076"/>
          <ac:spMkLst>
            <pc:docMk/>
            <pc:sldMk cId="2683792818" sldId="391"/>
            <ac:spMk id="48" creationId="{53AE72BE-87A5-48C4-A4E3-C02A0854B2ED}"/>
          </ac:spMkLst>
        </pc:spChg>
      </pc:sldChg>
      <pc:sldChg chg="modSp add">
        <pc:chgData name="Zenos Zenica" userId="de3ee720dba36952" providerId="Windows Live" clId="Web-{87EC33F8-20F9-4A9B-8B0C-47C86D280FAD}" dt="2020-11-23T14:02:51.544" v="3558"/>
        <pc:sldMkLst>
          <pc:docMk/>
          <pc:sldMk cId="290454378" sldId="392"/>
        </pc:sldMkLst>
        <pc:spChg chg="mod">
          <ac:chgData name="Zenos Zenica" userId="de3ee720dba36952" providerId="Windows Live" clId="Web-{87EC33F8-20F9-4A9B-8B0C-47C86D280FAD}" dt="2020-11-23T13:59:12.834" v="3519" actId="14100"/>
          <ac:spMkLst>
            <pc:docMk/>
            <pc:sldMk cId="290454378" sldId="392"/>
            <ac:spMk id="8" creationId="{8D3CFE89-0CA2-4EBF-B1F7-AF161C8F15DD}"/>
          </ac:spMkLst>
        </pc:spChg>
        <pc:spChg chg="mod">
          <ac:chgData name="Zenos Zenica" userId="de3ee720dba36952" providerId="Windows Live" clId="Web-{87EC33F8-20F9-4A9B-8B0C-47C86D280FAD}" dt="2020-11-23T13:59:12.866" v="3520" actId="14100"/>
          <ac:spMkLst>
            <pc:docMk/>
            <pc:sldMk cId="290454378" sldId="392"/>
            <ac:spMk id="9" creationId="{893FAEC4-2DB4-429D-8C58-AE0CEF9CEC1A}"/>
          </ac:spMkLst>
        </pc:spChg>
        <pc:spChg chg="mod">
          <ac:chgData name="Zenos Zenica" userId="de3ee720dba36952" providerId="Windows Live" clId="Web-{87EC33F8-20F9-4A9B-8B0C-47C86D280FAD}" dt="2020-11-23T13:59:12.897" v="3521" actId="14100"/>
          <ac:spMkLst>
            <pc:docMk/>
            <pc:sldMk cId="290454378" sldId="392"/>
            <ac:spMk id="10" creationId="{D2D5F525-D269-4C68-B325-230A5E013AE5}"/>
          </ac:spMkLst>
        </pc:spChg>
        <pc:spChg chg="mod">
          <ac:chgData name="Zenos Zenica" userId="de3ee720dba36952" providerId="Windows Live" clId="Web-{87EC33F8-20F9-4A9B-8B0C-47C86D280FAD}" dt="2020-11-23T13:59:12.912" v="3522" actId="14100"/>
          <ac:spMkLst>
            <pc:docMk/>
            <pc:sldMk cId="290454378" sldId="392"/>
            <ac:spMk id="11" creationId="{A210C3BA-4774-44EC-9EF4-4B3AE245BA21}"/>
          </ac:spMkLst>
        </pc:spChg>
        <pc:graphicFrameChg chg="mod modGraphic">
          <ac:chgData name="Zenos Zenica" userId="de3ee720dba36952" providerId="Windows Live" clId="Web-{87EC33F8-20F9-4A9B-8B0C-47C86D280FAD}" dt="2020-11-23T14:02:27.980" v="3554" actId="1076"/>
          <ac:graphicFrameMkLst>
            <pc:docMk/>
            <pc:sldMk cId="290454378" sldId="392"/>
            <ac:graphicFrameMk id="4" creationId="{01C1D72E-FD22-45AD-A30F-785743AB96E4}"/>
          </ac:graphicFrameMkLst>
        </pc:graphicFrameChg>
        <pc:graphicFrameChg chg="mod modGraphic">
          <ac:chgData name="Zenos Zenica" userId="de3ee720dba36952" providerId="Windows Live" clId="Web-{87EC33F8-20F9-4A9B-8B0C-47C86D280FAD}" dt="2020-11-23T14:02:51.544" v="3558"/>
          <ac:graphicFrameMkLst>
            <pc:docMk/>
            <pc:sldMk cId="290454378" sldId="392"/>
            <ac:graphicFrameMk id="49" creationId="{18FF2411-B706-43CD-8727-E0D63D64C286}"/>
          </ac:graphicFrameMkLst>
        </pc:graphicFrameChg>
        <pc:graphicFrameChg chg="mod modGraphic">
          <ac:chgData name="Zenos Zenica" userId="de3ee720dba36952" providerId="Windows Live" clId="Web-{87EC33F8-20F9-4A9B-8B0C-47C86D280FAD}" dt="2020-11-23T14:02:34.277" v="3555" actId="1076"/>
          <ac:graphicFrameMkLst>
            <pc:docMk/>
            <pc:sldMk cId="290454378" sldId="392"/>
            <ac:graphicFrameMk id="50" creationId="{C7E6BFC0-C38F-4248-B6CB-8CA4FC20622C}"/>
          </ac:graphicFrameMkLst>
        </pc:graphicFrameChg>
        <pc:graphicFrameChg chg="mod modGraphic">
          <ac:chgData name="Zenos Zenica" userId="de3ee720dba36952" providerId="Windows Live" clId="Web-{87EC33F8-20F9-4A9B-8B0C-47C86D280FAD}" dt="2020-11-23T14:02:38.465" v="3556" actId="1076"/>
          <ac:graphicFrameMkLst>
            <pc:docMk/>
            <pc:sldMk cId="290454378" sldId="392"/>
            <ac:graphicFrameMk id="51" creationId="{90FEEE21-C77E-4561-B87D-E4130D310B00}"/>
          </ac:graphicFrameMkLst>
        </pc:graphicFrameChg>
      </pc:sldChg>
      <pc:sldChg chg="modSp add">
        <pc:chgData name="Zenos Zenica" userId="de3ee720dba36952" providerId="Windows Live" clId="Web-{87EC33F8-20F9-4A9B-8B0C-47C86D280FAD}" dt="2020-11-23T14:03:29.232" v="3572" actId="20577"/>
        <pc:sldMkLst>
          <pc:docMk/>
          <pc:sldMk cId="1424811875" sldId="393"/>
        </pc:sldMkLst>
        <pc:spChg chg="mod">
          <ac:chgData name="Zenos Zenica" userId="de3ee720dba36952" providerId="Windows Live" clId="Web-{87EC33F8-20F9-4A9B-8B0C-47C86D280FAD}" dt="2020-11-23T14:03:29.232" v="3572" actId="20577"/>
          <ac:spMkLst>
            <pc:docMk/>
            <pc:sldMk cId="1424811875" sldId="393"/>
            <ac:spMk id="9" creationId="{A3617C8A-FFA1-4F4F-B387-8850E94C4F5B}"/>
          </ac:spMkLst>
        </pc:spChg>
        <pc:graphicFrameChg chg="mod modGraphic">
          <ac:chgData name="Zenos Zenica" userId="de3ee720dba36952" providerId="Windows Live" clId="Web-{87EC33F8-20F9-4A9B-8B0C-47C86D280FAD}" dt="2020-11-23T14:03:24.326" v="3562"/>
          <ac:graphicFrameMkLst>
            <pc:docMk/>
            <pc:sldMk cId="1424811875" sldId="393"/>
            <ac:graphicFrameMk id="4" creationId="{01C1D72E-FD22-45AD-A30F-785743AB96E4}"/>
          </ac:graphicFrameMkLst>
        </pc:graphicFrameChg>
      </pc:sldChg>
      <pc:sldChg chg="modSp add">
        <pc:chgData name="Zenos Zenica" userId="de3ee720dba36952" providerId="Windows Live" clId="Web-{87EC33F8-20F9-4A9B-8B0C-47C86D280FAD}" dt="2020-11-23T14:03:58.592" v="3589" actId="20577"/>
        <pc:sldMkLst>
          <pc:docMk/>
          <pc:sldMk cId="2881815514" sldId="394"/>
        </pc:sldMkLst>
        <pc:spChg chg="mod">
          <ac:chgData name="Zenos Zenica" userId="de3ee720dba36952" providerId="Windows Live" clId="Web-{87EC33F8-20F9-4A9B-8B0C-47C86D280FAD}" dt="2020-11-23T14:03:53.155" v="3586" actId="20577"/>
          <ac:spMkLst>
            <pc:docMk/>
            <pc:sldMk cId="2881815514" sldId="394"/>
            <ac:spMk id="11" creationId="{284B7E81-0F34-47C6-AA1A-7902864A1427}"/>
          </ac:spMkLst>
        </pc:spChg>
        <pc:spChg chg="mod">
          <ac:chgData name="Zenos Zenica" userId="de3ee720dba36952" providerId="Windows Live" clId="Web-{87EC33F8-20F9-4A9B-8B0C-47C86D280FAD}" dt="2020-11-23T14:03:38.435" v="3578" actId="20577"/>
          <ac:spMkLst>
            <pc:docMk/>
            <pc:sldMk cId="2881815514" sldId="394"/>
            <ac:spMk id="16" creationId="{E83E83C3-E01A-44F1-95FF-6540BC8C3EAB}"/>
          </ac:spMkLst>
        </pc:spChg>
        <pc:spChg chg="mod">
          <ac:chgData name="Zenos Zenica" userId="de3ee720dba36952" providerId="Windows Live" clId="Web-{87EC33F8-20F9-4A9B-8B0C-47C86D280FAD}" dt="2020-11-23T14:03:58.592" v="3589" actId="20577"/>
          <ac:spMkLst>
            <pc:docMk/>
            <pc:sldMk cId="2881815514" sldId="394"/>
            <ac:spMk id="18" creationId="{D3B4C848-5FA9-4489-8A6B-A6ADD14D0543}"/>
          </ac:spMkLst>
        </pc:spChg>
        <pc:spChg chg="mod">
          <ac:chgData name="Zenos Zenica" userId="de3ee720dba36952" providerId="Windows Live" clId="Web-{87EC33F8-20F9-4A9B-8B0C-47C86D280FAD}" dt="2020-11-23T14:03:48.279" v="3582" actId="20577"/>
          <ac:spMkLst>
            <pc:docMk/>
            <pc:sldMk cId="2881815514" sldId="394"/>
            <ac:spMk id="23" creationId="{40029B10-5D86-4E1D-87FA-6D028723534F}"/>
          </ac:spMkLst>
        </pc:spChg>
      </pc:sldChg>
      <pc:sldChg chg="modSp add">
        <pc:chgData name="Zenos Zenica" userId="de3ee720dba36952" providerId="Windows Live" clId="Web-{87EC33F8-20F9-4A9B-8B0C-47C86D280FAD}" dt="2020-11-23T14:05:46.705" v="3615" actId="1076"/>
        <pc:sldMkLst>
          <pc:docMk/>
          <pc:sldMk cId="1917379913" sldId="395"/>
        </pc:sldMkLst>
        <pc:spChg chg="mod">
          <ac:chgData name="Zenos Zenica" userId="de3ee720dba36952" providerId="Windows Live" clId="Web-{87EC33F8-20F9-4A9B-8B0C-47C86D280FAD}" dt="2020-11-23T14:05:46.705" v="3615" actId="1076"/>
          <ac:spMkLst>
            <pc:docMk/>
            <pc:sldMk cId="1917379913" sldId="395"/>
            <ac:spMk id="16" creationId="{E83E83C3-E01A-44F1-95FF-6540BC8C3EAB}"/>
          </ac:spMkLst>
        </pc:spChg>
        <pc:spChg chg="mod">
          <ac:chgData name="Zenos Zenica" userId="de3ee720dba36952" providerId="Windows Live" clId="Web-{87EC33F8-20F9-4A9B-8B0C-47C86D280FAD}" dt="2020-11-23T14:04:40.828" v="3594" actId="1076"/>
          <ac:spMkLst>
            <pc:docMk/>
            <pc:sldMk cId="1917379913" sldId="395"/>
            <ac:spMk id="17" creationId="{688E9AD6-F413-406F-8F6C-DE04405AD8E5}"/>
          </ac:spMkLst>
        </pc:spChg>
        <pc:spChg chg="mod">
          <ac:chgData name="Zenos Zenica" userId="de3ee720dba36952" providerId="Windows Live" clId="Web-{87EC33F8-20F9-4A9B-8B0C-47C86D280FAD}" dt="2020-11-23T14:04:36.312" v="3593" actId="1076"/>
          <ac:spMkLst>
            <pc:docMk/>
            <pc:sldMk cId="1917379913" sldId="395"/>
            <ac:spMk id="18" creationId="{561D7EE2-D46A-4A5E-B3DB-D326AF94BAFB}"/>
          </ac:spMkLst>
        </pc:spChg>
        <pc:spChg chg="mod">
          <ac:chgData name="Zenos Zenica" userId="de3ee720dba36952" providerId="Windows Live" clId="Web-{87EC33F8-20F9-4A9B-8B0C-47C86D280FAD}" dt="2020-11-23T14:05:05.438" v="3599" actId="1076"/>
          <ac:spMkLst>
            <pc:docMk/>
            <pc:sldMk cId="1917379913" sldId="395"/>
            <ac:spMk id="19" creationId="{CFDF103C-8F33-4927-8D1E-C63A7BDD4D32}"/>
          </ac:spMkLst>
        </pc:spChg>
        <pc:spChg chg="mod">
          <ac:chgData name="Zenos Zenica" userId="de3ee720dba36952" providerId="Windows Live" clId="Web-{87EC33F8-20F9-4A9B-8B0C-47C86D280FAD}" dt="2020-11-23T14:05:12.438" v="3600" actId="1076"/>
          <ac:spMkLst>
            <pc:docMk/>
            <pc:sldMk cId="1917379913" sldId="395"/>
            <ac:spMk id="26" creationId="{46C2998B-3164-4A16-A246-43DFC73A96DF}"/>
          </ac:spMkLst>
        </pc:spChg>
        <pc:spChg chg="mod">
          <ac:chgData name="Zenos Zenica" userId="de3ee720dba36952" providerId="Windows Live" clId="Web-{87EC33F8-20F9-4A9B-8B0C-47C86D280FAD}" dt="2020-11-23T14:05:17.938" v="3601" actId="1076"/>
          <ac:spMkLst>
            <pc:docMk/>
            <pc:sldMk cId="1917379913" sldId="395"/>
            <ac:spMk id="28" creationId="{A380563E-0AF1-4184-965D-5CBD3D87DE74}"/>
          </ac:spMkLst>
        </pc:spChg>
        <pc:spChg chg="mod">
          <ac:chgData name="Zenos Zenica" userId="de3ee720dba36952" providerId="Windows Live" clId="Web-{87EC33F8-20F9-4A9B-8B0C-47C86D280FAD}" dt="2020-11-23T14:04:30.546" v="3592" actId="1076"/>
          <ac:spMkLst>
            <pc:docMk/>
            <pc:sldMk cId="1917379913" sldId="395"/>
            <ac:spMk id="30" creationId="{E86582D1-C360-40E0-B38C-FFE9CEAEE3E2}"/>
          </ac:spMkLst>
        </pc:spChg>
        <pc:spChg chg="mod">
          <ac:chgData name="Zenos Zenica" userId="de3ee720dba36952" providerId="Windows Live" clId="Web-{87EC33F8-20F9-4A9B-8B0C-47C86D280FAD}" dt="2020-11-23T14:04:50.391" v="3596" actId="1076"/>
          <ac:spMkLst>
            <pc:docMk/>
            <pc:sldMk cId="1917379913" sldId="395"/>
            <ac:spMk id="32" creationId="{48DB6A5B-4FD1-44E6-8E89-DF050B6B456D}"/>
          </ac:spMkLst>
        </pc:spChg>
      </pc:sldChg>
      <pc:sldChg chg="modSp add">
        <pc:chgData name="Zenos Zenica" userId="de3ee720dba36952" providerId="Windows Live" clId="Web-{87EC33F8-20F9-4A9B-8B0C-47C86D280FAD}" dt="2020-11-23T14:05:59.955" v="3619" actId="20577"/>
        <pc:sldMkLst>
          <pc:docMk/>
          <pc:sldMk cId="842252253" sldId="396"/>
        </pc:sldMkLst>
        <pc:spChg chg="mod">
          <ac:chgData name="Zenos Zenica" userId="de3ee720dba36952" providerId="Windows Live" clId="Web-{87EC33F8-20F9-4A9B-8B0C-47C86D280FAD}" dt="2020-11-23T14:05:59.955" v="3619" actId="20577"/>
          <ac:spMkLst>
            <pc:docMk/>
            <pc:sldMk cId="842252253" sldId="396"/>
            <ac:spMk id="16" creationId="{E83E83C3-E01A-44F1-95FF-6540BC8C3EAB}"/>
          </ac:spMkLst>
        </pc:spChg>
      </pc:sldChg>
      <pc:sldMasterChg chg="add addSldLayout">
        <pc:chgData name="Zenos Zenica" userId="de3ee720dba36952" providerId="Windows Live" clId="Web-{87EC33F8-20F9-4A9B-8B0C-47C86D280FAD}" dt="2020-11-23T07:54:35.444" v="0"/>
        <pc:sldMasterMkLst>
          <pc:docMk/>
          <pc:sldMasterMk cId="1233805520" sldId="2147483648"/>
        </pc:sldMasterMkLst>
        <pc:sldLayoutChg chg="add">
          <pc:chgData name="Zenos Zenica" userId="de3ee720dba36952" providerId="Windows Live" clId="Web-{87EC33F8-20F9-4A9B-8B0C-47C86D280FAD}" dt="2020-11-23T07:54:35.444" v="0"/>
          <pc:sldLayoutMkLst>
            <pc:docMk/>
            <pc:sldMasterMk cId="1233805520" sldId="2147483648"/>
            <pc:sldLayoutMk cId="642951318" sldId="2147483687"/>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07"/>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10"/>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14"/>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22"/>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34"/>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2"/>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3"/>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4"/>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5"/>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6"/>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7"/>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8"/>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9"/>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50"/>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51"/>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52"/>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0"/>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2"/>
          </pc:sldLayoutMkLst>
        </pc:sldLayoutChg>
        <pc:sldLayoutChg chg="add">
          <pc:chgData name="Zenos Zenica" userId="de3ee720dba36952" providerId="Windows Live" clId="Web-{87EC33F8-20F9-4A9B-8B0C-47C86D280FAD}" dt="2020-11-23T07:54:35.444" v="0"/>
          <pc:sldLayoutMkLst>
            <pc:docMk/>
            <pc:sldMasterMk cId="1233805520" sldId="2147483648"/>
            <pc:sldLayoutMk cId="676221190" sldId="2147483763"/>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4"/>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5"/>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6"/>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7"/>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8"/>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9"/>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70"/>
          </pc:sldLayoutMkLst>
        </pc:sldLayoutChg>
      </pc:sldMasterChg>
      <pc:sldMasterChg chg="replId">
        <pc:chgData name="Zenos Zenica" userId="de3ee720dba36952" providerId="Windows Live" clId="Web-{87EC33F8-20F9-4A9B-8B0C-47C86D280FAD}" dt="2020-11-23T07:54:35.444" v="0"/>
        <pc:sldMasterMkLst>
          <pc:docMk/>
          <pc:sldMasterMk cId="2527814785" sldId="2147483771"/>
        </pc:sldMasterMkLst>
      </pc:sldMasterChg>
    </pc:docChg>
  </pc:docChgLst>
</pc:chgInfo>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6031209923145062E-2"/>
          <c:w val="0.99625980878847287"/>
          <c:h val="0.96121718115335553"/>
        </c:manualLayout>
      </c:layout>
      <c:bubbleChart>
        <c:varyColors val="0"/>
        <c:ser>
          <c:idx val="0"/>
          <c:order val="0"/>
          <c:spPr>
            <a:solidFill>
              <a:schemeClr val="accent2"/>
            </a:solidFill>
            <a:ln>
              <a:noFill/>
            </a:ln>
            <a:effectLst/>
          </c:spPr>
          <c:invertIfNegative val="0"/>
          <c:xVal>
            <c:numRef>
              <c:f>Tabla1! $A$1:$A$7</c:f>
              <c:numCache>
                <c:formatCode>General</c:formatCode>
                <c:ptCount val="7"/>
                <c:pt idx="1">
                  <c:v>10</c:v>
                </c:pt>
                <c:pt idx="2">
                  <c:v>40</c:v>
                </c:pt>
                <c:pt idx="3">
                  <c:v>30</c:v>
                </c:pt>
                <c:pt idx="4">
                  <c:v>55</c:v>
                </c:pt>
                <c:pt idx="5">
                  <c:v>50</c:v>
                </c:pt>
                <c:pt idx="6">
                  <c:v>70</c:v>
                </c:pt>
              </c:numCache>
            </c:numRef>
          </c:xVal>
          <c:yVal>
            <c:numRef>
              <c:f>Tabla 1:$B$1:$B$7</c:f>
              <c:numCache>
                <c:formatCode>General</c:formatCode>
                <c:ptCount val="7"/>
                <c:pt idx="0">
                  <c:v>0</c:v>
                </c:pt>
                <c:pt idx="1">
                  <c:v>15</c:v>
                </c:pt>
                <c:pt idx="2">
                  <c:v>45</c:v>
                </c:pt>
                <c:pt idx="3">
                  <c:v>20</c:v>
                </c:pt>
              </c:numCache>
            </c:numRef>
          </c:yVal>
          <c:bubbleSize>
            <c:numRef>
              <c:f>Tabla1! $C$1:$C$7</c:f>
              <c:numCache>
                <c:formatCode>General</c:formatCode>
                <c:ptCount val="7"/>
                <c:pt idx="0">
                  <c:v>0</c:v>
                </c:pt>
                <c:pt idx="1">
                  <c:v>0.5</c:v>
                </c:pt>
                <c:pt idx="2">
                  <c:v>4</c:v>
                </c:pt>
                <c:pt idx="3">
                  <c:v>1</c:v>
                </c:pt>
              </c:numCache>
            </c:numRef>
          </c:bubbleSize>
          <c:bubble3D val="0"/>
          <c:extLst xmlns:c16r2="http://schemas.microsoft.com/office/drawing/2015/06/chart">
            <c:ext xmlns:c16="http://schemas.microsoft.com/office/drawing/2014/chart" uri="{C3380CC4-5D6E-409C-BE32-E72D297353CC}">
              <c16:uniqueId val="{00000000-D670-44B2-9012-2BE1A9A975C1}"/>
            </c:ext>
          </c:extLst>
        </c:ser>
        <c:ser>
          <c:idx val="1"/>
          <c:order val="1"/>
          <c:spPr>
            <a:solidFill>
              <a:schemeClr val="accent4"/>
            </a:solidFill>
            <a:ln>
              <a:noFill/>
            </a:ln>
            <a:effectLst/>
          </c:spPr>
          <c:invertIfNegative val="0"/>
          <c:xVal>
            <c:numRef>
              <c:f>Tabla1!$A$1:$A$7</c:f>
              <c:numCache>
                <c:formatCode>General</c:formatCode>
                <c:ptCount val="7"/>
                <c:pt idx="1">
                  <c:v>10</c:v>
                </c:pt>
                <c:pt idx="2">
                  <c:v>40</c:v>
                </c:pt>
                <c:pt idx="3">
                  <c:v>30</c:v>
                </c:pt>
                <c:pt idx="4">
                  <c:v>55</c:v>
                </c:pt>
                <c:pt idx="5">
                  <c:v>50</c:v>
                </c:pt>
                <c:pt idx="6">
                  <c:v>70</c:v>
                </c:pt>
              </c:numCache>
            </c:numRef>
          </c:xVal>
          <c:yVal>
            <c:numRef>
              <c:f>Tabla1! $D$1:$D$7</c:f>
              <c:numCache>
                <c:formatCode>General</c:formatCode>
                <c:ptCount val="7"/>
                <c:pt idx="0">
                  <c:v>0</c:v>
                </c:pt>
                <c:pt idx="4">
                  <c:v>65</c:v>
                </c:pt>
                <c:pt idx="5">
                  <c:v>30</c:v>
                </c:pt>
                <c:pt idx="6">
                  <c:v>80</c:v>
                </c:pt>
              </c:numCache>
            </c:numRef>
          </c:yVal>
          <c:bubbleSize>
            <c:numRef>
              <c:f>Tabla1! $E$1:$E$7</c:f>
              <c:numCache>
                <c:formatCode>General</c:formatCode>
                <c:ptCount val="7"/>
                <c:pt idx="0">
                  <c:v>0</c:v>
                </c:pt>
                <c:pt idx="4">
                  <c:v>1.5</c:v>
                </c:pt>
                <c:pt idx="5">
                  <c:v>2.5</c:v>
                </c:pt>
                <c:pt idx="6">
                  <c:v>5</c:v>
                </c:pt>
              </c:numCache>
            </c:numRef>
          </c:bubbleSize>
          <c:bubble3D val="0"/>
          <c:extLst xmlns:c16r2="http://schemas.microsoft.com/office/drawing/2015/06/chart">
            <c:ext xmlns:c16="http://schemas.microsoft.com/office/drawing/2014/chart" uri="{C3380CC4-5D6E-409C-BE32-E72D297353CC}">
              <c16:uniqueId val="{00000001-D670-44B2-9012-2BE1A9A975C1}"/>
            </c:ext>
          </c:extLst>
        </c:ser>
        <c:dLbls>
          <c:showLegendKey val="0"/>
          <c:showVal val="0"/>
          <c:showCatName val="0"/>
          <c:showSerName val="0"/>
          <c:showPercent val="0"/>
          <c:showBubbleSize val="0"/>
        </c:dLbls>
        <c:bubbleScale val="100"/>
        <c:showNegBubbles val="0"/>
        <c:axId val="185830784"/>
        <c:axId val="185848960"/>
      </c:bubbleChart>
      <c:valAx>
        <c:axId val="185830784"/>
        <c:scaling>
          <c:orientation val="minMax"/>
          <c:max val="100"/>
          <c:min val="0"/>
        </c:scaling>
        <c:delete val="1"/>
        <c:axPos val="b"/>
        <c:numFmt formatCode="General" sourceLinked="1"/>
        <c:majorTickMark val="none"/>
        <c:minorTickMark val="none"/>
        <c:tickLblPos val="none"/>
        <c:crossAx val="185848960"/>
        <c:crosses val="autoZero"/>
        <c:crossBetween val="midCat"/>
        <c:majorUnit val="20"/>
      </c:valAx>
      <c:valAx>
        <c:axId val="185848960"/>
        <c:scaling>
          <c:orientation val="minMax"/>
          <c:max val="100"/>
          <c:min val="0"/>
        </c:scaling>
        <c:delete val="1"/>
        <c:axPos val="l"/>
        <c:numFmt formatCode="General" sourceLinked="1"/>
        <c:majorTickMark val="out"/>
        <c:minorTickMark val="none"/>
        <c:tickLblPos val="none"/>
        <c:crossAx val="185830784"/>
        <c:crosses val="autoZero"/>
        <c:crossBetween val="midCat"/>
        <c:majorUnit val="20"/>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b="0">
          <a:solidFill>
            <a:schemeClr val="tx1"/>
          </a:solidFill>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C207F5-706E-4AD3-B85D-47400AD952C0}"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GB"/>
        </a:p>
      </dgm:t>
    </dgm:pt>
    <dgm:pt modelId="{2996509D-37D6-46B9-89B4-7A7AC0E53DFD}">
      <dgm:prSet phldrT="[Text]" custT="1"/>
      <dgm:spPr/>
      <dgm:t>
        <a:bodyPr/>
        <a:lstStyle/>
        <a:p>
          <a:r>
            <a:rPr lang="en-GB" sz="1800" dirty="0"/>
            <a:t>Medidas operativas</a:t>
          </a:r>
        </a:p>
      </dgm:t>
    </dgm:pt>
    <dgm:pt modelId="{B723190F-CE90-4B58-B72A-E0C326A71C7B}" type="parTrans" cxnId="{5AC62D44-0D9B-413B-98AD-949D29B44612}">
      <dgm:prSet/>
      <dgm:spPr/>
      <dgm:t>
        <a:bodyPr/>
        <a:lstStyle/>
        <a:p>
          <a:endParaRPr lang="en-GB" sz="1400"/>
        </a:p>
      </dgm:t>
    </dgm:pt>
    <dgm:pt modelId="{51078989-83B2-47C1-B433-EB4C0F03F9DA}" type="sibTrans" cxnId="{5AC62D44-0D9B-413B-98AD-949D29B44612}">
      <dgm:prSet/>
      <dgm:spPr/>
      <dgm:t>
        <a:bodyPr/>
        <a:lstStyle/>
        <a:p>
          <a:endParaRPr lang="en-GB" sz="1400"/>
        </a:p>
      </dgm:t>
    </dgm:pt>
    <dgm:pt modelId="{C10A867B-9C7E-4A8D-9C5C-EB648967E2A7}">
      <dgm:prSet phldrT="[Text]" custT="1"/>
      <dgm:spPr>
        <a:solidFill>
          <a:schemeClr val="accent4"/>
        </a:solidFill>
      </dgm:spPr>
      <dgm:t>
        <a:bodyPr/>
        <a:lstStyle/>
        <a:p>
          <a:r>
            <a:rPr lang="en-GB" sz="1800" dirty="0"/>
            <a:t>Resultado efectivo</a:t>
          </a:r>
        </a:p>
      </dgm:t>
    </dgm:pt>
    <dgm:pt modelId="{9421269D-A21A-4407-8604-39BCD821812F}" type="parTrans" cxnId="{BE44AC75-E403-425E-B29A-A97ABEC95B07}">
      <dgm:prSet/>
      <dgm:spPr/>
      <dgm:t>
        <a:bodyPr/>
        <a:lstStyle/>
        <a:p>
          <a:endParaRPr lang="en-GB" sz="1400"/>
        </a:p>
      </dgm:t>
    </dgm:pt>
    <dgm:pt modelId="{62B9F2E8-1D1C-43BD-8F29-4AEC2AB62A33}" type="sibTrans" cxnId="{BE44AC75-E403-425E-B29A-A97ABEC95B07}">
      <dgm:prSet/>
      <dgm:spPr/>
      <dgm:t>
        <a:bodyPr/>
        <a:lstStyle/>
        <a:p>
          <a:endParaRPr lang="en-GB" sz="1400"/>
        </a:p>
      </dgm:t>
    </dgm:pt>
    <dgm:pt modelId="{DD734669-EFA4-4C99-A16B-C47DC11AC257}">
      <dgm:prSet phldrT="[Text]" custT="1"/>
      <dgm:spPr>
        <a:solidFill>
          <a:schemeClr val="accent2"/>
        </a:solidFill>
      </dgm:spPr>
      <dgm:t>
        <a:bodyPr/>
        <a:lstStyle/>
        <a:p>
          <a:r>
            <a:rPr lang="en-GB" sz="1800" dirty="0"/>
            <a:t>Liquidez Efectiva</a:t>
          </a:r>
        </a:p>
      </dgm:t>
    </dgm:pt>
    <dgm:pt modelId="{CC50273E-A4B5-4F41-9F8A-B280064E63F8}" type="parTrans" cxnId="{0D8DCB8E-220E-4E4F-9071-DF27D84DBEDE}">
      <dgm:prSet/>
      <dgm:spPr/>
      <dgm:t>
        <a:bodyPr/>
        <a:lstStyle/>
        <a:p>
          <a:endParaRPr lang="en-GB" sz="1400"/>
        </a:p>
      </dgm:t>
    </dgm:pt>
    <dgm:pt modelId="{FC40561F-4946-4575-A78B-877A85762064}" type="sibTrans" cxnId="{0D8DCB8E-220E-4E4F-9071-DF27D84DBEDE}">
      <dgm:prSet/>
      <dgm:spPr/>
      <dgm:t>
        <a:bodyPr/>
        <a:lstStyle/>
        <a:p>
          <a:endParaRPr lang="en-GB" sz="1400"/>
        </a:p>
      </dgm:t>
    </dgm:pt>
    <dgm:pt modelId="{DAC9CFA4-F23B-47BF-85D1-42B4794B0F68}">
      <dgm:prSet phldrT="[Text]" custT="1"/>
      <dgm:spPr>
        <a:solidFill>
          <a:schemeClr val="accent4"/>
        </a:solidFill>
      </dgm:spPr>
      <dgm:t>
        <a:bodyPr/>
        <a:lstStyle/>
        <a:p>
          <a:r>
            <a:rPr lang="en-GB" sz="1400" dirty="0"/>
            <a:t>Reducción de los costes de material</a:t>
          </a:r>
        </a:p>
      </dgm:t>
    </dgm:pt>
    <dgm:pt modelId="{00F3FCD8-6BD4-4A33-8A67-FBBE2BA9A721}" type="parTrans" cxnId="{4DAAA103-A0D8-4DD5-A723-6EA1D2954D51}">
      <dgm:prSet/>
      <dgm:spPr/>
      <dgm:t>
        <a:bodyPr/>
        <a:lstStyle/>
        <a:p>
          <a:endParaRPr lang="en-GB" sz="1400"/>
        </a:p>
      </dgm:t>
    </dgm:pt>
    <dgm:pt modelId="{58949B04-6263-46EB-B606-579728F35DC6}" type="sibTrans" cxnId="{4DAAA103-A0D8-4DD5-A723-6EA1D2954D51}">
      <dgm:prSet/>
      <dgm:spPr/>
      <dgm:t>
        <a:bodyPr/>
        <a:lstStyle/>
        <a:p>
          <a:endParaRPr lang="en-GB" sz="1400"/>
        </a:p>
      </dgm:t>
    </dgm:pt>
    <dgm:pt modelId="{A1759FDE-00FC-437F-88D9-D98421C11A47}">
      <dgm:prSet custT="1"/>
      <dgm:spPr>
        <a:solidFill>
          <a:schemeClr val="accent4"/>
        </a:solidFill>
      </dgm:spPr>
      <dgm:t>
        <a:bodyPr/>
        <a:lstStyle/>
        <a:p>
          <a:r>
            <a:rPr lang="en-GB" sz="1400" dirty="0"/>
            <a:t>Reducción de los gastos de personal</a:t>
          </a:r>
        </a:p>
      </dgm:t>
    </dgm:pt>
    <dgm:pt modelId="{16BEAB49-731F-4859-B863-61909CFF6A31}" type="parTrans" cxnId="{38DCAEBB-1F72-49A2-ABA3-A6F764AFC742}">
      <dgm:prSet/>
      <dgm:spPr/>
      <dgm:t>
        <a:bodyPr/>
        <a:lstStyle/>
        <a:p>
          <a:endParaRPr lang="en-GB" sz="1400"/>
        </a:p>
      </dgm:t>
    </dgm:pt>
    <dgm:pt modelId="{4EB3AAC2-30BA-4418-A49D-CB16CD27F58D}" type="sibTrans" cxnId="{38DCAEBB-1F72-49A2-ABA3-A6F764AFC742}">
      <dgm:prSet/>
      <dgm:spPr/>
      <dgm:t>
        <a:bodyPr/>
        <a:lstStyle/>
        <a:p>
          <a:endParaRPr lang="en-GB" sz="1400"/>
        </a:p>
      </dgm:t>
    </dgm:pt>
    <dgm:pt modelId="{0370EF63-5F29-499D-A32F-D1F08C981975}">
      <dgm:prSet custT="1"/>
      <dgm:spPr>
        <a:solidFill>
          <a:schemeClr val="accent4"/>
        </a:solidFill>
      </dgm:spPr>
      <dgm:t>
        <a:bodyPr/>
        <a:lstStyle/>
        <a:p>
          <a:r>
            <a:rPr lang="en-US" sz="1400" dirty="0"/>
            <a:t>Reducción de otros gastos de funcionamiento </a:t>
          </a:r>
          <a:endParaRPr lang="en-GB" sz="1400" dirty="0"/>
        </a:p>
      </dgm:t>
    </dgm:pt>
    <dgm:pt modelId="{133D57E3-4D91-446E-A271-BB6B24AB8897}" type="parTrans" cxnId="{E74C4337-F905-4ABE-A63D-7236C9B2381F}">
      <dgm:prSet/>
      <dgm:spPr/>
      <dgm:t>
        <a:bodyPr/>
        <a:lstStyle/>
        <a:p>
          <a:endParaRPr lang="en-GB" sz="1400"/>
        </a:p>
      </dgm:t>
    </dgm:pt>
    <dgm:pt modelId="{C2A3CB82-1295-4E53-91C9-89F75FDC9FA7}" type="sibTrans" cxnId="{E74C4337-F905-4ABE-A63D-7236C9B2381F}">
      <dgm:prSet/>
      <dgm:spPr/>
      <dgm:t>
        <a:bodyPr/>
        <a:lstStyle/>
        <a:p>
          <a:endParaRPr lang="en-GB" sz="1400"/>
        </a:p>
      </dgm:t>
    </dgm:pt>
    <dgm:pt modelId="{A48C7772-3C3F-4777-A237-8EAC0050684F}">
      <dgm:prSet custT="1"/>
      <dgm:spPr>
        <a:solidFill>
          <a:schemeClr val="accent4"/>
        </a:solidFill>
      </dgm:spPr>
      <dgm:t>
        <a:bodyPr/>
        <a:lstStyle/>
        <a:p>
          <a:r>
            <a:rPr lang="en-GB" sz="1400" dirty="0"/>
            <a:t>Aumento/estabilización de las ventas a corto plazo</a:t>
          </a:r>
        </a:p>
      </dgm:t>
    </dgm:pt>
    <dgm:pt modelId="{90A789CE-D629-4662-A76F-6128D00A2A7A}" type="parTrans" cxnId="{064B7A5A-72D8-4455-AB84-EE64C82E9EF7}">
      <dgm:prSet/>
      <dgm:spPr/>
      <dgm:t>
        <a:bodyPr/>
        <a:lstStyle/>
        <a:p>
          <a:endParaRPr lang="en-GB" sz="1400"/>
        </a:p>
      </dgm:t>
    </dgm:pt>
    <dgm:pt modelId="{EFB88896-D9AC-4659-B422-95A155C64A1D}" type="sibTrans" cxnId="{064B7A5A-72D8-4455-AB84-EE64C82E9EF7}">
      <dgm:prSet/>
      <dgm:spPr/>
      <dgm:t>
        <a:bodyPr/>
        <a:lstStyle/>
        <a:p>
          <a:endParaRPr lang="en-GB" sz="1400"/>
        </a:p>
      </dgm:t>
    </dgm:pt>
    <dgm:pt modelId="{C1B81B48-3B63-4C62-AA20-66CD2B9C91A6}">
      <dgm:prSet phldrT="[Text]" custT="1"/>
      <dgm:spPr>
        <a:solidFill>
          <a:schemeClr val="accent2"/>
        </a:solidFill>
      </dgm:spPr>
      <dgm:t>
        <a:bodyPr/>
        <a:lstStyle/>
        <a:p>
          <a:r>
            <a:rPr lang="en-GB" sz="1400" dirty="0"/>
            <a:t>Optimización de las existencias</a:t>
          </a:r>
        </a:p>
      </dgm:t>
    </dgm:pt>
    <dgm:pt modelId="{0C867DF7-0152-4678-9386-4601E8B8883C}" type="parTrans" cxnId="{47D6C77E-6A8B-4893-83F6-5270C37DBC2D}">
      <dgm:prSet/>
      <dgm:spPr/>
      <dgm:t>
        <a:bodyPr/>
        <a:lstStyle/>
        <a:p>
          <a:endParaRPr lang="en-GB" sz="1400"/>
        </a:p>
      </dgm:t>
    </dgm:pt>
    <dgm:pt modelId="{F7187639-905E-48DB-A754-52BF4FA8126B}" type="sibTrans" cxnId="{47D6C77E-6A8B-4893-83F6-5270C37DBC2D}">
      <dgm:prSet/>
      <dgm:spPr/>
      <dgm:t>
        <a:bodyPr/>
        <a:lstStyle/>
        <a:p>
          <a:endParaRPr lang="en-GB" sz="1400"/>
        </a:p>
      </dgm:t>
    </dgm:pt>
    <dgm:pt modelId="{5C24817C-1295-482F-93E5-CAA043BE8AC0}">
      <dgm:prSet custT="1"/>
      <dgm:spPr>
        <a:solidFill>
          <a:schemeClr val="accent2"/>
        </a:solidFill>
      </dgm:spPr>
      <dgm:t>
        <a:bodyPr/>
        <a:lstStyle/>
        <a:p>
          <a:r>
            <a:rPr lang="en-GB" sz="1400" dirty="0"/>
            <a:t>Gestión de cuentas por cobrar</a:t>
          </a:r>
        </a:p>
      </dgm:t>
    </dgm:pt>
    <dgm:pt modelId="{FAE56224-42BE-4F81-B414-22BDF2167AA1}" type="parTrans" cxnId="{5A823273-5093-42CA-85A1-17BC581E5A06}">
      <dgm:prSet/>
      <dgm:spPr/>
      <dgm:t>
        <a:bodyPr/>
        <a:lstStyle/>
        <a:p>
          <a:endParaRPr lang="en-GB" sz="1400"/>
        </a:p>
      </dgm:t>
    </dgm:pt>
    <dgm:pt modelId="{4BB88FEB-6BCF-44E3-9A64-C80CFC6AF244}" type="sibTrans" cxnId="{5A823273-5093-42CA-85A1-17BC581E5A06}">
      <dgm:prSet/>
      <dgm:spPr/>
      <dgm:t>
        <a:bodyPr/>
        <a:lstStyle/>
        <a:p>
          <a:endParaRPr lang="en-GB" sz="1400"/>
        </a:p>
      </dgm:t>
    </dgm:pt>
    <dgm:pt modelId="{BE5CD816-C488-41AE-9496-C3B88308D23C}">
      <dgm:prSet custT="1"/>
      <dgm:spPr>
        <a:solidFill>
          <a:schemeClr val="accent2"/>
        </a:solidFill>
      </dgm:spPr>
      <dgm:t>
        <a:bodyPr/>
        <a:lstStyle/>
        <a:p>
          <a:r>
            <a:rPr lang="en-GB" sz="1400" dirty="0"/>
            <a:t>Gestión de cuentas por pagar</a:t>
          </a:r>
        </a:p>
      </dgm:t>
    </dgm:pt>
    <dgm:pt modelId="{2DA896E8-403A-4261-989A-A4D5B82972D8}" type="parTrans" cxnId="{FDAF50DE-BE80-4D13-82AF-3FDB1EF51B4E}">
      <dgm:prSet/>
      <dgm:spPr/>
      <dgm:t>
        <a:bodyPr/>
        <a:lstStyle/>
        <a:p>
          <a:endParaRPr lang="en-GB" sz="1400"/>
        </a:p>
      </dgm:t>
    </dgm:pt>
    <dgm:pt modelId="{411AD981-F16A-4016-ADA6-F0E1AA7D20A7}" type="sibTrans" cxnId="{FDAF50DE-BE80-4D13-82AF-3FDB1EF51B4E}">
      <dgm:prSet/>
      <dgm:spPr/>
      <dgm:t>
        <a:bodyPr/>
        <a:lstStyle/>
        <a:p>
          <a:endParaRPr lang="en-GB" sz="1400"/>
        </a:p>
      </dgm:t>
    </dgm:pt>
    <dgm:pt modelId="{C163E80F-CDE6-4A62-803B-525928121534}">
      <dgm:prSet custT="1"/>
      <dgm:spPr>
        <a:solidFill>
          <a:schemeClr val="accent2"/>
        </a:solidFill>
      </dgm:spPr>
      <dgm:t>
        <a:bodyPr/>
        <a:lstStyle/>
        <a:p>
          <a:r>
            <a:rPr lang="en-GB" sz="1400" dirty="0"/>
            <a:t>Desinversiones</a:t>
          </a:r>
        </a:p>
      </dgm:t>
    </dgm:pt>
    <dgm:pt modelId="{C99C9DCE-D46D-4176-AC03-E1F27464E8F1}" type="parTrans" cxnId="{85E44020-38E0-4A8B-A4AB-89B18FAA9CB8}">
      <dgm:prSet/>
      <dgm:spPr/>
      <dgm:t>
        <a:bodyPr/>
        <a:lstStyle/>
        <a:p>
          <a:endParaRPr lang="en-GB" sz="1400"/>
        </a:p>
      </dgm:t>
    </dgm:pt>
    <dgm:pt modelId="{94B46C1B-0055-48D4-AECD-C20B89E096F0}" type="sibTrans" cxnId="{85E44020-38E0-4A8B-A4AB-89B18FAA9CB8}">
      <dgm:prSet/>
      <dgm:spPr/>
      <dgm:t>
        <a:bodyPr/>
        <a:lstStyle/>
        <a:p>
          <a:endParaRPr lang="en-GB" sz="1400"/>
        </a:p>
      </dgm:t>
    </dgm:pt>
    <dgm:pt modelId="{E24CD9E3-A06B-42D8-8D35-F58A71C6F137}">
      <dgm:prSet custT="1"/>
      <dgm:spPr>
        <a:solidFill>
          <a:schemeClr val="accent2"/>
        </a:solidFill>
      </dgm:spPr>
      <dgm:t>
        <a:bodyPr/>
        <a:lstStyle/>
        <a:p>
          <a:r>
            <a:rPr lang="en-GB" sz="1400" dirty="0"/>
            <a:t>Reducción/ aplazamiento de las inversiones</a:t>
          </a:r>
        </a:p>
      </dgm:t>
    </dgm:pt>
    <dgm:pt modelId="{A800F176-72B7-483F-BA94-D274E17CB412}" type="parTrans" cxnId="{F863B9DA-AB5D-46EE-BA79-52BBE525FC31}">
      <dgm:prSet/>
      <dgm:spPr/>
      <dgm:t>
        <a:bodyPr/>
        <a:lstStyle/>
        <a:p>
          <a:endParaRPr lang="en-GB" sz="1400"/>
        </a:p>
      </dgm:t>
    </dgm:pt>
    <dgm:pt modelId="{C37F0ABF-D6E3-4AF5-A566-181242B8D32D}" type="sibTrans" cxnId="{F863B9DA-AB5D-46EE-BA79-52BBE525FC31}">
      <dgm:prSet/>
      <dgm:spPr/>
      <dgm:t>
        <a:bodyPr/>
        <a:lstStyle/>
        <a:p>
          <a:endParaRPr lang="en-GB" sz="1400"/>
        </a:p>
      </dgm:t>
    </dgm:pt>
    <dgm:pt modelId="{FFA921B9-4E7B-48CF-B6FF-45A2C771C65E}" type="pres">
      <dgm:prSet presAssocID="{93C207F5-706E-4AD3-B85D-47400AD952C0}" presName="hierChild1" presStyleCnt="0">
        <dgm:presLayoutVars>
          <dgm:orgChart val="1"/>
          <dgm:chPref val="1"/>
          <dgm:dir/>
          <dgm:animOne val="branch"/>
          <dgm:animLvl val="lvl"/>
          <dgm:resizeHandles/>
        </dgm:presLayoutVars>
      </dgm:prSet>
      <dgm:spPr/>
      <dgm:t>
        <a:bodyPr/>
        <a:lstStyle/>
        <a:p>
          <a:endParaRPr lang="en-GB"/>
        </a:p>
      </dgm:t>
    </dgm:pt>
    <dgm:pt modelId="{A2C27683-BA78-4F8E-8A7A-16CD76357EFA}" type="pres">
      <dgm:prSet presAssocID="{2996509D-37D6-46B9-89B4-7A7AC0E53DFD}" presName="hierRoot1" presStyleCnt="0">
        <dgm:presLayoutVars>
          <dgm:hierBranch val="init"/>
        </dgm:presLayoutVars>
      </dgm:prSet>
      <dgm:spPr/>
    </dgm:pt>
    <dgm:pt modelId="{9F8579E3-CADC-403C-9EDB-A2D6EB545FB4}" type="pres">
      <dgm:prSet presAssocID="{2996509D-37D6-46B9-89B4-7A7AC0E53DFD}" presName="rootComposite1" presStyleCnt="0"/>
      <dgm:spPr/>
    </dgm:pt>
    <dgm:pt modelId="{AC314A81-7167-46D8-9533-8226F4DE4A45}" type="pres">
      <dgm:prSet presAssocID="{2996509D-37D6-46B9-89B4-7A7AC0E53DFD}" presName="rootText1" presStyleLbl="node0" presStyleIdx="0" presStyleCnt="1" custScaleX="252873" custScaleY="108726">
        <dgm:presLayoutVars>
          <dgm:chPref val="3"/>
        </dgm:presLayoutVars>
      </dgm:prSet>
      <dgm:spPr/>
      <dgm:t>
        <a:bodyPr/>
        <a:lstStyle/>
        <a:p>
          <a:endParaRPr lang="en-GB"/>
        </a:p>
      </dgm:t>
    </dgm:pt>
    <dgm:pt modelId="{A5ABC949-1267-44AB-8F50-5C959D747A69}" type="pres">
      <dgm:prSet presAssocID="{2996509D-37D6-46B9-89B4-7A7AC0E53DFD}" presName="rootConnector1" presStyleLbl="node1" presStyleIdx="0" presStyleCnt="0"/>
      <dgm:spPr/>
      <dgm:t>
        <a:bodyPr/>
        <a:lstStyle/>
        <a:p>
          <a:endParaRPr lang="en-GB"/>
        </a:p>
      </dgm:t>
    </dgm:pt>
    <dgm:pt modelId="{69F1981A-7AE7-405B-953A-04D6C5F52750}" type="pres">
      <dgm:prSet presAssocID="{2996509D-37D6-46B9-89B4-7A7AC0E53DFD}" presName="hierChild2" presStyleCnt="0"/>
      <dgm:spPr/>
    </dgm:pt>
    <dgm:pt modelId="{DE0411A6-A351-457B-8005-4CD10F935587}" type="pres">
      <dgm:prSet presAssocID="{9421269D-A21A-4407-8604-39BCD821812F}" presName="Name37" presStyleLbl="parChTrans1D2" presStyleIdx="0" presStyleCnt="2"/>
      <dgm:spPr/>
      <dgm:t>
        <a:bodyPr/>
        <a:lstStyle/>
        <a:p>
          <a:endParaRPr lang="en-GB"/>
        </a:p>
      </dgm:t>
    </dgm:pt>
    <dgm:pt modelId="{30E5B3C3-E075-4396-9981-1FD9C68F06B1}" type="pres">
      <dgm:prSet presAssocID="{C10A867B-9C7E-4A8D-9C5C-EB648967E2A7}" presName="hierRoot2" presStyleCnt="0">
        <dgm:presLayoutVars>
          <dgm:hierBranch val="init"/>
        </dgm:presLayoutVars>
      </dgm:prSet>
      <dgm:spPr/>
    </dgm:pt>
    <dgm:pt modelId="{439381E7-A2D9-4E23-8E40-BFEB3836BFB9}" type="pres">
      <dgm:prSet presAssocID="{C10A867B-9C7E-4A8D-9C5C-EB648967E2A7}" presName="rootComposite" presStyleCnt="0"/>
      <dgm:spPr/>
    </dgm:pt>
    <dgm:pt modelId="{4A304EF6-9712-4444-9595-4963A7C1F7DD}" type="pres">
      <dgm:prSet presAssocID="{C10A867B-9C7E-4A8D-9C5C-EB648967E2A7}" presName="rootText" presStyleLbl="node2" presStyleIdx="0" presStyleCnt="2" custScaleX="174176">
        <dgm:presLayoutVars>
          <dgm:chPref val="3"/>
        </dgm:presLayoutVars>
      </dgm:prSet>
      <dgm:spPr/>
      <dgm:t>
        <a:bodyPr/>
        <a:lstStyle/>
        <a:p>
          <a:endParaRPr lang="en-GB"/>
        </a:p>
      </dgm:t>
    </dgm:pt>
    <dgm:pt modelId="{6B13F6C4-6EEC-4CA0-897B-59A7C0E9E1CB}" type="pres">
      <dgm:prSet presAssocID="{C10A867B-9C7E-4A8D-9C5C-EB648967E2A7}" presName="rootConnector" presStyleLbl="node2" presStyleIdx="0" presStyleCnt="2"/>
      <dgm:spPr/>
      <dgm:t>
        <a:bodyPr/>
        <a:lstStyle/>
        <a:p>
          <a:endParaRPr lang="en-GB"/>
        </a:p>
      </dgm:t>
    </dgm:pt>
    <dgm:pt modelId="{67EBE058-F007-4468-A797-CB55E0A5769A}" type="pres">
      <dgm:prSet presAssocID="{C10A867B-9C7E-4A8D-9C5C-EB648967E2A7}" presName="hierChild4" presStyleCnt="0"/>
      <dgm:spPr/>
    </dgm:pt>
    <dgm:pt modelId="{3556A469-D7C6-424A-B867-6FF9C73F6874}" type="pres">
      <dgm:prSet presAssocID="{00F3FCD8-6BD4-4A33-8A67-FBBE2BA9A721}" presName="Name37" presStyleLbl="parChTrans1D3" presStyleIdx="0" presStyleCnt="9"/>
      <dgm:spPr/>
      <dgm:t>
        <a:bodyPr/>
        <a:lstStyle/>
        <a:p>
          <a:endParaRPr lang="en-GB"/>
        </a:p>
      </dgm:t>
    </dgm:pt>
    <dgm:pt modelId="{A761AAC1-2489-46C7-A1A4-B12F053A0BB6}" type="pres">
      <dgm:prSet presAssocID="{DAC9CFA4-F23B-47BF-85D1-42B4794B0F68}" presName="hierRoot2" presStyleCnt="0">
        <dgm:presLayoutVars>
          <dgm:hierBranch val="init"/>
        </dgm:presLayoutVars>
      </dgm:prSet>
      <dgm:spPr/>
    </dgm:pt>
    <dgm:pt modelId="{9F42F416-3D0B-48F8-9F0B-3490A4E612C6}" type="pres">
      <dgm:prSet presAssocID="{DAC9CFA4-F23B-47BF-85D1-42B4794B0F68}" presName="rootComposite" presStyleCnt="0"/>
      <dgm:spPr/>
    </dgm:pt>
    <dgm:pt modelId="{7AEF37A7-EE47-4678-8A61-EE71ABE774AF}" type="pres">
      <dgm:prSet presAssocID="{DAC9CFA4-F23B-47BF-85D1-42B4794B0F68}" presName="rootText" presStyleLbl="node3" presStyleIdx="0" presStyleCnt="9" custScaleX="156190" custLinFactX="-85734" custLinFactNeighborX="-100000" custLinFactNeighborY="-12293">
        <dgm:presLayoutVars>
          <dgm:chPref val="3"/>
        </dgm:presLayoutVars>
      </dgm:prSet>
      <dgm:spPr/>
      <dgm:t>
        <a:bodyPr/>
        <a:lstStyle/>
        <a:p>
          <a:endParaRPr lang="en-GB"/>
        </a:p>
      </dgm:t>
    </dgm:pt>
    <dgm:pt modelId="{3762FF50-4515-4CD6-97CE-D1840818601A}" type="pres">
      <dgm:prSet presAssocID="{DAC9CFA4-F23B-47BF-85D1-42B4794B0F68}" presName="rootConnector" presStyleLbl="node3" presStyleIdx="0" presStyleCnt="9"/>
      <dgm:spPr/>
      <dgm:t>
        <a:bodyPr/>
        <a:lstStyle/>
        <a:p>
          <a:endParaRPr lang="en-GB"/>
        </a:p>
      </dgm:t>
    </dgm:pt>
    <dgm:pt modelId="{21A34912-211F-4C14-A4DC-AD797D366991}" type="pres">
      <dgm:prSet presAssocID="{DAC9CFA4-F23B-47BF-85D1-42B4794B0F68}" presName="hierChild4" presStyleCnt="0"/>
      <dgm:spPr/>
    </dgm:pt>
    <dgm:pt modelId="{46139932-F7DF-442F-AFE5-7C9BB2DCAB63}" type="pres">
      <dgm:prSet presAssocID="{DAC9CFA4-F23B-47BF-85D1-42B4794B0F68}" presName="hierChild5" presStyleCnt="0"/>
      <dgm:spPr/>
    </dgm:pt>
    <dgm:pt modelId="{E0320984-410E-4C1D-83E5-23233F6E424A}" type="pres">
      <dgm:prSet presAssocID="{16BEAB49-731F-4859-B863-61909CFF6A31}" presName="Name37" presStyleLbl="parChTrans1D3" presStyleIdx="1" presStyleCnt="9"/>
      <dgm:spPr/>
      <dgm:t>
        <a:bodyPr/>
        <a:lstStyle/>
        <a:p>
          <a:endParaRPr lang="en-GB"/>
        </a:p>
      </dgm:t>
    </dgm:pt>
    <dgm:pt modelId="{5C8ABC47-B5D0-4EF3-9FB6-0CC7CE5C7999}" type="pres">
      <dgm:prSet presAssocID="{A1759FDE-00FC-437F-88D9-D98421C11A47}" presName="hierRoot2" presStyleCnt="0">
        <dgm:presLayoutVars>
          <dgm:hierBranch val="init"/>
        </dgm:presLayoutVars>
      </dgm:prSet>
      <dgm:spPr/>
    </dgm:pt>
    <dgm:pt modelId="{C19C9E0F-5790-4B81-8AE6-06D1F6E50721}" type="pres">
      <dgm:prSet presAssocID="{A1759FDE-00FC-437F-88D9-D98421C11A47}" presName="rootComposite" presStyleCnt="0"/>
      <dgm:spPr/>
    </dgm:pt>
    <dgm:pt modelId="{3FA3E14D-E1CD-42A3-9731-82A83F2CBFF4}" type="pres">
      <dgm:prSet presAssocID="{A1759FDE-00FC-437F-88D9-D98421C11A47}" presName="rootText" presStyleLbl="node3" presStyleIdx="1" presStyleCnt="9" custScaleX="156190" custLinFactX="-86707" custLinFactNeighborX="-100000" custLinFactNeighborY="-49566">
        <dgm:presLayoutVars>
          <dgm:chPref val="3"/>
        </dgm:presLayoutVars>
      </dgm:prSet>
      <dgm:spPr/>
      <dgm:t>
        <a:bodyPr/>
        <a:lstStyle/>
        <a:p>
          <a:endParaRPr lang="en-GB"/>
        </a:p>
      </dgm:t>
    </dgm:pt>
    <dgm:pt modelId="{4C975EB4-7653-4746-AAD9-FE9F23AAF090}" type="pres">
      <dgm:prSet presAssocID="{A1759FDE-00FC-437F-88D9-D98421C11A47}" presName="rootConnector" presStyleLbl="node3" presStyleIdx="1" presStyleCnt="9"/>
      <dgm:spPr/>
      <dgm:t>
        <a:bodyPr/>
        <a:lstStyle/>
        <a:p>
          <a:endParaRPr lang="en-GB"/>
        </a:p>
      </dgm:t>
    </dgm:pt>
    <dgm:pt modelId="{DE6F9A25-BF65-4465-9708-A6ED994B6F4A}" type="pres">
      <dgm:prSet presAssocID="{A1759FDE-00FC-437F-88D9-D98421C11A47}" presName="hierChild4" presStyleCnt="0"/>
      <dgm:spPr/>
    </dgm:pt>
    <dgm:pt modelId="{52BAA078-1835-48F0-9FD0-1DA2D29CE14F}" type="pres">
      <dgm:prSet presAssocID="{A1759FDE-00FC-437F-88D9-D98421C11A47}" presName="hierChild5" presStyleCnt="0"/>
      <dgm:spPr/>
    </dgm:pt>
    <dgm:pt modelId="{A1096241-68BE-49D6-A0AA-3D2D868CF3A6}" type="pres">
      <dgm:prSet presAssocID="{133D57E3-4D91-446E-A271-BB6B24AB8897}" presName="Name37" presStyleLbl="parChTrans1D3" presStyleIdx="2" presStyleCnt="9"/>
      <dgm:spPr/>
      <dgm:t>
        <a:bodyPr/>
        <a:lstStyle/>
        <a:p>
          <a:endParaRPr lang="en-GB"/>
        </a:p>
      </dgm:t>
    </dgm:pt>
    <dgm:pt modelId="{A9BA42ED-F5EE-4254-8ADE-FCE3D628FA2D}" type="pres">
      <dgm:prSet presAssocID="{0370EF63-5F29-499D-A32F-D1F08C981975}" presName="hierRoot2" presStyleCnt="0">
        <dgm:presLayoutVars>
          <dgm:hierBranch val="init"/>
        </dgm:presLayoutVars>
      </dgm:prSet>
      <dgm:spPr/>
    </dgm:pt>
    <dgm:pt modelId="{7B907ECC-970F-4E16-828A-CF35B845D6CA}" type="pres">
      <dgm:prSet presAssocID="{0370EF63-5F29-499D-A32F-D1F08C981975}" presName="rootComposite" presStyleCnt="0"/>
      <dgm:spPr/>
    </dgm:pt>
    <dgm:pt modelId="{80042F78-CB93-49B0-9807-4EA2E914934A}" type="pres">
      <dgm:prSet presAssocID="{0370EF63-5F29-499D-A32F-D1F08C981975}" presName="rootText" presStyleLbl="node3" presStyleIdx="2" presStyleCnt="9" custScaleX="156190" custLinFactX="-86707" custLinFactNeighborX="-100000" custLinFactNeighborY="-85576">
        <dgm:presLayoutVars>
          <dgm:chPref val="3"/>
        </dgm:presLayoutVars>
      </dgm:prSet>
      <dgm:spPr/>
      <dgm:t>
        <a:bodyPr/>
        <a:lstStyle/>
        <a:p>
          <a:endParaRPr lang="en-GB"/>
        </a:p>
      </dgm:t>
    </dgm:pt>
    <dgm:pt modelId="{3E02FF38-4695-419D-9DF2-4936CE3B4CE0}" type="pres">
      <dgm:prSet presAssocID="{0370EF63-5F29-499D-A32F-D1F08C981975}" presName="rootConnector" presStyleLbl="node3" presStyleIdx="2" presStyleCnt="9"/>
      <dgm:spPr/>
      <dgm:t>
        <a:bodyPr/>
        <a:lstStyle/>
        <a:p>
          <a:endParaRPr lang="en-GB"/>
        </a:p>
      </dgm:t>
    </dgm:pt>
    <dgm:pt modelId="{56F1B45E-3CF9-4371-BF75-FDAC9E04732C}" type="pres">
      <dgm:prSet presAssocID="{0370EF63-5F29-499D-A32F-D1F08C981975}" presName="hierChild4" presStyleCnt="0"/>
      <dgm:spPr/>
    </dgm:pt>
    <dgm:pt modelId="{99924A54-0E02-4708-A2E1-B30FC28E64FC}" type="pres">
      <dgm:prSet presAssocID="{0370EF63-5F29-499D-A32F-D1F08C981975}" presName="hierChild5" presStyleCnt="0"/>
      <dgm:spPr/>
    </dgm:pt>
    <dgm:pt modelId="{7BBB6EB4-B939-4B9C-81F5-5D3AEE8D95C9}" type="pres">
      <dgm:prSet presAssocID="{90A789CE-D629-4662-A76F-6128D00A2A7A}" presName="Name37" presStyleLbl="parChTrans1D3" presStyleIdx="3" presStyleCnt="9"/>
      <dgm:spPr/>
      <dgm:t>
        <a:bodyPr/>
        <a:lstStyle/>
        <a:p>
          <a:endParaRPr lang="en-GB"/>
        </a:p>
      </dgm:t>
    </dgm:pt>
    <dgm:pt modelId="{6DAEDC28-7E01-4A9C-859E-34F784FF5D1D}" type="pres">
      <dgm:prSet presAssocID="{A48C7772-3C3F-4777-A237-8EAC0050684F}" presName="hierRoot2" presStyleCnt="0">
        <dgm:presLayoutVars>
          <dgm:hierBranch val="init"/>
        </dgm:presLayoutVars>
      </dgm:prSet>
      <dgm:spPr/>
    </dgm:pt>
    <dgm:pt modelId="{3DCCB43A-8826-438A-9893-A6D9BFD5CC5E}" type="pres">
      <dgm:prSet presAssocID="{A48C7772-3C3F-4777-A237-8EAC0050684F}" presName="rootComposite" presStyleCnt="0"/>
      <dgm:spPr/>
    </dgm:pt>
    <dgm:pt modelId="{5BB1035E-6EB6-4E4D-898C-D84F688DAA95}" type="pres">
      <dgm:prSet presAssocID="{A48C7772-3C3F-4777-A237-8EAC0050684F}" presName="rootText" presStyleLbl="node3" presStyleIdx="3" presStyleCnt="9" custScaleX="156190" custLinFactX="-86707" custLinFactY="-18639" custLinFactNeighborX="-100000" custLinFactNeighborY="-100000">
        <dgm:presLayoutVars>
          <dgm:chPref val="3"/>
        </dgm:presLayoutVars>
      </dgm:prSet>
      <dgm:spPr/>
      <dgm:t>
        <a:bodyPr/>
        <a:lstStyle/>
        <a:p>
          <a:endParaRPr lang="en-GB"/>
        </a:p>
      </dgm:t>
    </dgm:pt>
    <dgm:pt modelId="{BF0C28A7-59FF-4625-B774-88DD57FA6CB5}" type="pres">
      <dgm:prSet presAssocID="{A48C7772-3C3F-4777-A237-8EAC0050684F}" presName="rootConnector" presStyleLbl="node3" presStyleIdx="3" presStyleCnt="9"/>
      <dgm:spPr/>
      <dgm:t>
        <a:bodyPr/>
        <a:lstStyle/>
        <a:p>
          <a:endParaRPr lang="en-GB"/>
        </a:p>
      </dgm:t>
    </dgm:pt>
    <dgm:pt modelId="{72CD524D-8CC6-4410-92A3-615193285A07}" type="pres">
      <dgm:prSet presAssocID="{A48C7772-3C3F-4777-A237-8EAC0050684F}" presName="hierChild4" presStyleCnt="0"/>
      <dgm:spPr/>
    </dgm:pt>
    <dgm:pt modelId="{6B567D67-8974-4FAF-A78D-E6DBF1FC8B8E}" type="pres">
      <dgm:prSet presAssocID="{A48C7772-3C3F-4777-A237-8EAC0050684F}" presName="hierChild5" presStyleCnt="0"/>
      <dgm:spPr/>
    </dgm:pt>
    <dgm:pt modelId="{68821F0D-179F-44CE-92FE-C4DE510BE1FA}" type="pres">
      <dgm:prSet presAssocID="{C10A867B-9C7E-4A8D-9C5C-EB648967E2A7}" presName="hierChild5" presStyleCnt="0"/>
      <dgm:spPr/>
    </dgm:pt>
    <dgm:pt modelId="{0B4432B4-B9CF-46EB-90ED-2E135BC7040A}" type="pres">
      <dgm:prSet presAssocID="{CC50273E-A4B5-4F41-9F8A-B280064E63F8}" presName="Name37" presStyleLbl="parChTrans1D2" presStyleIdx="1" presStyleCnt="2"/>
      <dgm:spPr/>
      <dgm:t>
        <a:bodyPr/>
        <a:lstStyle/>
        <a:p>
          <a:endParaRPr lang="en-GB"/>
        </a:p>
      </dgm:t>
    </dgm:pt>
    <dgm:pt modelId="{2F3AE90D-43BF-4DA7-8B7F-B6A635DAEEDF}" type="pres">
      <dgm:prSet presAssocID="{DD734669-EFA4-4C99-A16B-C47DC11AC257}" presName="hierRoot2" presStyleCnt="0">
        <dgm:presLayoutVars>
          <dgm:hierBranch val="init"/>
        </dgm:presLayoutVars>
      </dgm:prSet>
      <dgm:spPr/>
    </dgm:pt>
    <dgm:pt modelId="{E31B560E-02DA-4D54-B963-34D00C1D32AD}" type="pres">
      <dgm:prSet presAssocID="{DD734669-EFA4-4C99-A16B-C47DC11AC257}" presName="rootComposite" presStyleCnt="0"/>
      <dgm:spPr/>
    </dgm:pt>
    <dgm:pt modelId="{578BB8A7-17CD-4D1C-83A5-162C72F13EC9}" type="pres">
      <dgm:prSet presAssocID="{DD734669-EFA4-4C99-A16B-C47DC11AC257}" presName="rootText" presStyleLbl="node2" presStyleIdx="1" presStyleCnt="2" custScaleX="181474">
        <dgm:presLayoutVars>
          <dgm:chPref val="3"/>
        </dgm:presLayoutVars>
      </dgm:prSet>
      <dgm:spPr/>
      <dgm:t>
        <a:bodyPr/>
        <a:lstStyle/>
        <a:p>
          <a:endParaRPr lang="en-GB"/>
        </a:p>
      </dgm:t>
    </dgm:pt>
    <dgm:pt modelId="{4E5F23C7-3366-460F-B261-88F6BEB94C93}" type="pres">
      <dgm:prSet presAssocID="{DD734669-EFA4-4C99-A16B-C47DC11AC257}" presName="rootConnector" presStyleLbl="node2" presStyleIdx="1" presStyleCnt="2"/>
      <dgm:spPr/>
      <dgm:t>
        <a:bodyPr/>
        <a:lstStyle/>
        <a:p>
          <a:endParaRPr lang="en-GB"/>
        </a:p>
      </dgm:t>
    </dgm:pt>
    <dgm:pt modelId="{46581CCF-E166-4112-9398-8898A092DEBD}" type="pres">
      <dgm:prSet presAssocID="{DD734669-EFA4-4C99-A16B-C47DC11AC257}" presName="hierChild4" presStyleCnt="0"/>
      <dgm:spPr/>
    </dgm:pt>
    <dgm:pt modelId="{B14E7FD9-DA21-4FC7-BF00-8CD022876B49}" type="pres">
      <dgm:prSet presAssocID="{0C867DF7-0152-4678-9386-4601E8B8883C}" presName="Name37" presStyleLbl="parChTrans1D3" presStyleIdx="4" presStyleCnt="9"/>
      <dgm:spPr/>
      <dgm:t>
        <a:bodyPr/>
        <a:lstStyle/>
        <a:p>
          <a:endParaRPr lang="en-GB"/>
        </a:p>
      </dgm:t>
    </dgm:pt>
    <dgm:pt modelId="{ADA2CC09-7175-4543-B502-6D5F30248465}" type="pres">
      <dgm:prSet presAssocID="{C1B81B48-3B63-4C62-AA20-66CD2B9C91A6}" presName="hierRoot2" presStyleCnt="0">
        <dgm:presLayoutVars>
          <dgm:hierBranch val="init"/>
        </dgm:presLayoutVars>
      </dgm:prSet>
      <dgm:spPr/>
    </dgm:pt>
    <dgm:pt modelId="{02E5553D-1A1F-407B-AD8B-11CF4424F875}" type="pres">
      <dgm:prSet presAssocID="{C1B81B48-3B63-4C62-AA20-66CD2B9C91A6}" presName="rootComposite" presStyleCnt="0"/>
      <dgm:spPr/>
    </dgm:pt>
    <dgm:pt modelId="{445A00AA-3110-462B-AF6E-D595E46EC92F}" type="pres">
      <dgm:prSet presAssocID="{C1B81B48-3B63-4C62-AA20-66CD2B9C91A6}" presName="rootText" presStyleLbl="node3" presStyleIdx="4" presStyleCnt="9" custScaleX="140698" custLinFactX="15971" custLinFactNeighborX="100000" custLinFactNeighborY="-18124">
        <dgm:presLayoutVars>
          <dgm:chPref val="3"/>
        </dgm:presLayoutVars>
      </dgm:prSet>
      <dgm:spPr/>
      <dgm:t>
        <a:bodyPr/>
        <a:lstStyle/>
        <a:p>
          <a:endParaRPr lang="en-GB"/>
        </a:p>
      </dgm:t>
    </dgm:pt>
    <dgm:pt modelId="{8D87BD80-F373-4BE3-B93D-788C83432492}" type="pres">
      <dgm:prSet presAssocID="{C1B81B48-3B63-4C62-AA20-66CD2B9C91A6}" presName="rootConnector" presStyleLbl="node3" presStyleIdx="4" presStyleCnt="9"/>
      <dgm:spPr/>
      <dgm:t>
        <a:bodyPr/>
        <a:lstStyle/>
        <a:p>
          <a:endParaRPr lang="en-GB"/>
        </a:p>
      </dgm:t>
    </dgm:pt>
    <dgm:pt modelId="{E7A4A4C5-E1AB-4796-B393-A2762F6960D7}" type="pres">
      <dgm:prSet presAssocID="{C1B81B48-3B63-4C62-AA20-66CD2B9C91A6}" presName="hierChild4" presStyleCnt="0"/>
      <dgm:spPr/>
    </dgm:pt>
    <dgm:pt modelId="{0D789C98-ACD3-4B80-81DD-9FBB256DF16A}" type="pres">
      <dgm:prSet presAssocID="{C1B81B48-3B63-4C62-AA20-66CD2B9C91A6}" presName="hierChild5" presStyleCnt="0"/>
      <dgm:spPr/>
    </dgm:pt>
    <dgm:pt modelId="{4D0E903E-3A04-4919-8DF2-039C691101A2}" type="pres">
      <dgm:prSet presAssocID="{FAE56224-42BE-4F81-B414-22BDF2167AA1}" presName="Name37" presStyleLbl="parChTrans1D3" presStyleIdx="5" presStyleCnt="9"/>
      <dgm:spPr/>
      <dgm:t>
        <a:bodyPr/>
        <a:lstStyle/>
        <a:p>
          <a:endParaRPr lang="en-GB"/>
        </a:p>
      </dgm:t>
    </dgm:pt>
    <dgm:pt modelId="{677B6191-A436-4CE6-B09F-41AFD0A97DC5}" type="pres">
      <dgm:prSet presAssocID="{5C24817C-1295-482F-93E5-CAA043BE8AC0}" presName="hierRoot2" presStyleCnt="0">
        <dgm:presLayoutVars>
          <dgm:hierBranch val="init"/>
        </dgm:presLayoutVars>
      </dgm:prSet>
      <dgm:spPr/>
    </dgm:pt>
    <dgm:pt modelId="{4E2162B2-B8AD-4F84-8017-2900514021D4}" type="pres">
      <dgm:prSet presAssocID="{5C24817C-1295-482F-93E5-CAA043BE8AC0}" presName="rootComposite" presStyleCnt="0"/>
      <dgm:spPr/>
    </dgm:pt>
    <dgm:pt modelId="{EC55C6DA-A48F-464D-A571-DA9E7D22F95C}" type="pres">
      <dgm:prSet presAssocID="{5C24817C-1295-482F-93E5-CAA043BE8AC0}" presName="rootText" presStyleLbl="node3" presStyleIdx="5" presStyleCnt="9" custScaleX="140698" custLinFactX="15971" custLinFactNeighborX="100000" custLinFactNeighborY="-55397">
        <dgm:presLayoutVars>
          <dgm:chPref val="3"/>
        </dgm:presLayoutVars>
      </dgm:prSet>
      <dgm:spPr/>
      <dgm:t>
        <a:bodyPr/>
        <a:lstStyle/>
        <a:p>
          <a:endParaRPr lang="en-GB"/>
        </a:p>
      </dgm:t>
    </dgm:pt>
    <dgm:pt modelId="{1B094DBF-5E3B-45CC-8799-540E83659A64}" type="pres">
      <dgm:prSet presAssocID="{5C24817C-1295-482F-93E5-CAA043BE8AC0}" presName="rootConnector" presStyleLbl="node3" presStyleIdx="5" presStyleCnt="9"/>
      <dgm:spPr/>
      <dgm:t>
        <a:bodyPr/>
        <a:lstStyle/>
        <a:p>
          <a:endParaRPr lang="en-GB"/>
        </a:p>
      </dgm:t>
    </dgm:pt>
    <dgm:pt modelId="{794A213D-B813-4534-966A-48BB9F925B86}" type="pres">
      <dgm:prSet presAssocID="{5C24817C-1295-482F-93E5-CAA043BE8AC0}" presName="hierChild4" presStyleCnt="0"/>
      <dgm:spPr/>
    </dgm:pt>
    <dgm:pt modelId="{44E7278F-BC96-4625-8CCF-BF9FB74F6B84}" type="pres">
      <dgm:prSet presAssocID="{5C24817C-1295-482F-93E5-CAA043BE8AC0}" presName="hierChild5" presStyleCnt="0"/>
      <dgm:spPr/>
    </dgm:pt>
    <dgm:pt modelId="{0CFB0504-C451-4A52-8EC0-62C2AC5C1FE8}" type="pres">
      <dgm:prSet presAssocID="{2DA896E8-403A-4261-989A-A4D5B82972D8}" presName="Name37" presStyleLbl="parChTrans1D3" presStyleIdx="6" presStyleCnt="9"/>
      <dgm:spPr/>
      <dgm:t>
        <a:bodyPr/>
        <a:lstStyle/>
        <a:p>
          <a:endParaRPr lang="en-GB"/>
        </a:p>
      </dgm:t>
    </dgm:pt>
    <dgm:pt modelId="{A9483ECE-E66B-4720-B5F3-A9C54AD34E32}" type="pres">
      <dgm:prSet presAssocID="{BE5CD816-C488-41AE-9496-C3B88308D23C}" presName="hierRoot2" presStyleCnt="0">
        <dgm:presLayoutVars>
          <dgm:hierBranch val="init"/>
        </dgm:presLayoutVars>
      </dgm:prSet>
      <dgm:spPr/>
    </dgm:pt>
    <dgm:pt modelId="{6EC9643B-F06D-44E9-8747-41989430254A}" type="pres">
      <dgm:prSet presAssocID="{BE5CD816-C488-41AE-9496-C3B88308D23C}" presName="rootComposite" presStyleCnt="0"/>
      <dgm:spPr/>
    </dgm:pt>
    <dgm:pt modelId="{E9FB107A-ABC3-45F8-ABBE-EFACB45F7F77}" type="pres">
      <dgm:prSet presAssocID="{BE5CD816-C488-41AE-9496-C3B88308D23C}" presName="rootText" presStyleLbl="node3" presStyleIdx="6" presStyleCnt="9" custScaleX="140698" custLinFactX="15971" custLinFactNeighborX="100000" custLinFactNeighborY="-89462">
        <dgm:presLayoutVars>
          <dgm:chPref val="3"/>
        </dgm:presLayoutVars>
      </dgm:prSet>
      <dgm:spPr/>
      <dgm:t>
        <a:bodyPr/>
        <a:lstStyle/>
        <a:p>
          <a:endParaRPr lang="en-GB"/>
        </a:p>
      </dgm:t>
    </dgm:pt>
    <dgm:pt modelId="{9ABBD58F-BBDA-431F-9DDC-56F572C8FCB9}" type="pres">
      <dgm:prSet presAssocID="{BE5CD816-C488-41AE-9496-C3B88308D23C}" presName="rootConnector" presStyleLbl="node3" presStyleIdx="6" presStyleCnt="9"/>
      <dgm:spPr/>
      <dgm:t>
        <a:bodyPr/>
        <a:lstStyle/>
        <a:p>
          <a:endParaRPr lang="en-GB"/>
        </a:p>
      </dgm:t>
    </dgm:pt>
    <dgm:pt modelId="{7D1E77E3-3761-447D-94F3-E6F4BB44F92B}" type="pres">
      <dgm:prSet presAssocID="{BE5CD816-C488-41AE-9496-C3B88308D23C}" presName="hierChild4" presStyleCnt="0"/>
      <dgm:spPr/>
    </dgm:pt>
    <dgm:pt modelId="{45DFE777-36E1-44E4-9D5D-DBA731014754}" type="pres">
      <dgm:prSet presAssocID="{BE5CD816-C488-41AE-9496-C3B88308D23C}" presName="hierChild5" presStyleCnt="0"/>
      <dgm:spPr/>
    </dgm:pt>
    <dgm:pt modelId="{A31CCB72-0C0F-461B-B700-9D1138A5DEA4}" type="pres">
      <dgm:prSet presAssocID="{C99C9DCE-D46D-4176-AC03-E1F27464E8F1}" presName="Name37" presStyleLbl="parChTrans1D3" presStyleIdx="7" presStyleCnt="9"/>
      <dgm:spPr/>
      <dgm:t>
        <a:bodyPr/>
        <a:lstStyle/>
        <a:p>
          <a:endParaRPr lang="en-GB"/>
        </a:p>
      </dgm:t>
    </dgm:pt>
    <dgm:pt modelId="{0F192AA6-2C35-4AC3-BA6B-C90FB164C3BE}" type="pres">
      <dgm:prSet presAssocID="{C163E80F-CDE6-4A62-803B-525928121534}" presName="hierRoot2" presStyleCnt="0">
        <dgm:presLayoutVars>
          <dgm:hierBranch val="init"/>
        </dgm:presLayoutVars>
      </dgm:prSet>
      <dgm:spPr/>
    </dgm:pt>
    <dgm:pt modelId="{2570D120-08CC-40BD-8532-F3E14C4AC386}" type="pres">
      <dgm:prSet presAssocID="{C163E80F-CDE6-4A62-803B-525928121534}" presName="rootComposite" presStyleCnt="0"/>
      <dgm:spPr/>
    </dgm:pt>
    <dgm:pt modelId="{D84F8C0C-B555-4F69-BDC1-4AC2C7B3CE16}" type="pres">
      <dgm:prSet presAssocID="{C163E80F-CDE6-4A62-803B-525928121534}" presName="rootText" presStyleLbl="node3" presStyleIdx="7" presStyleCnt="9" custScaleX="140698" custLinFactX="15721" custLinFactY="-22525" custLinFactNeighborX="100000" custLinFactNeighborY="-100000">
        <dgm:presLayoutVars>
          <dgm:chPref val="3"/>
        </dgm:presLayoutVars>
      </dgm:prSet>
      <dgm:spPr/>
      <dgm:t>
        <a:bodyPr/>
        <a:lstStyle/>
        <a:p>
          <a:endParaRPr lang="en-GB"/>
        </a:p>
      </dgm:t>
    </dgm:pt>
    <dgm:pt modelId="{9CA95456-9BAD-4782-9F9D-D2FA4B03E2DF}" type="pres">
      <dgm:prSet presAssocID="{C163E80F-CDE6-4A62-803B-525928121534}" presName="rootConnector" presStyleLbl="node3" presStyleIdx="7" presStyleCnt="9"/>
      <dgm:spPr/>
      <dgm:t>
        <a:bodyPr/>
        <a:lstStyle/>
        <a:p>
          <a:endParaRPr lang="en-GB"/>
        </a:p>
      </dgm:t>
    </dgm:pt>
    <dgm:pt modelId="{1F77970E-5497-47F3-85CE-317456720085}" type="pres">
      <dgm:prSet presAssocID="{C163E80F-CDE6-4A62-803B-525928121534}" presName="hierChild4" presStyleCnt="0"/>
      <dgm:spPr/>
    </dgm:pt>
    <dgm:pt modelId="{C71B9CEB-83F4-4FA3-B893-47E2E8183809}" type="pres">
      <dgm:prSet presAssocID="{C163E80F-CDE6-4A62-803B-525928121534}" presName="hierChild5" presStyleCnt="0"/>
      <dgm:spPr/>
    </dgm:pt>
    <dgm:pt modelId="{00BA80B2-07D5-4094-9053-CEE5D339DE93}" type="pres">
      <dgm:prSet presAssocID="{A800F176-72B7-483F-BA94-D274E17CB412}" presName="Name37" presStyleLbl="parChTrans1D3" presStyleIdx="8" presStyleCnt="9"/>
      <dgm:spPr/>
      <dgm:t>
        <a:bodyPr/>
        <a:lstStyle/>
        <a:p>
          <a:endParaRPr lang="en-GB"/>
        </a:p>
      </dgm:t>
    </dgm:pt>
    <dgm:pt modelId="{C5A825E3-A6BE-43E7-8A8E-176D3AD92D59}" type="pres">
      <dgm:prSet presAssocID="{E24CD9E3-A06B-42D8-8D35-F58A71C6F137}" presName="hierRoot2" presStyleCnt="0">
        <dgm:presLayoutVars>
          <dgm:hierBranch val="init"/>
        </dgm:presLayoutVars>
      </dgm:prSet>
      <dgm:spPr/>
    </dgm:pt>
    <dgm:pt modelId="{FEE64F9A-C0A4-4C9D-BC07-6BAD22AF9BE6}" type="pres">
      <dgm:prSet presAssocID="{E24CD9E3-A06B-42D8-8D35-F58A71C6F137}" presName="rootComposite" presStyleCnt="0"/>
      <dgm:spPr/>
    </dgm:pt>
    <dgm:pt modelId="{B9673546-DA68-46BC-B8FB-F0DEE8947F73}" type="pres">
      <dgm:prSet presAssocID="{E24CD9E3-A06B-42D8-8D35-F58A71C6F137}" presName="rootText" presStyleLbl="node3" presStyleIdx="8" presStyleCnt="9" custScaleX="140698" custLinFactX="15720" custLinFactY="-57533" custLinFactNeighborX="100000" custLinFactNeighborY="-100000">
        <dgm:presLayoutVars>
          <dgm:chPref val="3"/>
        </dgm:presLayoutVars>
      </dgm:prSet>
      <dgm:spPr/>
      <dgm:t>
        <a:bodyPr/>
        <a:lstStyle/>
        <a:p>
          <a:endParaRPr lang="en-GB"/>
        </a:p>
      </dgm:t>
    </dgm:pt>
    <dgm:pt modelId="{5604793E-1C2C-44FD-A464-A96F034208DA}" type="pres">
      <dgm:prSet presAssocID="{E24CD9E3-A06B-42D8-8D35-F58A71C6F137}" presName="rootConnector" presStyleLbl="node3" presStyleIdx="8" presStyleCnt="9"/>
      <dgm:spPr/>
      <dgm:t>
        <a:bodyPr/>
        <a:lstStyle/>
        <a:p>
          <a:endParaRPr lang="en-GB"/>
        </a:p>
      </dgm:t>
    </dgm:pt>
    <dgm:pt modelId="{7AE517A6-48AB-46E9-8142-25EDE4786428}" type="pres">
      <dgm:prSet presAssocID="{E24CD9E3-A06B-42D8-8D35-F58A71C6F137}" presName="hierChild4" presStyleCnt="0"/>
      <dgm:spPr/>
    </dgm:pt>
    <dgm:pt modelId="{34277204-E0B3-49A7-9A32-394F0718958D}" type="pres">
      <dgm:prSet presAssocID="{E24CD9E3-A06B-42D8-8D35-F58A71C6F137}" presName="hierChild5" presStyleCnt="0"/>
      <dgm:spPr/>
    </dgm:pt>
    <dgm:pt modelId="{0696BB41-3D65-4D5A-BA4C-69C941AF64AC}" type="pres">
      <dgm:prSet presAssocID="{DD734669-EFA4-4C99-A16B-C47DC11AC257}" presName="hierChild5" presStyleCnt="0"/>
      <dgm:spPr/>
    </dgm:pt>
    <dgm:pt modelId="{6C834DFA-211E-4AE9-BEB2-9B801D97DA13}" type="pres">
      <dgm:prSet presAssocID="{2996509D-37D6-46B9-89B4-7A7AC0E53DFD}" presName="hierChild3" presStyleCnt="0"/>
      <dgm:spPr/>
    </dgm:pt>
  </dgm:ptLst>
  <dgm:cxnLst>
    <dgm:cxn modelId="{E5766F8D-4EB5-481B-8B99-2AD9BDD260BD}" type="presOf" srcId="{A48C7772-3C3F-4777-A237-8EAC0050684F}" destId="{5BB1035E-6EB6-4E4D-898C-D84F688DAA95}" srcOrd="0" destOrd="0" presId="urn:microsoft.com/office/officeart/2005/8/layout/orgChart1"/>
    <dgm:cxn modelId="{67AFDC16-8C68-46F3-9DE3-51F4513842D4}" type="presOf" srcId="{DAC9CFA4-F23B-47BF-85D1-42B4794B0F68}" destId="{7AEF37A7-EE47-4678-8A61-EE71ABE774AF}" srcOrd="0" destOrd="0" presId="urn:microsoft.com/office/officeart/2005/8/layout/orgChart1"/>
    <dgm:cxn modelId="{18D43634-4836-4C35-8E39-37108FDB60C3}" type="presOf" srcId="{BE5CD816-C488-41AE-9496-C3B88308D23C}" destId="{E9FB107A-ABC3-45F8-ABBE-EFACB45F7F77}" srcOrd="0" destOrd="0" presId="urn:microsoft.com/office/officeart/2005/8/layout/orgChart1"/>
    <dgm:cxn modelId="{BE44AC75-E403-425E-B29A-A97ABEC95B07}" srcId="{2996509D-37D6-46B9-89B4-7A7AC0E53DFD}" destId="{C10A867B-9C7E-4A8D-9C5C-EB648967E2A7}" srcOrd="0" destOrd="0" parTransId="{9421269D-A21A-4407-8604-39BCD821812F}" sibTransId="{62B9F2E8-1D1C-43BD-8F29-4AEC2AB62A33}"/>
    <dgm:cxn modelId="{3DCC8948-AC3F-4026-8A84-DDE0B8B7CA03}" type="presOf" srcId="{A1759FDE-00FC-437F-88D9-D98421C11A47}" destId="{4C975EB4-7653-4746-AAD9-FE9F23AAF090}" srcOrd="1" destOrd="0" presId="urn:microsoft.com/office/officeart/2005/8/layout/orgChart1"/>
    <dgm:cxn modelId="{CF5439EB-2C6E-46CA-863A-905207D771E1}" type="presOf" srcId="{CC50273E-A4B5-4F41-9F8A-B280064E63F8}" destId="{0B4432B4-B9CF-46EB-90ED-2E135BC7040A}" srcOrd="0" destOrd="0" presId="urn:microsoft.com/office/officeart/2005/8/layout/orgChart1"/>
    <dgm:cxn modelId="{B3287D11-499C-4153-9424-80ED82C49E65}" type="presOf" srcId="{A48C7772-3C3F-4777-A237-8EAC0050684F}" destId="{BF0C28A7-59FF-4625-B774-88DD57FA6CB5}" srcOrd="1" destOrd="0" presId="urn:microsoft.com/office/officeart/2005/8/layout/orgChart1"/>
    <dgm:cxn modelId="{95B0C116-333B-43F7-A12A-097158B6A62B}" type="presOf" srcId="{C10A867B-9C7E-4A8D-9C5C-EB648967E2A7}" destId="{4A304EF6-9712-4444-9595-4963A7C1F7DD}" srcOrd="0" destOrd="0" presId="urn:microsoft.com/office/officeart/2005/8/layout/orgChart1"/>
    <dgm:cxn modelId="{E74C4337-F905-4ABE-A63D-7236C9B2381F}" srcId="{C10A867B-9C7E-4A8D-9C5C-EB648967E2A7}" destId="{0370EF63-5F29-499D-A32F-D1F08C981975}" srcOrd="2" destOrd="0" parTransId="{133D57E3-4D91-446E-A271-BB6B24AB8897}" sibTransId="{C2A3CB82-1295-4E53-91C9-89F75FDC9FA7}"/>
    <dgm:cxn modelId="{4CB876A1-585E-432B-9DDA-2F980D961939}" type="presOf" srcId="{DD734669-EFA4-4C99-A16B-C47DC11AC257}" destId="{578BB8A7-17CD-4D1C-83A5-162C72F13EC9}" srcOrd="0" destOrd="0" presId="urn:microsoft.com/office/officeart/2005/8/layout/orgChart1"/>
    <dgm:cxn modelId="{FDAF50DE-BE80-4D13-82AF-3FDB1EF51B4E}" srcId="{DD734669-EFA4-4C99-A16B-C47DC11AC257}" destId="{BE5CD816-C488-41AE-9496-C3B88308D23C}" srcOrd="2" destOrd="0" parTransId="{2DA896E8-403A-4261-989A-A4D5B82972D8}" sibTransId="{411AD981-F16A-4016-ADA6-F0E1AA7D20A7}"/>
    <dgm:cxn modelId="{C9B5120F-DA41-4F50-A659-28F5C10B4962}" type="presOf" srcId="{C163E80F-CDE6-4A62-803B-525928121534}" destId="{9CA95456-9BAD-4782-9F9D-D2FA4B03E2DF}" srcOrd="1" destOrd="0" presId="urn:microsoft.com/office/officeart/2005/8/layout/orgChart1"/>
    <dgm:cxn modelId="{2A623912-5192-43BD-BD87-33DC293FB24F}" type="presOf" srcId="{FAE56224-42BE-4F81-B414-22BDF2167AA1}" destId="{4D0E903E-3A04-4919-8DF2-039C691101A2}" srcOrd="0" destOrd="0" presId="urn:microsoft.com/office/officeart/2005/8/layout/orgChart1"/>
    <dgm:cxn modelId="{57140D31-D93B-4451-A1ED-5990183D3DFE}" type="presOf" srcId="{0370EF63-5F29-499D-A32F-D1F08C981975}" destId="{3E02FF38-4695-419D-9DF2-4936CE3B4CE0}" srcOrd="1" destOrd="0" presId="urn:microsoft.com/office/officeart/2005/8/layout/orgChart1"/>
    <dgm:cxn modelId="{01D1A9E3-C519-475B-B20E-91B5A2C1396A}" type="presOf" srcId="{0370EF63-5F29-499D-A32F-D1F08C981975}" destId="{80042F78-CB93-49B0-9807-4EA2E914934A}" srcOrd="0" destOrd="0" presId="urn:microsoft.com/office/officeart/2005/8/layout/orgChart1"/>
    <dgm:cxn modelId="{B32D7BB8-2858-4AEF-8681-584B390BCC38}" type="presOf" srcId="{BE5CD816-C488-41AE-9496-C3B88308D23C}" destId="{9ABBD58F-BBDA-431F-9DDC-56F572C8FCB9}" srcOrd="1" destOrd="0" presId="urn:microsoft.com/office/officeart/2005/8/layout/orgChart1"/>
    <dgm:cxn modelId="{264D83B7-D213-406A-ABFC-36218DCED612}" type="presOf" srcId="{E24CD9E3-A06B-42D8-8D35-F58A71C6F137}" destId="{B9673546-DA68-46BC-B8FB-F0DEE8947F73}" srcOrd="0" destOrd="0" presId="urn:microsoft.com/office/officeart/2005/8/layout/orgChart1"/>
    <dgm:cxn modelId="{38DCAEBB-1F72-49A2-ABA3-A6F764AFC742}" srcId="{C10A867B-9C7E-4A8D-9C5C-EB648967E2A7}" destId="{A1759FDE-00FC-437F-88D9-D98421C11A47}" srcOrd="1" destOrd="0" parTransId="{16BEAB49-731F-4859-B863-61909CFF6A31}" sibTransId="{4EB3AAC2-30BA-4418-A49D-CB16CD27F58D}"/>
    <dgm:cxn modelId="{175D20CB-437B-4241-B61B-50C43AD83B0A}" type="presOf" srcId="{90A789CE-D629-4662-A76F-6128D00A2A7A}" destId="{7BBB6EB4-B939-4B9C-81F5-5D3AEE8D95C9}" srcOrd="0" destOrd="0" presId="urn:microsoft.com/office/officeart/2005/8/layout/orgChart1"/>
    <dgm:cxn modelId="{30D44486-9FEE-4C6F-A889-77C7FB4A77DC}" type="presOf" srcId="{2996509D-37D6-46B9-89B4-7A7AC0E53DFD}" destId="{A5ABC949-1267-44AB-8F50-5C959D747A69}" srcOrd="1" destOrd="0" presId="urn:microsoft.com/office/officeart/2005/8/layout/orgChart1"/>
    <dgm:cxn modelId="{8855D10E-F837-46A1-B426-F0E72A3D1E7F}" type="presOf" srcId="{16BEAB49-731F-4859-B863-61909CFF6A31}" destId="{E0320984-410E-4C1D-83E5-23233F6E424A}" srcOrd="0" destOrd="0" presId="urn:microsoft.com/office/officeart/2005/8/layout/orgChart1"/>
    <dgm:cxn modelId="{AB42D5D1-9BE1-4252-947D-7CD600D76397}" type="presOf" srcId="{00F3FCD8-6BD4-4A33-8A67-FBBE2BA9A721}" destId="{3556A469-D7C6-424A-B867-6FF9C73F6874}" srcOrd="0" destOrd="0" presId="urn:microsoft.com/office/officeart/2005/8/layout/orgChart1"/>
    <dgm:cxn modelId="{A772FFC5-5833-4211-811E-31397EB79886}" type="presOf" srcId="{C10A867B-9C7E-4A8D-9C5C-EB648967E2A7}" destId="{6B13F6C4-6EEC-4CA0-897B-59A7C0E9E1CB}" srcOrd="1" destOrd="0" presId="urn:microsoft.com/office/officeart/2005/8/layout/orgChart1"/>
    <dgm:cxn modelId="{9896AAB0-1AE5-4F0E-95EA-63ADFF50583A}" type="presOf" srcId="{E24CD9E3-A06B-42D8-8D35-F58A71C6F137}" destId="{5604793E-1C2C-44FD-A464-A96F034208DA}" srcOrd="1" destOrd="0" presId="urn:microsoft.com/office/officeart/2005/8/layout/orgChart1"/>
    <dgm:cxn modelId="{0D8DCB8E-220E-4E4F-9071-DF27D84DBEDE}" srcId="{2996509D-37D6-46B9-89B4-7A7AC0E53DFD}" destId="{DD734669-EFA4-4C99-A16B-C47DC11AC257}" srcOrd="1" destOrd="0" parTransId="{CC50273E-A4B5-4F41-9F8A-B280064E63F8}" sibTransId="{FC40561F-4946-4575-A78B-877A85762064}"/>
    <dgm:cxn modelId="{29A5BC24-CBF2-43BF-B9C8-647A8BC294F9}" type="presOf" srcId="{9421269D-A21A-4407-8604-39BCD821812F}" destId="{DE0411A6-A351-457B-8005-4CD10F935587}" srcOrd="0" destOrd="0" presId="urn:microsoft.com/office/officeart/2005/8/layout/orgChart1"/>
    <dgm:cxn modelId="{47D6C77E-6A8B-4893-83F6-5270C37DBC2D}" srcId="{DD734669-EFA4-4C99-A16B-C47DC11AC257}" destId="{C1B81B48-3B63-4C62-AA20-66CD2B9C91A6}" srcOrd="0" destOrd="0" parTransId="{0C867DF7-0152-4678-9386-4601E8B8883C}" sibTransId="{F7187639-905E-48DB-A754-52BF4FA8126B}"/>
    <dgm:cxn modelId="{85E44020-38E0-4A8B-A4AB-89B18FAA9CB8}" srcId="{DD734669-EFA4-4C99-A16B-C47DC11AC257}" destId="{C163E80F-CDE6-4A62-803B-525928121534}" srcOrd="3" destOrd="0" parTransId="{C99C9DCE-D46D-4176-AC03-E1F27464E8F1}" sibTransId="{94B46C1B-0055-48D4-AECD-C20B89E096F0}"/>
    <dgm:cxn modelId="{B0C8FA4D-6520-42A1-86D1-62885D56FE02}" type="presOf" srcId="{DAC9CFA4-F23B-47BF-85D1-42B4794B0F68}" destId="{3762FF50-4515-4CD6-97CE-D1840818601A}" srcOrd="1" destOrd="0" presId="urn:microsoft.com/office/officeart/2005/8/layout/orgChart1"/>
    <dgm:cxn modelId="{EF1BB649-1D5E-407E-A3C0-09D770F160F6}" type="presOf" srcId="{0C867DF7-0152-4678-9386-4601E8B8883C}" destId="{B14E7FD9-DA21-4FC7-BF00-8CD022876B49}" srcOrd="0" destOrd="0" presId="urn:microsoft.com/office/officeart/2005/8/layout/orgChart1"/>
    <dgm:cxn modelId="{0254207D-8D78-4E59-8E4B-B418ECA2049A}" type="presOf" srcId="{A1759FDE-00FC-437F-88D9-D98421C11A47}" destId="{3FA3E14D-E1CD-42A3-9731-82A83F2CBFF4}" srcOrd="0" destOrd="0" presId="urn:microsoft.com/office/officeart/2005/8/layout/orgChart1"/>
    <dgm:cxn modelId="{8E3F2549-4706-43E3-AB9C-9E067F910161}" type="presOf" srcId="{5C24817C-1295-482F-93E5-CAA043BE8AC0}" destId="{EC55C6DA-A48F-464D-A571-DA9E7D22F95C}" srcOrd="0" destOrd="0" presId="urn:microsoft.com/office/officeart/2005/8/layout/orgChart1"/>
    <dgm:cxn modelId="{4DAAA103-A0D8-4DD5-A723-6EA1D2954D51}" srcId="{C10A867B-9C7E-4A8D-9C5C-EB648967E2A7}" destId="{DAC9CFA4-F23B-47BF-85D1-42B4794B0F68}" srcOrd="0" destOrd="0" parTransId="{00F3FCD8-6BD4-4A33-8A67-FBBE2BA9A721}" sibTransId="{58949B04-6263-46EB-B606-579728F35DC6}"/>
    <dgm:cxn modelId="{CCA4E1D3-54C3-45F2-B078-A239073CB8D4}" type="presOf" srcId="{C163E80F-CDE6-4A62-803B-525928121534}" destId="{D84F8C0C-B555-4F69-BDC1-4AC2C7B3CE16}" srcOrd="0" destOrd="0" presId="urn:microsoft.com/office/officeart/2005/8/layout/orgChart1"/>
    <dgm:cxn modelId="{7CE43E85-67B6-4B5F-B699-9F0559A8F5C2}" type="presOf" srcId="{C99C9DCE-D46D-4176-AC03-E1F27464E8F1}" destId="{A31CCB72-0C0F-461B-B700-9D1138A5DEA4}" srcOrd="0" destOrd="0" presId="urn:microsoft.com/office/officeart/2005/8/layout/orgChart1"/>
    <dgm:cxn modelId="{5A823273-5093-42CA-85A1-17BC581E5A06}" srcId="{DD734669-EFA4-4C99-A16B-C47DC11AC257}" destId="{5C24817C-1295-482F-93E5-CAA043BE8AC0}" srcOrd="1" destOrd="0" parTransId="{FAE56224-42BE-4F81-B414-22BDF2167AA1}" sibTransId="{4BB88FEB-6BCF-44E3-9A64-C80CFC6AF244}"/>
    <dgm:cxn modelId="{90820D75-8C17-4EC2-BD39-E2B6A98910E1}" type="presOf" srcId="{5C24817C-1295-482F-93E5-CAA043BE8AC0}" destId="{1B094DBF-5E3B-45CC-8799-540E83659A64}" srcOrd="1" destOrd="0" presId="urn:microsoft.com/office/officeart/2005/8/layout/orgChart1"/>
    <dgm:cxn modelId="{5A490F20-2071-4E3F-9052-516BAE9A4CF9}" type="presOf" srcId="{DD734669-EFA4-4C99-A16B-C47DC11AC257}" destId="{4E5F23C7-3366-460F-B261-88F6BEB94C93}" srcOrd="1" destOrd="0" presId="urn:microsoft.com/office/officeart/2005/8/layout/orgChart1"/>
    <dgm:cxn modelId="{5AC62D44-0D9B-413B-98AD-949D29B44612}" srcId="{93C207F5-706E-4AD3-B85D-47400AD952C0}" destId="{2996509D-37D6-46B9-89B4-7A7AC0E53DFD}" srcOrd="0" destOrd="0" parTransId="{B723190F-CE90-4B58-B72A-E0C326A71C7B}" sibTransId="{51078989-83B2-47C1-B433-EB4C0F03F9DA}"/>
    <dgm:cxn modelId="{1541159D-9DE3-4065-BAC0-0D81429D18F9}" type="presOf" srcId="{133D57E3-4D91-446E-A271-BB6B24AB8897}" destId="{A1096241-68BE-49D6-A0AA-3D2D868CF3A6}" srcOrd="0" destOrd="0" presId="urn:microsoft.com/office/officeart/2005/8/layout/orgChart1"/>
    <dgm:cxn modelId="{A55FC002-30CE-4668-979C-6D6AF9CE560C}" type="presOf" srcId="{2996509D-37D6-46B9-89B4-7A7AC0E53DFD}" destId="{AC314A81-7167-46D8-9533-8226F4DE4A45}" srcOrd="0" destOrd="0" presId="urn:microsoft.com/office/officeart/2005/8/layout/orgChart1"/>
    <dgm:cxn modelId="{ADF27A3B-405A-448E-AFFE-1A57923E0BED}" type="presOf" srcId="{93C207F5-706E-4AD3-B85D-47400AD952C0}" destId="{FFA921B9-4E7B-48CF-B6FF-45A2C771C65E}" srcOrd="0" destOrd="0" presId="urn:microsoft.com/office/officeart/2005/8/layout/orgChart1"/>
    <dgm:cxn modelId="{7FCC2E58-F82C-4F35-B491-36B17504D8C0}" type="presOf" srcId="{A800F176-72B7-483F-BA94-D274E17CB412}" destId="{00BA80B2-07D5-4094-9053-CEE5D339DE93}" srcOrd="0" destOrd="0" presId="urn:microsoft.com/office/officeart/2005/8/layout/orgChart1"/>
    <dgm:cxn modelId="{F863B9DA-AB5D-46EE-BA79-52BBE525FC31}" srcId="{DD734669-EFA4-4C99-A16B-C47DC11AC257}" destId="{E24CD9E3-A06B-42D8-8D35-F58A71C6F137}" srcOrd="4" destOrd="0" parTransId="{A800F176-72B7-483F-BA94-D274E17CB412}" sibTransId="{C37F0ABF-D6E3-4AF5-A566-181242B8D32D}"/>
    <dgm:cxn modelId="{440A02C9-A4CF-42B7-B643-D6775C4F5781}" type="presOf" srcId="{C1B81B48-3B63-4C62-AA20-66CD2B9C91A6}" destId="{8D87BD80-F373-4BE3-B93D-788C83432492}" srcOrd="1" destOrd="0" presId="urn:microsoft.com/office/officeart/2005/8/layout/orgChart1"/>
    <dgm:cxn modelId="{9DA34442-0C4B-4D24-880B-F244A00B93E1}" type="presOf" srcId="{2DA896E8-403A-4261-989A-A4D5B82972D8}" destId="{0CFB0504-C451-4A52-8EC0-62C2AC5C1FE8}" srcOrd="0" destOrd="0" presId="urn:microsoft.com/office/officeart/2005/8/layout/orgChart1"/>
    <dgm:cxn modelId="{1055C8DE-D193-4213-A2D7-0C9A78E7A92C}" type="presOf" srcId="{C1B81B48-3B63-4C62-AA20-66CD2B9C91A6}" destId="{445A00AA-3110-462B-AF6E-D595E46EC92F}" srcOrd="0" destOrd="0" presId="urn:microsoft.com/office/officeart/2005/8/layout/orgChart1"/>
    <dgm:cxn modelId="{064B7A5A-72D8-4455-AB84-EE64C82E9EF7}" srcId="{C10A867B-9C7E-4A8D-9C5C-EB648967E2A7}" destId="{A48C7772-3C3F-4777-A237-8EAC0050684F}" srcOrd="3" destOrd="0" parTransId="{90A789CE-D629-4662-A76F-6128D00A2A7A}" sibTransId="{EFB88896-D9AC-4659-B422-95A155C64A1D}"/>
    <dgm:cxn modelId="{4FD6E24E-78E4-4026-989A-2AEFA45241DC}" type="presParOf" srcId="{FFA921B9-4E7B-48CF-B6FF-45A2C771C65E}" destId="{A2C27683-BA78-4F8E-8A7A-16CD76357EFA}" srcOrd="0" destOrd="0" presId="urn:microsoft.com/office/officeart/2005/8/layout/orgChart1"/>
    <dgm:cxn modelId="{4AA8EDCE-9072-43CB-8E65-08D8F178F7D7}" type="presParOf" srcId="{A2C27683-BA78-4F8E-8A7A-16CD76357EFA}" destId="{9F8579E3-CADC-403C-9EDB-A2D6EB545FB4}" srcOrd="0" destOrd="0" presId="urn:microsoft.com/office/officeart/2005/8/layout/orgChart1"/>
    <dgm:cxn modelId="{16129DCC-B3F1-4BA6-94E9-91B61E9C1E08}" type="presParOf" srcId="{9F8579E3-CADC-403C-9EDB-A2D6EB545FB4}" destId="{AC314A81-7167-46D8-9533-8226F4DE4A45}" srcOrd="0" destOrd="0" presId="urn:microsoft.com/office/officeart/2005/8/layout/orgChart1"/>
    <dgm:cxn modelId="{8380CABC-D5EB-40B7-BE3E-83088DF5061D}" type="presParOf" srcId="{9F8579E3-CADC-403C-9EDB-A2D6EB545FB4}" destId="{A5ABC949-1267-44AB-8F50-5C959D747A69}" srcOrd="1" destOrd="0" presId="urn:microsoft.com/office/officeart/2005/8/layout/orgChart1"/>
    <dgm:cxn modelId="{9621DE47-603C-4D83-8773-DC1CBECE9923}" type="presParOf" srcId="{A2C27683-BA78-4F8E-8A7A-16CD76357EFA}" destId="{69F1981A-7AE7-405B-953A-04D6C5F52750}" srcOrd="1" destOrd="0" presId="urn:microsoft.com/office/officeart/2005/8/layout/orgChart1"/>
    <dgm:cxn modelId="{3A634806-2C51-4DF7-937E-738B776FF85D}" type="presParOf" srcId="{69F1981A-7AE7-405B-953A-04D6C5F52750}" destId="{DE0411A6-A351-457B-8005-4CD10F935587}" srcOrd="0" destOrd="0" presId="urn:microsoft.com/office/officeart/2005/8/layout/orgChart1"/>
    <dgm:cxn modelId="{2695F72C-7146-41B4-8A91-91DF6DC06E99}" type="presParOf" srcId="{69F1981A-7AE7-405B-953A-04D6C5F52750}" destId="{30E5B3C3-E075-4396-9981-1FD9C68F06B1}" srcOrd="1" destOrd="0" presId="urn:microsoft.com/office/officeart/2005/8/layout/orgChart1"/>
    <dgm:cxn modelId="{9400A8D5-5465-490F-9DA1-91B742C3C475}" type="presParOf" srcId="{30E5B3C3-E075-4396-9981-1FD9C68F06B1}" destId="{439381E7-A2D9-4E23-8E40-BFEB3836BFB9}" srcOrd="0" destOrd="0" presId="urn:microsoft.com/office/officeart/2005/8/layout/orgChart1"/>
    <dgm:cxn modelId="{60DFF19F-D1ED-4D78-B1F0-94A37479331A}" type="presParOf" srcId="{439381E7-A2D9-4E23-8E40-BFEB3836BFB9}" destId="{4A304EF6-9712-4444-9595-4963A7C1F7DD}" srcOrd="0" destOrd="0" presId="urn:microsoft.com/office/officeart/2005/8/layout/orgChart1"/>
    <dgm:cxn modelId="{B3E37858-07AB-4740-A330-48FB378FE009}" type="presParOf" srcId="{439381E7-A2D9-4E23-8E40-BFEB3836BFB9}" destId="{6B13F6C4-6EEC-4CA0-897B-59A7C0E9E1CB}" srcOrd="1" destOrd="0" presId="urn:microsoft.com/office/officeart/2005/8/layout/orgChart1"/>
    <dgm:cxn modelId="{8A6023B8-4436-4F7A-A575-DBEF1ACE57FD}" type="presParOf" srcId="{30E5B3C3-E075-4396-9981-1FD9C68F06B1}" destId="{67EBE058-F007-4468-A797-CB55E0A5769A}" srcOrd="1" destOrd="0" presId="urn:microsoft.com/office/officeart/2005/8/layout/orgChart1"/>
    <dgm:cxn modelId="{11769C9F-AF61-49E3-8402-8FDA43AD1C85}" type="presParOf" srcId="{67EBE058-F007-4468-A797-CB55E0A5769A}" destId="{3556A469-D7C6-424A-B867-6FF9C73F6874}" srcOrd="0" destOrd="0" presId="urn:microsoft.com/office/officeart/2005/8/layout/orgChart1"/>
    <dgm:cxn modelId="{53F55FC8-239C-42C9-BB58-6C87947DA55A}" type="presParOf" srcId="{67EBE058-F007-4468-A797-CB55E0A5769A}" destId="{A761AAC1-2489-46C7-A1A4-B12F053A0BB6}" srcOrd="1" destOrd="0" presId="urn:microsoft.com/office/officeart/2005/8/layout/orgChart1"/>
    <dgm:cxn modelId="{A54E40E2-E3F3-4650-94BF-09D7AD2D305F}" type="presParOf" srcId="{A761AAC1-2489-46C7-A1A4-B12F053A0BB6}" destId="{9F42F416-3D0B-48F8-9F0B-3490A4E612C6}" srcOrd="0" destOrd="0" presId="urn:microsoft.com/office/officeart/2005/8/layout/orgChart1"/>
    <dgm:cxn modelId="{AE8CCAE6-1365-41AE-B937-968788B2F252}" type="presParOf" srcId="{9F42F416-3D0B-48F8-9F0B-3490A4E612C6}" destId="{7AEF37A7-EE47-4678-8A61-EE71ABE774AF}" srcOrd="0" destOrd="0" presId="urn:microsoft.com/office/officeart/2005/8/layout/orgChart1"/>
    <dgm:cxn modelId="{14D2497C-0ECA-4A8A-B504-D4A6EEDA4171}" type="presParOf" srcId="{9F42F416-3D0B-48F8-9F0B-3490A4E612C6}" destId="{3762FF50-4515-4CD6-97CE-D1840818601A}" srcOrd="1" destOrd="0" presId="urn:microsoft.com/office/officeart/2005/8/layout/orgChart1"/>
    <dgm:cxn modelId="{D78ADCAD-CA8E-4BE4-82B3-7F2A82CC2603}" type="presParOf" srcId="{A761AAC1-2489-46C7-A1A4-B12F053A0BB6}" destId="{21A34912-211F-4C14-A4DC-AD797D366991}" srcOrd="1" destOrd="0" presId="urn:microsoft.com/office/officeart/2005/8/layout/orgChart1"/>
    <dgm:cxn modelId="{AEF96F7D-3B40-4417-8BD9-D49403492F02}" type="presParOf" srcId="{A761AAC1-2489-46C7-A1A4-B12F053A0BB6}" destId="{46139932-F7DF-442F-AFE5-7C9BB2DCAB63}" srcOrd="2" destOrd="0" presId="urn:microsoft.com/office/officeart/2005/8/layout/orgChart1"/>
    <dgm:cxn modelId="{ADB4CB66-1130-4E34-B899-8D7F36872CF7}" type="presParOf" srcId="{67EBE058-F007-4468-A797-CB55E0A5769A}" destId="{E0320984-410E-4C1D-83E5-23233F6E424A}" srcOrd="2" destOrd="0" presId="urn:microsoft.com/office/officeart/2005/8/layout/orgChart1"/>
    <dgm:cxn modelId="{A5737508-D1AF-4897-A5C9-C02ACD76CCB6}" type="presParOf" srcId="{67EBE058-F007-4468-A797-CB55E0A5769A}" destId="{5C8ABC47-B5D0-4EF3-9FB6-0CC7CE5C7999}" srcOrd="3" destOrd="0" presId="urn:microsoft.com/office/officeart/2005/8/layout/orgChart1"/>
    <dgm:cxn modelId="{7D3E5C90-12E7-4FB7-A26A-82496833ECF9}" type="presParOf" srcId="{5C8ABC47-B5D0-4EF3-9FB6-0CC7CE5C7999}" destId="{C19C9E0F-5790-4B81-8AE6-06D1F6E50721}" srcOrd="0" destOrd="0" presId="urn:microsoft.com/office/officeart/2005/8/layout/orgChart1"/>
    <dgm:cxn modelId="{7A9D4924-FDB6-49DC-A738-DC8470C9504B}" type="presParOf" srcId="{C19C9E0F-5790-4B81-8AE6-06D1F6E50721}" destId="{3FA3E14D-E1CD-42A3-9731-82A83F2CBFF4}" srcOrd="0" destOrd="0" presId="urn:microsoft.com/office/officeart/2005/8/layout/orgChart1"/>
    <dgm:cxn modelId="{9A2CBCFF-2AA4-489B-B6AA-91CBFF0B64E4}" type="presParOf" srcId="{C19C9E0F-5790-4B81-8AE6-06D1F6E50721}" destId="{4C975EB4-7653-4746-AAD9-FE9F23AAF090}" srcOrd="1" destOrd="0" presId="urn:microsoft.com/office/officeart/2005/8/layout/orgChart1"/>
    <dgm:cxn modelId="{2B34BFAE-AC83-4A2E-AA33-5EC6915CC598}" type="presParOf" srcId="{5C8ABC47-B5D0-4EF3-9FB6-0CC7CE5C7999}" destId="{DE6F9A25-BF65-4465-9708-A6ED994B6F4A}" srcOrd="1" destOrd="0" presId="urn:microsoft.com/office/officeart/2005/8/layout/orgChart1"/>
    <dgm:cxn modelId="{BAB065F8-F3AC-481A-AB6E-EE4991490983}" type="presParOf" srcId="{5C8ABC47-B5D0-4EF3-9FB6-0CC7CE5C7999}" destId="{52BAA078-1835-48F0-9FD0-1DA2D29CE14F}" srcOrd="2" destOrd="0" presId="urn:microsoft.com/office/officeart/2005/8/layout/orgChart1"/>
    <dgm:cxn modelId="{34B61942-6994-48E8-BC66-E58697C1BC33}" type="presParOf" srcId="{67EBE058-F007-4468-A797-CB55E0A5769A}" destId="{A1096241-68BE-49D6-A0AA-3D2D868CF3A6}" srcOrd="4" destOrd="0" presId="urn:microsoft.com/office/officeart/2005/8/layout/orgChart1"/>
    <dgm:cxn modelId="{A19C048C-08AF-47F1-8E2D-871D6AD0A5E6}" type="presParOf" srcId="{67EBE058-F007-4468-A797-CB55E0A5769A}" destId="{A9BA42ED-F5EE-4254-8ADE-FCE3D628FA2D}" srcOrd="5" destOrd="0" presId="urn:microsoft.com/office/officeart/2005/8/layout/orgChart1"/>
    <dgm:cxn modelId="{B558E017-8729-4A44-B5B6-12B98A40E5C2}" type="presParOf" srcId="{A9BA42ED-F5EE-4254-8ADE-FCE3D628FA2D}" destId="{7B907ECC-970F-4E16-828A-CF35B845D6CA}" srcOrd="0" destOrd="0" presId="urn:microsoft.com/office/officeart/2005/8/layout/orgChart1"/>
    <dgm:cxn modelId="{28912F74-0D14-4D41-B352-FED4958BE472}" type="presParOf" srcId="{7B907ECC-970F-4E16-828A-CF35B845D6CA}" destId="{80042F78-CB93-49B0-9807-4EA2E914934A}" srcOrd="0" destOrd="0" presId="urn:microsoft.com/office/officeart/2005/8/layout/orgChart1"/>
    <dgm:cxn modelId="{F634E520-DE6C-4DF6-81C2-9D583E1CF64A}" type="presParOf" srcId="{7B907ECC-970F-4E16-828A-CF35B845D6CA}" destId="{3E02FF38-4695-419D-9DF2-4936CE3B4CE0}" srcOrd="1" destOrd="0" presId="urn:microsoft.com/office/officeart/2005/8/layout/orgChart1"/>
    <dgm:cxn modelId="{2B00EBE1-39B5-4CAB-8190-52ED6F5FE2B2}" type="presParOf" srcId="{A9BA42ED-F5EE-4254-8ADE-FCE3D628FA2D}" destId="{56F1B45E-3CF9-4371-BF75-FDAC9E04732C}" srcOrd="1" destOrd="0" presId="urn:microsoft.com/office/officeart/2005/8/layout/orgChart1"/>
    <dgm:cxn modelId="{C10442A7-A2A9-4C5A-AF63-247563D4F82B}" type="presParOf" srcId="{A9BA42ED-F5EE-4254-8ADE-FCE3D628FA2D}" destId="{99924A54-0E02-4708-A2E1-B30FC28E64FC}" srcOrd="2" destOrd="0" presId="urn:microsoft.com/office/officeart/2005/8/layout/orgChart1"/>
    <dgm:cxn modelId="{A56292CA-6620-493A-A259-9DFFCEA90789}" type="presParOf" srcId="{67EBE058-F007-4468-A797-CB55E0A5769A}" destId="{7BBB6EB4-B939-4B9C-81F5-5D3AEE8D95C9}" srcOrd="6" destOrd="0" presId="urn:microsoft.com/office/officeart/2005/8/layout/orgChart1"/>
    <dgm:cxn modelId="{09E67566-5375-4000-8F3F-E727087FD3AE}" type="presParOf" srcId="{67EBE058-F007-4468-A797-CB55E0A5769A}" destId="{6DAEDC28-7E01-4A9C-859E-34F784FF5D1D}" srcOrd="7" destOrd="0" presId="urn:microsoft.com/office/officeart/2005/8/layout/orgChart1"/>
    <dgm:cxn modelId="{89AB9B93-FE77-4138-8F5A-91F730703A3C}" type="presParOf" srcId="{6DAEDC28-7E01-4A9C-859E-34F784FF5D1D}" destId="{3DCCB43A-8826-438A-9893-A6D9BFD5CC5E}" srcOrd="0" destOrd="0" presId="urn:microsoft.com/office/officeart/2005/8/layout/orgChart1"/>
    <dgm:cxn modelId="{47F57996-AE38-42B3-B79A-6DB5A55557DC}" type="presParOf" srcId="{3DCCB43A-8826-438A-9893-A6D9BFD5CC5E}" destId="{5BB1035E-6EB6-4E4D-898C-D84F688DAA95}" srcOrd="0" destOrd="0" presId="urn:microsoft.com/office/officeart/2005/8/layout/orgChart1"/>
    <dgm:cxn modelId="{203F1B67-C0D2-4C6F-8E4B-82D9AB4BA25B}" type="presParOf" srcId="{3DCCB43A-8826-438A-9893-A6D9BFD5CC5E}" destId="{BF0C28A7-59FF-4625-B774-88DD57FA6CB5}" srcOrd="1" destOrd="0" presId="urn:microsoft.com/office/officeart/2005/8/layout/orgChart1"/>
    <dgm:cxn modelId="{66E4DC0D-64B9-434A-85CD-E200B66A26F9}" type="presParOf" srcId="{6DAEDC28-7E01-4A9C-859E-34F784FF5D1D}" destId="{72CD524D-8CC6-4410-92A3-615193285A07}" srcOrd="1" destOrd="0" presId="urn:microsoft.com/office/officeart/2005/8/layout/orgChart1"/>
    <dgm:cxn modelId="{31735108-4C9F-490A-A935-D5589FFE1FED}" type="presParOf" srcId="{6DAEDC28-7E01-4A9C-859E-34F784FF5D1D}" destId="{6B567D67-8974-4FAF-A78D-E6DBF1FC8B8E}" srcOrd="2" destOrd="0" presId="urn:microsoft.com/office/officeart/2005/8/layout/orgChart1"/>
    <dgm:cxn modelId="{293D15C4-C287-4B19-906A-A88B416E8E96}" type="presParOf" srcId="{30E5B3C3-E075-4396-9981-1FD9C68F06B1}" destId="{68821F0D-179F-44CE-92FE-C4DE510BE1FA}" srcOrd="2" destOrd="0" presId="urn:microsoft.com/office/officeart/2005/8/layout/orgChart1"/>
    <dgm:cxn modelId="{93B73F4B-63FA-4BC4-AD3A-F8806A81CA36}" type="presParOf" srcId="{69F1981A-7AE7-405B-953A-04D6C5F52750}" destId="{0B4432B4-B9CF-46EB-90ED-2E135BC7040A}" srcOrd="2" destOrd="0" presId="urn:microsoft.com/office/officeart/2005/8/layout/orgChart1"/>
    <dgm:cxn modelId="{D9D3F9FC-2A8E-4027-9989-46386E5C06EC}" type="presParOf" srcId="{69F1981A-7AE7-405B-953A-04D6C5F52750}" destId="{2F3AE90D-43BF-4DA7-8B7F-B6A635DAEEDF}" srcOrd="3" destOrd="0" presId="urn:microsoft.com/office/officeart/2005/8/layout/orgChart1"/>
    <dgm:cxn modelId="{EAA92E44-6300-4E5F-A18A-A55718A17AA0}" type="presParOf" srcId="{2F3AE90D-43BF-4DA7-8B7F-B6A635DAEEDF}" destId="{E31B560E-02DA-4D54-B963-34D00C1D32AD}" srcOrd="0" destOrd="0" presId="urn:microsoft.com/office/officeart/2005/8/layout/orgChart1"/>
    <dgm:cxn modelId="{FB087908-FA5C-4ABB-B67C-B351E90DDF59}" type="presParOf" srcId="{E31B560E-02DA-4D54-B963-34D00C1D32AD}" destId="{578BB8A7-17CD-4D1C-83A5-162C72F13EC9}" srcOrd="0" destOrd="0" presId="urn:microsoft.com/office/officeart/2005/8/layout/orgChart1"/>
    <dgm:cxn modelId="{E7660FB8-5A66-46B1-8C4B-E0C46B075FD7}" type="presParOf" srcId="{E31B560E-02DA-4D54-B963-34D00C1D32AD}" destId="{4E5F23C7-3366-460F-B261-88F6BEB94C93}" srcOrd="1" destOrd="0" presId="urn:microsoft.com/office/officeart/2005/8/layout/orgChart1"/>
    <dgm:cxn modelId="{0A886480-5D8B-45F7-B437-3131046DA99C}" type="presParOf" srcId="{2F3AE90D-43BF-4DA7-8B7F-B6A635DAEEDF}" destId="{46581CCF-E166-4112-9398-8898A092DEBD}" srcOrd="1" destOrd="0" presId="urn:microsoft.com/office/officeart/2005/8/layout/orgChart1"/>
    <dgm:cxn modelId="{633E8F25-4C93-49E6-98EA-53F22B3B7AF1}" type="presParOf" srcId="{46581CCF-E166-4112-9398-8898A092DEBD}" destId="{B14E7FD9-DA21-4FC7-BF00-8CD022876B49}" srcOrd="0" destOrd="0" presId="urn:microsoft.com/office/officeart/2005/8/layout/orgChart1"/>
    <dgm:cxn modelId="{2C2C61FA-AC2C-4004-8BDC-571071B6CAA6}" type="presParOf" srcId="{46581CCF-E166-4112-9398-8898A092DEBD}" destId="{ADA2CC09-7175-4543-B502-6D5F30248465}" srcOrd="1" destOrd="0" presId="urn:microsoft.com/office/officeart/2005/8/layout/orgChart1"/>
    <dgm:cxn modelId="{A2636035-023C-4C54-B4F8-0E7340DF19A9}" type="presParOf" srcId="{ADA2CC09-7175-4543-B502-6D5F30248465}" destId="{02E5553D-1A1F-407B-AD8B-11CF4424F875}" srcOrd="0" destOrd="0" presId="urn:microsoft.com/office/officeart/2005/8/layout/orgChart1"/>
    <dgm:cxn modelId="{1E9EC4E7-E52A-4A95-BCEF-A09F75A9B00D}" type="presParOf" srcId="{02E5553D-1A1F-407B-AD8B-11CF4424F875}" destId="{445A00AA-3110-462B-AF6E-D595E46EC92F}" srcOrd="0" destOrd="0" presId="urn:microsoft.com/office/officeart/2005/8/layout/orgChart1"/>
    <dgm:cxn modelId="{C96BBD67-0069-44D9-BBF9-A38258E6E785}" type="presParOf" srcId="{02E5553D-1A1F-407B-AD8B-11CF4424F875}" destId="{8D87BD80-F373-4BE3-B93D-788C83432492}" srcOrd="1" destOrd="0" presId="urn:microsoft.com/office/officeart/2005/8/layout/orgChart1"/>
    <dgm:cxn modelId="{9F1ED13E-EDB4-418E-930D-1BB91CF4BA19}" type="presParOf" srcId="{ADA2CC09-7175-4543-B502-6D5F30248465}" destId="{E7A4A4C5-E1AB-4796-B393-A2762F6960D7}" srcOrd="1" destOrd="0" presId="urn:microsoft.com/office/officeart/2005/8/layout/orgChart1"/>
    <dgm:cxn modelId="{CD5CC6F2-EA7B-460F-B7F9-A6E1947D8CDC}" type="presParOf" srcId="{ADA2CC09-7175-4543-B502-6D5F30248465}" destId="{0D789C98-ACD3-4B80-81DD-9FBB256DF16A}" srcOrd="2" destOrd="0" presId="urn:microsoft.com/office/officeart/2005/8/layout/orgChart1"/>
    <dgm:cxn modelId="{D2AF4861-92FB-457D-AEEA-7AC31B1A46E9}" type="presParOf" srcId="{46581CCF-E166-4112-9398-8898A092DEBD}" destId="{4D0E903E-3A04-4919-8DF2-039C691101A2}" srcOrd="2" destOrd="0" presId="urn:microsoft.com/office/officeart/2005/8/layout/orgChart1"/>
    <dgm:cxn modelId="{B8C490E3-6B2E-4B0B-8392-ECADA52874DB}" type="presParOf" srcId="{46581CCF-E166-4112-9398-8898A092DEBD}" destId="{677B6191-A436-4CE6-B09F-41AFD0A97DC5}" srcOrd="3" destOrd="0" presId="urn:microsoft.com/office/officeart/2005/8/layout/orgChart1"/>
    <dgm:cxn modelId="{AFEE031D-FCEA-4276-AA74-38E1A00C9587}" type="presParOf" srcId="{677B6191-A436-4CE6-B09F-41AFD0A97DC5}" destId="{4E2162B2-B8AD-4F84-8017-2900514021D4}" srcOrd="0" destOrd="0" presId="urn:microsoft.com/office/officeart/2005/8/layout/orgChart1"/>
    <dgm:cxn modelId="{AEFB888E-E6B8-41D3-B4B3-196E3A20853E}" type="presParOf" srcId="{4E2162B2-B8AD-4F84-8017-2900514021D4}" destId="{EC55C6DA-A48F-464D-A571-DA9E7D22F95C}" srcOrd="0" destOrd="0" presId="urn:microsoft.com/office/officeart/2005/8/layout/orgChart1"/>
    <dgm:cxn modelId="{11520C16-2812-4A69-A6B2-93D22ACABEE9}" type="presParOf" srcId="{4E2162B2-B8AD-4F84-8017-2900514021D4}" destId="{1B094DBF-5E3B-45CC-8799-540E83659A64}" srcOrd="1" destOrd="0" presId="urn:microsoft.com/office/officeart/2005/8/layout/orgChart1"/>
    <dgm:cxn modelId="{45E0AA37-E5BF-40BE-92F2-3F9EA8E7B18F}" type="presParOf" srcId="{677B6191-A436-4CE6-B09F-41AFD0A97DC5}" destId="{794A213D-B813-4534-966A-48BB9F925B86}" srcOrd="1" destOrd="0" presId="urn:microsoft.com/office/officeart/2005/8/layout/orgChart1"/>
    <dgm:cxn modelId="{6BA2C865-3AED-4F20-8C98-AA0DB8C6C02B}" type="presParOf" srcId="{677B6191-A436-4CE6-B09F-41AFD0A97DC5}" destId="{44E7278F-BC96-4625-8CCF-BF9FB74F6B84}" srcOrd="2" destOrd="0" presId="urn:microsoft.com/office/officeart/2005/8/layout/orgChart1"/>
    <dgm:cxn modelId="{BBFCC30D-BEC0-445C-9BEC-3A3FEFC19C1D}" type="presParOf" srcId="{46581CCF-E166-4112-9398-8898A092DEBD}" destId="{0CFB0504-C451-4A52-8EC0-62C2AC5C1FE8}" srcOrd="4" destOrd="0" presId="urn:microsoft.com/office/officeart/2005/8/layout/orgChart1"/>
    <dgm:cxn modelId="{4F6DACF5-05CA-4432-A8FF-4EE581DC1827}" type="presParOf" srcId="{46581CCF-E166-4112-9398-8898A092DEBD}" destId="{A9483ECE-E66B-4720-B5F3-A9C54AD34E32}" srcOrd="5" destOrd="0" presId="urn:microsoft.com/office/officeart/2005/8/layout/orgChart1"/>
    <dgm:cxn modelId="{31EE9813-140D-457A-B307-634D572EE38C}" type="presParOf" srcId="{A9483ECE-E66B-4720-B5F3-A9C54AD34E32}" destId="{6EC9643B-F06D-44E9-8747-41989430254A}" srcOrd="0" destOrd="0" presId="urn:microsoft.com/office/officeart/2005/8/layout/orgChart1"/>
    <dgm:cxn modelId="{6D191D34-480D-4BC7-8DF6-AE7C4969FC79}" type="presParOf" srcId="{6EC9643B-F06D-44E9-8747-41989430254A}" destId="{E9FB107A-ABC3-45F8-ABBE-EFACB45F7F77}" srcOrd="0" destOrd="0" presId="urn:microsoft.com/office/officeart/2005/8/layout/orgChart1"/>
    <dgm:cxn modelId="{C5D905BA-AE90-4F1A-AE20-FE1382094FF9}" type="presParOf" srcId="{6EC9643B-F06D-44E9-8747-41989430254A}" destId="{9ABBD58F-BBDA-431F-9DDC-56F572C8FCB9}" srcOrd="1" destOrd="0" presId="urn:microsoft.com/office/officeart/2005/8/layout/orgChart1"/>
    <dgm:cxn modelId="{03668147-777B-472C-BCEB-37A3AD70F1D4}" type="presParOf" srcId="{A9483ECE-E66B-4720-B5F3-A9C54AD34E32}" destId="{7D1E77E3-3761-447D-94F3-E6F4BB44F92B}" srcOrd="1" destOrd="0" presId="urn:microsoft.com/office/officeart/2005/8/layout/orgChart1"/>
    <dgm:cxn modelId="{0976D46B-6D5B-4CC4-B61E-DC25DD4F5261}" type="presParOf" srcId="{A9483ECE-E66B-4720-B5F3-A9C54AD34E32}" destId="{45DFE777-36E1-44E4-9D5D-DBA731014754}" srcOrd="2" destOrd="0" presId="urn:microsoft.com/office/officeart/2005/8/layout/orgChart1"/>
    <dgm:cxn modelId="{41F31583-9194-47E2-A640-6AE63034CC95}" type="presParOf" srcId="{46581CCF-E166-4112-9398-8898A092DEBD}" destId="{A31CCB72-0C0F-461B-B700-9D1138A5DEA4}" srcOrd="6" destOrd="0" presId="urn:microsoft.com/office/officeart/2005/8/layout/orgChart1"/>
    <dgm:cxn modelId="{576D957C-A6F1-471E-B7DB-575F00DE52EA}" type="presParOf" srcId="{46581CCF-E166-4112-9398-8898A092DEBD}" destId="{0F192AA6-2C35-4AC3-BA6B-C90FB164C3BE}" srcOrd="7" destOrd="0" presId="urn:microsoft.com/office/officeart/2005/8/layout/orgChart1"/>
    <dgm:cxn modelId="{0D806250-58B5-40F7-8A29-B912E010BB0B}" type="presParOf" srcId="{0F192AA6-2C35-4AC3-BA6B-C90FB164C3BE}" destId="{2570D120-08CC-40BD-8532-F3E14C4AC386}" srcOrd="0" destOrd="0" presId="urn:microsoft.com/office/officeart/2005/8/layout/orgChart1"/>
    <dgm:cxn modelId="{21D00ED2-F1FE-4010-9986-92FBB05BE3D6}" type="presParOf" srcId="{2570D120-08CC-40BD-8532-F3E14C4AC386}" destId="{D84F8C0C-B555-4F69-BDC1-4AC2C7B3CE16}" srcOrd="0" destOrd="0" presId="urn:microsoft.com/office/officeart/2005/8/layout/orgChart1"/>
    <dgm:cxn modelId="{9FABF993-4886-4160-BBC0-3B94A07B23FD}" type="presParOf" srcId="{2570D120-08CC-40BD-8532-F3E14C4AC386}" destId="{9CA95456-9BAD-4782-9F9D-D2FA4B03E2DF}" srcOrd="1" destOrd="0" presId="urn:microsoft.com/office/officeart/2005/8/layout/orgChart1"/>
    <dgm:cxn modelId="{9C0D2D61-CB14-4983-8B7E-E580B871C60D}" type="presParOf" srcId="{0F192AA6-2C35-4AC3-BA6B-C90FB164C3BE}" destId="{1F77970E-5497-47F3-85CE-317456720085}" srcOrd="1" destOrd="0" presId="urn:microsoft.com/office/officeart/2005/8/layout/orgChart1"/>
    <dgm:cxn modelId="{74D7B1AD-C592-457D-B201-D4C24FF2F67E}" type="presParOf" srcId="{0F192AA6-2C35-4AC3-BA6B-C90FB164C3BE}" destId="{C71B9CEB-83F4-4FA3-B893-47E2E8183809}" srcOrd="2" destOrd="0" presId="urn:microsoft.com/office/officeart/2005/8/layout/orgChart1"/>
    <dgm:cxn modelId="{904B4D8F-63D0-490D-9AAD-FD05D8BCABB0}" type="presParOf" srcId="{46581CCF-E166-4112-9398-8898A092DEBD}" destId="{00BA80B2-07D5-4094-9053-CEE5D339DE93}" srcOrd="8" destOrd="0" presId="urn:microsoft.com/office/officeart/2005/8/layout/orgChart1"/>
    <dgm:cxn modelId="{0571F453-CA72-4E97-9909-EF2AB723E7CF}" type="presParOf" srcId="{46581CCF-E166-4112-9398-8898A092DEBD}" destId="{C5A825E3-A6BE-43E7-8A8E-176D3AD92D59}" srcOrd="9" destOrd="0" presId="urn:microsoft.com/office/officeart/2005/8/layout/orgChart1"/>
    <dgm:cxn modelId="{82649302-D81D-4EFE-A41E-CB462A976E78}" type="presParOf" srcId="{C5A825E3-A6BE-43E7-8A8E-176D3AD92D59}" destId="{FEE64F9A-C0A4-4C9D-BC07-6BAD22AF9BE6}" srcOrd="0" destOrd="0" presId="urn:microsoft.com/office/officeart/2005/8/layout/orgChart1"/>
    <dgm:cxn modelId="{B2049F4B-3BF2-4A2A-BF34-4D754EAF117E}" type="presParOf" srcId="{FEE64F9A-C0A4-4C9D-BC07-6BAD22AF9BE6}" destId="{B9673546-DA68-46BC-B8FB-F0DEE8947F73}" srcOrd="0" destOrd="0" presId="urn:microsoft.com/office/officeart/2005/8/layout/orgChart1"/>
    <dgm:cxn modelId="{AACD64F0-1018-4F2D-AB71-166C34EB3D55}" type="presParOf" srcId="{FEE64F9A-C0A4-4C9D-BC07-6BAD22AF9BE6}" destId="{5604793E-1C2C-44FD-A464-A96F034208DA}" srcOrd="1" destOrd="0" presId="urn:microsoft.com/office/officeart/2005/8/layout/orgChart1"/>
    <dgm:cxn modelId="{521C7621-0DC4-446A-88A7-42F4C154F879}" type="presParOf" srcId="{C5A825E3-A6BE-43E7-8A8E-176D3AD92D59}" destId="{7AE517A6-48AB-46E9-8142-25EDE4786428}" srcOrd="1" destOrd="0" presId="urn:microsoft.com/office/officeart/2005/8/layout/orgChart1"/>
    <dgm:cxn modelId="{6CD69BDF-C837-45EF-A45D-6EBA9723FF11}" type="presParOf" srcId="{C5A825E3-A6BE-43E7-8A8E-176D3AD92D59}" destId="{34277204-E0B3-49A7-9A32-394F0718958D}" srcOrd="2" destOrd="0" presId="urn:microsoft.com/office/officeart/2005/8/layout/orgChart1"/>
    <dgm:cxn modelId="{5BC258DF-4666-4F61-B5F7-192494180E12}" type="presParOf" srcId="{2F3AE90D-43BF-4DA7-8B7F-B6A635DAEEDF}" destId="{0696BB41-3D65-4D5A-BA4C-69C941AF64AC}" srcOrd="2" destOrd="0" presId="urn:microsoft.com/office/officeart/2005/8/layout/orgChart1"/>
    <dgm:cxn modelId="{B76A4376-DFFC-4F90-87CD-EEAE43D5B005}" type="presParOf" srcId="{A2C27683-BA78-4F8E-8A7A-16CD76357EFA}" destId="{6C834DFA-211E-4AE9-BEB2-9B801D97DA13}"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3837241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4101290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4259526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9132420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8104211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10318108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864123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8107617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34648500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1427641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21891893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38138578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23670406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31631648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22169319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472292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4850931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39802042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27725479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292276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41558280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696154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1945575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11504273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33</a:t>
            </a:fld>
            <a:endParaRPr lang="en-GB" dirty="0"/>
          </a:p>
        </p:txBody>
      </p:sp>
    </p:spTree>
    <p:extLst>
      <p:ext uri="{BB962C8B-B14F-4D97-AF65-F5344CB8AC3E}">
        <p14:creationId xmlns:p14="http://schemas.microsoft.com/office/powerpoint/2010/main" val="27825463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3792318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40517797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15577174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24472332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360179850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3911192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23572726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29190068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1</a:t>
            </a:fld>
            <a:endParaRPr lang="en-GB" dirty="0"/>
          </a:p>
        </p:txBody>
      </p:sp>
    </p:spTree>
    <p:extLst>
      <p:ext uri="{BB962C8B-B14F-4D97-AF65-F5344CB8AC3E}">
        <p14:creationId xmlns:p14="http://schemas.microsoft.com/office/powerpoint/2010/main" val="5039778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2</a:t>
            </a:fld>
            <a:endParaRPr lang="en-GB" dirty="0"/>
          </a:p>
        </p:txBody>
      </p:sp>
    </p:spTree>
    <p:extLst>
      <p:ext uri="{BB962C8B-B14F-4D97-AF65-F5344CB8AC3E}">
        <p14:creationId xmlns:p14="http://schemas.microsoft.com/office/powerpoint/2010/main" val="30690903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29961258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4</a:t>
            </a:fld>
            <a:endParaRPr lang="en-GB" dirty="0"/>
          </a:p>
        </p:txBody>
      </p:sp>
    </p:spTree>
    <p:extLst>
      <p:ext uri="{BB962C8B-B14F-4D97-AF65-F5344CB8AC3E}">
        <p14:creationId xmlns:p14="http://schemas.microsoft.com/office/powerpoint/2010/main" val="327725562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5</a:t>
            </a:fld>
            <a:endParaRPr lang="en-GB" dirty="0"/>
          </a:p>
        </p:txBody>
      </p:sp>
    </p:spTree>
    <p:extLst>
      <p:ext uri="{BB962C8B-B14F-4D97-AF65-F5344CB8AC3E}">
        <p14:creationId xmlns:p14="http://schemas.microsoft.com/office/powerpoint/2010/main" val="29420053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6</a:t>
            </a:fld>
            <a:endParaRPr lang="en-GB" dirty="0"/>
          </a:p>
        </p:txBody>
      </p:sp>
    </p:spTree>
    <p:extLst>
      <p:ext uri="{BB962C8B-B14F-4D97-AF65-F5344CB8AC3E}">
        <p14:creationId xmlns:p14="http://schemas.microsoft.com/office/powerpoint/2010/main" val="22238452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7</a:t>
            </a:fld>
            <a:endParaRPr lang="en-GB" dirty="0"/>
          </a:p>
        </p:txBody>
      </p:sp>
    </p:spTree>
    <p:extLst>
      <p:ext uri="{BB962C8B-B14F-4D97-AF65-F5344CB8AC3E}">
        <p14:creationId xmlns:p14="http://schemas.microsoft.com/office/powerpoint/2010/main" val="1403198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8</a:t>
            </a:fld>
            <a:endParaRPr lang="en-GB" dirty="0"/>
          </a:p>
        </p:txBody>
      </p:sp>
    </p:spTree>
    <p:extLst>
      <p:ext uri="{BB962C8B-B14F-4D97-AF65-F5344CB8AC3E}">
        <p14:creationId xmlns:p14="http://schemas.microsoft.com/office/powerpoint/2010/main" val="19670060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9</a:t>
            </a:fld>
            <a:endParaRPr lang="en-GB" dirty="0"/>
          </a:p>
        </p:txBody>
      </p:sp>
    </p:spTree>
    <p:extLst>
      <p:ext uri="{BB962C8B-B14F-4D97-AF65-F5344CB8AC3E}">
        <p14:creationId xmlns:p14="http://schemas.microsoft.com/office/powerpoint/2010/main" val="273121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82365271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0</a:t>
            </a:fld>
            <a:endParaRPr lang="en-GB" dirty="0"/>
          </a:p>
        </p:txBody>
      </p:sp>
    </p:spTree>
    <p:extLst>
      <p:ext uri="{BB962C8B-B14F-4D97-AF65-F5344CB8AC3E}">
        <p14:creationId xmlns:p14="http://schemas.microsoft.com/office/powerpoint/2010/main" val="21070608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1</a:t>
            </a:fld>
            <a:endParaRPr lang="en-GB" dirty="0"/>
          </a:p>
        </p:txBody>
      </p:sp>
    </p:spTree>
    <p:extLst>
      <p:ext uri="{BB962C8B-B14F-4D97-AF65-F5344CB8AC3E}">
        <p14:creationId xmlns:p14="http://schemas.microsoft.com/office/powerpoint/2010/main" val="31105569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2</a:t>
            </a:fld>
            <a:endParaRPr lang="en-GB" dirty="0"/>
          </a:p>
        </p:txBody>
      </p:sp>
    </p:spTree>
    <p:extLst>
      <p:ext uri="{BB962C8B-B14F-4D97-AF65-F5344CB8AC3E}">
        <p14:creationId xmlns:p14="http://schemas.microsoft.com/office/powerpoint/2010/main" val="599046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3</a:t>
            </a:fld>
            <a:endParaRPr lang="en-GB" dirty="0"/>
          </a:p>
        </p:txBody>
      </p:sp>
    </p:spTree>
    <p:extLst>
      <p:ext uri="{BB962C8B-B14F-4D97-AF65-F5344CB8AC3E}">
        <p14:creationId xmlns:p14="http://schemas.microsoft.com/office/powerpoint/2010/main" val="28135407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4</a:t>
            </a:fld>
            <a:endParaRPr lang="en-GB" dirty="0"/>
          </a:p>
        </p:txBody>
      </p:sp>
    </p:spTree>
    <p:extLst>
      <p:ext uri="{BB962C8B-B14F-4D97-AF65-F5344CB8AC3E}">
        <p14:creationId xmlns:p14="http://schemas.microsoft.com/office/powerpoint/2010/main" val="11186288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5</a:t>
            </a:fld>
            <a:endParaRPr lang="en-GB" dirty="0"/>
          </a:p>
        </p:txBody>
      </p:sp>
    </p:spTree>
    <p:extLst>
      <p:ext uri="{BB962C8B-B14F-4D97-AF65-F5344CB8AC3E}">
        <p14:creationId xmlns:p14="http://schemas.microsoft.com/office/powerpoint/2010/main" val="15678836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6</a:t>
            </a:fld>
            <a:endParaRPr lang="en-GB" dirty="0"/>
          </a:p>
        </p:txBody>
      </p:sp>
    </p:spTree>
    <p:extLst>
      <p:ext uri="{BB962C8B-B14F-4D97-AF65-F5344CB8AC3E}">
        <p14:creationId xmlns:p14="http://schemas.microsoft.com/office/powerpoint/2010/main" val="308041546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7</a:t>
            </a:fld>
            <a:endParaRPr lang="en-GB" dirty="0"/>
          </a:p>
        </p:txBody>
      </p:sp>
    </p:spTree>
    <p:extLst>
      <p:ext uri="{BB962C8B-B14F-4D97-AF65-F5344CB8AC3E}">
        <p14:creationId xmlns:p14="http://schemas.microsoft.com/office/powerpoint/2010/main" val="369581825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8</a:t>
            </a:fld>
            <a:endParaRPr lang="en-GB" dirty="0"/>
          </a:p>
        </p:txBody>
      </p:sp>
    </p:spTree>
    <p:extLst>
      <p:ext uri="{BB962C8B-B14F-4D97-AF65-F5344CB8AC3E}">
        <p14:creationId xmlns:p14="http://schemas.microsoft.com/office/powerpoint/2010/main" val="36591953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9</a:t>
            </a:fld>
            <a:endParaRPr lang="en-GB" dirty="0"/>
          </a:p>
        </p:txBody>
      </p:sp>
    </p:spTree>
    <p:extLst>
      <p:ext uri="{BB962C8B-B14F-4D97-AF65-F5344CB8AC3E}">
        <p14:creationId xmlns:p14="http://schemas.microsoft.com/office/powerpoint/2010/main" val="39412466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8237348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0</a:t>
            </a:fld>
            <a:endParaRPr lang="en-GB" dirty="0"/>
          </a:p>
        </p:txBody>
      </p:sp>
    </p:spTree>
    <p:extLst>
      <p:ext uri="{BB962C8B-B14F-4D97-AF65-F5344CB8AC3E}">
        <p14:creationId xmlns:p14="http://schemas.microsoft.com/office/powerpoint/2010/main" val="403559938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1</a:t>
            </a:fld>
            <a:endParaRPr lang="en-GB" dirty="0"/>
          </a:p>
        </p:txBody>
      </p:sp>
    </p:spTree>
    <p:extLst>
      <p:ext uri="{BB962C8B-B14F-4D97-AF65-F5344CB8AC3E}">
        <p14:creationId xmlns:p14="http://schemas.microsoft.com/office/powerpoint/2010/main" val="381090384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2</a:t>
            </a:fld>
            <a:endParaRPr lang="en-GB" dirty="0"/>
          </a:p>
        </p:txBody>
      </p:sp>
    </p:spTree>
    <p:extLst>
      <p:ext uri="{BB962C8B-B14F-4D97-AF65-F5344CB8AC3E}">
        <p14:creationId xmlns:p14="http://schemas.microsoft.com/office/powerpoint/2010/main" val="180177626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3</a:t>
            </a:fld>
            <a:endParaRPr lang="en-GB" dirty="0"/>
          </a:p>
        </p:txBody>
      </p:sp>
    </p:spTree>
    <p:extLst>
      <p:ext uri="{BB962C8B-B14F-4D97-AF65-F5344CB8AC3E}">
        <p14:creationId xmlns:p14="http://schemas.microsoft.com/office/powerpoint/2010/main" val="917162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4</a:t>
            </a:fld>
            <a:endParaRPr lang="en-GB" dirty="0"/>
          </a:p>
        </p:txBody>
      </p:sp>
    </p:spTree>
    <p:extLst>
      <p:ext uri="{BB962C8B-B14F-4D97-AF65-F5344CB8AC3E}">
        <p14:creationId xmlns:p14="http://schemas.microsoft.com/office/powerpoint/2010/main" val="26409039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5</a:t>
            </a:fld>
            <a:endParaRPr lang="en-GB" dirty="0"/>
          </a:p>
        </p:txBody>
      </p:sp>
    </p:spTree>
    <p:extLst>
      <p:ext uri="{BB962C8B-B14F-4D97-AF65-F5344CB8AC3E}">
        <p14:creationId xmlns:p14="http://schemas.microsoft.com/office/powerpoint/2010/main" val="12461245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6</a:t>
            </a:fld>
            <a:endParaRPr lang="en-GB" dirty="0"/>
          </a:p>
        </p:txBody>
      </p:sp>
    </p:spTree>
    <p:extLst>
      <p:ext uri="{BB962C8B-B14F-4D97-AF65-F5344CB8AC3E}">
        <p14:creationId xmlns:p14="http://schemas.microsoft.com/office/powerpoint/2010/main" val="31374544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7</a:t>
            </a:fld>
            <a:endParaRPr lang="en-GB" dirty="0"/>
          </a:p>
        </p:txBody>
      </p:sp>
    </p:spTree>
    <p:extLst>
      <p:ext uri="{BB962C8B-B14F-4D97-AF65-F5344CB8AC3E}">
        <p14:creationId xmlns:p14="http://schemas.microsoft.com/office/powerpoint/2010/main" val="354061411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8</a:t>
            </a:fld>
            <a:endParaRPr lang="en-GB" dirty="0"/>
          </a:p>
        </p:txBody>
      </p:sp>
    </p:spTree>
    <p:extLst>
      <p:ext uri="{BB962C8B-B14F-4D97-AF65-F5344CB8AC3E}">
        <p14:creationId xmlns:p14="http://schemas.microsoft.com/office/powerpoint/2010/main" val="21643749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9</a:t>
            </a:fld>
            <a:endParaRPr lang="en-GB" dirty="0"/>
          </a:p>
        </p:txBody>
      </p:sp>
    </p:spTree>
    <p:extLst>
      <p:ext uri="{BB962C8B-B14F-4D97-AF65-F5344CB8AC3E}">
        <p14:creationId xmlns:p14="http://schemas.microsoft.com/office/powerpoint/2010/main" val="2727172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286866882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0</a:t>
            </a:fld>
            <a:endParaRPr lang="en-GB" dirty="0"/>
          </a:p>
        </p:txBody>
      </p:sp>
    </p:spTree>
    <p:extLst>
      <p:ext uri="{BB962C8B-B14F-4D97-AF65-F5344CB8AC3E}">
        <p14:creationId xmlns:p14="http://schemas.microsoft.com/office/powerpoint/2010/main" val="12313544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1</a:t>
            </a:fld>
            <a:endParaRPr lang="en-GB" dirty="0"/>
          </a:p>
        </p:txBody>
      </p:sp>
    </p:spTree>
    <p:extLst>
      <p:ext uri="{BB962C8B-B14F-4D97-AF65-F5344CB8AC3E}">
        <p14:creationId xmlns:p14="http://schemas.microsoft.com/office/powerpoint/2010/main" val="241779294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2</a:t>
            </a:fld>
            <a:endParaRPr lang="en-GB" dirty="0"/>
          </a:p>
        </p:txBody>
      </p:sp>
    </p:spTree>
    <p:extLst>
      <p:ext uri="{BB962C8B-B14F-4D97-AF65-F5344CB8AC3E}">
        <p14:creationId xmlns:p14="http://schemas.microsoft.com/office/powerpoint/2010/main" val="422435398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3</a:t>
            </a:fld>
            <a:endParaRPr lang="en-GB" dirty="0"/>
          </a:p>
        </p:txBody>
      </p:sp>
    </p:spTree>
    <p:extLst>
      <p:ext uri="{BB962C8B-B14F-4D97-AF65-F5344CB8AC3E}">
        <p14:creationId xmlns:p14="http://schemas.microsoft.com/office/powerpoint/2010/main" val="42229056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4</a:t>
            </a:fld>
            <a:endParaRPr lang="en-GB" dirty="0"/>
          </a:p>
        </p:txBody>
      </p:sp>
    </p:spTree>
    <p:extLst>
      <p:ext uri="{BB962C8B-B14F-4D97-AF65-F5344CB8AC3E}">
        <p14:creationId xmlns:p14="http://schemas.microsoft.com/office/powerpoint/2010/main" val="135965222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5</a:t>
            </a:fld>
            <a:endParaRPr lang="en-GB" dirty="0"/>
          </a:p>
        </p:txBody>
      </p:sp>
    </p:spTree>
    <p:extLst>
      <p:ext uri="{BB962C8B-B14F-4D97-AF65-F5344CB8AC3E}">
        <p14:creationId xmlns:p14="http://schemas.microsoft.com/office/powerpoint/2010/main" val="14968497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6</a:t>
            </a:fld>
            <a:endParaRPr lang="en-GB" dirty="0"/>
          </a:p>
        </p:txBody>
      </p:sp>
    </p:spTree>
    <p:extLst>
      <p:ext uri="{BB962C8B-B14F-4D97-AF65-F5344CB8AC3E}">
        <p14:creationId xmlns:p14="http://schemas.microsoft.com/office/powerpoint/2010/main" val="288630115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7</a:t>
            </a:fld>
            <a:endParaRPr lang="en-GB" dirty="0"/>
          </a:p>
        </p:txBody>
      </p:sp>
    </p:spTree>
    <p:extLst>
      <p:ext uri="{BB962C8B-B14F-4D97-AF65-F5344CB8AC3E}">
        <p14:creationId xmlns:p14="http://schemas.microsoft.com/office/powerpoint/2010/main" val="41322037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8</a:t>
            </a:fld>
            <a:endParaRPr lang="en-GB" dirty="0"/>
          </a:p>
        </p:txBody>
      </p:sp>
    </p:spTree>
    <p:extLst>
      <p:ext uri="{BB962C8B-B14F-4D97-AF65-F5344CB8AC3E}">
        <p14:creationId xmlns:p14="http://schemas.microsoft.com/office/powerpoint/2010/main" val="200016765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9</a:t>
            </a:fld>
            <a:endParaRPr lang="en-GB" dirty="0"/>
          </a:p>
        </p:txBody>
      </p:sp>
    </p:spTree>
    <p:extLst>
      <p:ext uri="{BB962C8B-B14F-4D97-AF65-F5344CB8AC3E}">
        <p14:creationId xmlns:p14="http://schemas.microsoft.com/office/powerpoint/2010/main" val="2362003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207299372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0</a:t>
            </a:fld>
            <a:endParaRPr lang="en-GB" dirty="0"/>
          </a:p>
        </p:txBody>
      </p:sp>
    </p:spTree>
    <p:extLst>
      <p:ext uri="{BB962C8B-B14F-4D97-AF65-F5344CB8AC3E}">
        <p14:creationId xmlns:p14="http://schemas.microsoft.com/office/powerpoint/2010/main" val="38710047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1</a:t>
            </a:fld>
            <a:endParaRPr lang="en-GB" dirty="0"/>
          </a:p>
        </p:txBody>
      </p:sp>
    </p:spTree>
    <p:extLst>
      <p:ext uri="{BB962C8B-B14F-4D97-AF65-F5344CB8AC3E}">
        <p14:creationId xmlns:p14="http://schemas.microsoft.com/office/powerpoint/2010/main" val="35031017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2</a:t>
            </a:fld>
            <a:endParaRPr lang="en-GB" dirty="0"/>
          </a:p>
        </p:txBody>
      </p:sp>
    </p:spTree>
    <p:extLst>
      <p:ext uri="{BB962C8B-B14F-4D97-AF65-F5344CB8AC3E}">
        <p14:creationId xmlns:p14="http://schemas.microsoft.com/office/powerpoint/2010/main" val="196185010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3</a:t>
            </a:fld>
            <a:endParaRPr lang="en-GB" dirty="0"/>
          </a:p>
        </p:txBody>
      </p:sp>
    </p:spTree>
    <p:extLst>
      <p:ext uri="{BB962C8B-B14F-4D97-AF65-F5344CB8AC3E}">
        <p14:creationId xmlns:p14="http://schemas.microsoft.com/office/powerpoint/2010/main" val="122958380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4</a:t>
            </a:fld>
            <a:endParaRPr lang="en-GB" dirty="0"/>
          </a:p>
        </p:txBody>
      </p:sp>
    </p:spTree>
    <p:extLst>
      <p:ext uri="{BB962C8B-B14F-4D97-AF65-F5344CB8AC3E}">
        <p14:creationId xmlns:p14="http://schemas.microsoft.com/office/powerpoint/2010/main" val="120538526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5</a:t>
            </a:fld>
            <a:endParaRPr lang="en-GB" dirty="0"/>
          </a:p>
        </p:txBody>
      </p:sp>
    </p:spTree>
    <p:extLst>
      <p:ext uri="{BB962C8B-B14F-4D97-AF65-F5344CB8AC3E}">
        <p14:creationId xmlns:p14="http://schemas.microsoft.com/office/powerpoint/2010/main" val="265439318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6</a:t>
            </a:fld>
            <a:endParaRPr lang="en-GB" dirty="0"/>
          </a:p>
        </p:txBody>
      </p:sp>
    </p:spTree>
    <p:extLst>
      <p:ext uri="{BB962C8B-B14F-4D97-AF65-F5344CB8AC3E}">
        <p14:creationId xmlns:p14="http://schemas.microsoft.com/office/powerpoint/2010/main" val="317844645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7</a:t>
            </a:fld>
            <a:endParaRPr lang="en-GB" dirty="0"/>
          </a:p>
        </p:txBody>
      </p:sp>
    </p:spTree>
    <p:extLst>
      <p:ext uri="{BB962C8B-B14F-4D97-AF65-F5344CB8AC3E}">
        <p14:creationId xmlns:p14="http://schemas.microsoft.com/office/powerpoint/2010/main" val="236310215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8</a:t>
            </a:fld>
            <a:endParaRPr lang="en-GB" dirty="0"/>
          </a:p>
        </p:txBody>
      </p:sp>
    </p:spTree>
    <p:extLst>
      <p:ext uri="{BB962C8B-B14F-4D97-AF65-F5344CB8AC3E}">
        <p14:creationId xmlns:p14="http://schemas.microsoft.com/office/powerpoint/2010/main" val="144391619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9</a:t>
            </a:fld>
            <a:endParaRPr lang="en-GB" dirty="0"/>
          </a:p>
        </p:txBody>
      </p:sp>
    </p:spTree>
    <p:extLst>
      <p:ext uri="{BB962C8B-B14F-4D97-AF65-F5344CB8AC3E}">
        <p14:creationId xmlns:p14="http://schemas.microsoft.com/office/powerpoint/2010/main" val="1554034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5415581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0</a:t>
            </a:fld>
            <a:endParaRPr lang="en-GB" dirty="0"/>
          </a:p>
        </p:txBody>
      </p:sp>
    </p:spTree>
    <p:extLst>
      <p:ext uri="{BB962C8B-B14F-4D97-AF65-F5344CB8AC3E}">
        <p14:creationId xmlns:p14="http://schemas.microsoft.com/office/powerpoint/2010/main" val="184246845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1</a:t>
            </a:fld>
            <a:endParaRPr lang="en-GB" dirty="0"/>
          </a:p>
        </p:txBody>
      </p:sp>
    </p:spTree>
    <p:extLst>
      <p:ext uri="{BB962C8B-B14F-4D97-AF65-F5344CB8AC3E}">
        <p14:creationId xmlns:p14="http://schemas.microsoft.com/office/powerpoint/2010/main" val="196129950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2</a:t>
            </a:fld>
            <a:endParaRPr lang="en-GB" dirty="0"/>
          </a:p>
        </p:txBody>
      </p:sp>
    </p:spTree>
    <p:extLst>
      <p:ext uri="{BB962C8B-B14F-4D97-AF65-F5344CB8AC3E}">
        <p14:creationId xmlns:p14="http://schemas.microsoft.com/office/powerpoint/2010/main" val="278948554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3</a:t>
            </a:fld>
            <a:endParaRPr lang="en-GB" dirty="0"/>
          </a:p>
        </p:txBody>
      </p:sp>
    </p:spTree>
    <p:extLst>
      <p:ext uri="{BB962C8B-B14F-4D97-AF65-F5344CB8AC3E}">
        <p14:creationId xmlns:p14="http://schemas.microsoft.com/office/powerpoint/2010/main" val="36834473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4</a:t>
            </a:fld>
            <a:endParaRPr lang="en-GB" dirty="0"/>
          </a:p>
        </p:txBody>
      </p:sp>
    </p:spTree>
    <p:extLst>
      <p:ext uri="{BB962C8B-B14F-4D97-AF65-F5344CB8AC3E}">
        <p14:creationId xmlns:p14="http://schemas.microsoft.com/office/powerpoint/2010/main" val="9481073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to left - photo on right - NAVY">
    <p:spTree>
      <p:nvGrpSpPr>
        <p:cNvPr id="1" name=""/>
        <p:cNvGrpSpPr/>
        <p:nvPr/>
      </p:nvGrpSpPr>
      <p:grpSpPr>
        <a:xfrm>
          <a:off x="0" y="0"/>
          <a:ext cx="0" cy="0"/>
          <a:chOff x="0" y="0"/>
          <a:chExt cx="0" cy="0"/>
        </a:xfrm>
      </p:grpSpPr>
      <p:sp>
        <p:nvSpPr>
          <p:cNvPr id="13" name="Rectangle 12"/>
          <p:cNvSpPr/>
          <p:nvPr userDrawn="1"/>
        </p:nvSpPr>
        <p:spPr>
          <a:xfrm>
            <a:off x="0" y="-1"/>
            <a:ext cx="12192000" cy="6858001"/>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p:cNvSpPr/>
          <p:nvPr userDrawn="1"/>
        </p:nvSpPr>
        <p:spPr>
          <a:xfrm>
            <a:off x="424669" y="412421"/>
            <a:ext cx="5666415" cy="2123658"/>
          </a:xfrm>
          <a:prstGeom prst="rect">
            <a:avLst/>
          </a:prstGeom>
        </p:spPr>
        <p:txBody>
          <a:bodyPr wrap="square">
            <a:spAutoFit/>
          </a:bodyPr>
          <a:lstStyle/>
          <a:p>
            <a:pPr fontAlgn="base"/>
            <a:r>
              <a:rPr lang="en-GB" sz="4400" b="0" i="0" u="none" strike="noStrike" kern="1200" dirty="0">
                <a:solidFill>
                  <a:schemeClr val="bg1"/>
                </a:solidFill>
                <a:effectLst/>
                <a:latin typeface="+mn-lt"/>
                <a:ea typeface="+mn-ea"/>
                <a:cs typeface="+mn-cs"/>
              </a:rPr>
              <a:t>WELCOME TO THE </a:t>
            </a:r>
            <a:r>
              <a:rPr lang="en-GB" sz="4400" b="1" i="0" u="none" strike="noStrike" kern="1200" dirty="0">
                <a:solidFill>
                  <a:schemeClr val="bg1"/>
                </a:solidFill>
                <a:effectLst/>
                <a:latin typeface="+mn-lt"/>
                <a:ea typeface="+mn-ea"/>
                <a:cs typeface="+mn-cs"/>
              </a:rPr>
              <a:t>SMART UP </a:t>
            </a:r>
            <a:r>
              <a:rPr lang="en-GB" sz="4400" b="0" i="0" u="none" strike="noStrike" kern="1200" dirty="0">
                <a:solidFill>
                  <a:schemeClr val="bg1"/>
                </a:solidFill>
                <a:effectLst/>
                <a:latin typeface="+mn-lt"/>
                <a:ea typeface="+mn-ea"/>
                <a:cs typeface="+mn-cs"/>
              </a:rPr>
              <a:t>POWERPOINT</a:t>
            </a:r>
            <a:endParaRPr lang="en-GB" sz="3600" baseline="0" dirty="0">
              <a:solidFill>
                <a:schemeClr val="bg1"/>
              </a:solidFill>
              <a:latin typeface="+mn-lt"/>
              <a:ea typeface="Quattrocento Sans"/>
              <a:cs typeface="Quattrocento Sans"/>
              <a:sym typeface="Quattrocento Sans"/>
            </a:endParaRPr>
          </a:p>
        </p:txBody>
      </p:sp>
      <p:sp>
        <p:nvSpPr>
          <p:cNvPr id="15" name="Rectangle 14"/>
          <p:cNvSpPr/>
          <p:nvPr userDrawn="1"/>
        </p:nvSpPr>
        <p:spPr>
          <a:xfrm>
            <a:off x="6680844" y="402213"/>
            <a:ext cx="5260610"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FEATURES OF THE</a:t>
            </a:r>
          </a:p>
          <a:p>
            <a:pPr fontAlgn="base"/>
            <a:r>
              <a:rPr lang="en-GB" sz="3000" b="1" i="0" u="none" strike="noStrike" kern="1200" dirty="0">
                <a:solidFill>
                  <a:schemeClr val="bg1"/>
                </a:solidFill>
                <a:effectLst/>
                <a:latin typeface="+mn-lt"/>
                <a:ea typeface="+mn-ea"/>
                <a:cs typeface="+mn-cs"/>
              </a:rPr>
              <a:t>SMART UP</a:t>
            </a:r>
          </a:p>
          <a:p>
            <a:pPr fontAlgn="base"/>
            <a:r>
              <a:rPr lang="en-GB" sz="3000" b="0" i="0" u="none" strike="noStrike" kern="1200" dirty="0">
                <a:solidFill>
                  <a:schemeClr val="bg1"/>
                </a:solidFill>
                <a:effectLst/>
                <a:latin typeface="+mn-lt"/>
                <a:ea typeface="+mn-ea"/>
                <a:cs typeface="+mn-cs"/>
              </a:rPr>
              <a:t>POWERPOINT:</a:t>
            </a:r>
          </a:p>
          <a:p>
            <a:pPr fontAlgn="base"/>
            <a:endParaRPr lang="en-GB" sz="3000" b="0" i="0" u="none" strike="noStrike" kern="1200" dirty="0">
              <a:solidFill>
                <a:schemeClr val="bg1"/>
              </a:solidFill>
              <a:effectLst/>
              <a:latin typeface="+mn-lt"/>
              <a:ea typeface="+mn-ea"/>
              <a:cs typeface="+mn-cs"/>
            </a:endParaRPr>
          </a:p>
          <a:p>
            <a:pPr marL="342900" indent="-342900" fontAlgn="base">
              <a:buFont typeface="Arial" charset="0"/>
              <a:buChar char="•"/>
            </a:pPr>
            <a:r>
              <a:rPr lang="en-GB" sz="2400" b="0" i="0" u="none" strike="noStrike" kern="1200" dirty="0">
                <a:solidFill>
                  <a:schemeClr val="bg1"/>
                </a:solidFill>
                <a:effectLst/>
                <a:latin typeface="+mn-lt"/>
                <a:ea typeface="+mn-ea"/>
                <a:cs typeface="+mn-cs"/>
              </a:rPr>
              <a:t>Set up in widescreen format. </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using the </a:t>
            </a:r>
            <a:r>
              <a:rPr lang="en-GB" sz="2400" b="1" i="0" u="none" strike="noStrike" kern="1200" dirty="0">
                <a:solidFill>
                  <a:schemeClr val="bg1"/>
                </a:solidFill>
                <a:effectLst/>
                <a:latin typeface="+mn-lt"/>
                <a:ea typeface="+mn-ea"/>
                <a:cs typeface="+mn-cs"/>
              </a:rPr>
              <a:t>SMART UP </a:t>
            </a:r>
            <a:r>
              <a:rPr lang="en-GB" sz="2400" b="0" i="0" u="none" strike="noStrike" kern="1200" dirty="0">
                <a:solidFill>
                  <a:schemeClr val="bg1"/>
                </a:solidFill>
                <a:effectLst/>
                <a:latin typeface="+mn-lt"/>
                <a:ea typeface="+mn-ea"/>
                <a:cs typeface="+mn-cs"/>
              </a:rPr>
              <a:t>Brand Colour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Based on Master Slides design</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Drag and Drop to change picture</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80 easy editable icon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and Fully editable in PowerPoint</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600" b="0" i="0" u="none" strike="noStrike" kern="1200" dirty="0">
                <a:solidFill>
                  <a:schemeClr val="bg1"/>
                </a:solidFill>
                <a:effectLst/>
                <a:latin typeface="+mn-lt"/>
                <a:ea typeface="+mn-ea"/>
                <a:cs typeface="+mn-cs"/>
              </a:rPr>
              <a:t>		</a:t>
            </a:r>
            <a:endParaRPr lang="en-GB" sz="3600" baseline="0" dirty="0">
              <a:solidFill>
                <a:schemeClr val="bg1"/>
              </a:solidFill>
              <a:latin typeface="+mn-lt"/>
              <a:ea typeface="Quattrocento Sans"/>
              <a:cs typeface="Quattrocento Sans"/>
              <a:sym typeface="Quattrocento Sans"/>
            </a:endParaRPr>
          </a:p>
        </p:txBody>
      </p:sp>
      <p:sp>
        <p:nvSpPr>
          <p:cNvPr id="16" name="Rectangle 15"/>
          <p:cNvSpPr/>
          <p:nvPr userDrawn="1"/>
        </p:nvSpPr>
        <p:spPr>
          <a:xfrm>
            <a:off x="424669" y="3027059"/>
            <a:ext cx="6005629" cy="2308324"/>
          </a:xfrm>
          <a:prstGeom prst="rect">
            <a:avLst/>
          </a:prstGeom>
        </p:spPr>
        <p:txBody>
          <a:bodyPr wrap="square">
            <a:spAutoFit/>
          </a:bodyPr>
          <a:lstStyle/>
          <a:p>
            <a:pPr fontAlgn="base"/>
            <a:r>
              <a:rPr lang="en-GB" sz="2400" b="0" i="0" u="none" strike="noStrike" kern="1200" dirty="0">
                <a:solidFill>
                  <a:schemeClr val="bg1"/>
                </a:solidFill>
                <a:effectLst/>
                <a:latin typeface="+mn-lt"/>
                <a:ea typeface="+mn-ea"/>
                <a:cs typeface="+mn-cs"/>
              </a:rPr>
              <a:t>Our aim is to have a consistent “look and feel” throughout our branding material including our PowerPoint.</a:t>
            </a:r>
            <a:r>
              <a:rPr lang="en-GB" sz="2400" b="0" i="0" u="none" strike="noStrike" kern="1200" baseline="0" dirty="0">
                <a:solidFill>
                  <a:schemeClr val="bg1"/>
                </a:solidFill>
                <a:effectLst/>
                <a:latin typeface="+mn-lt"/>
                <a:ea typeface="+mn-ea"/>
                <a:cs typeface="+mn-cs"/>
              </a:rPr>
              <a:t> </a:t>
            </a:r>
            <a:r>
              <a:rPr lang="en-GB" sz="2400" b="0" i="0" u="none" strike="noStrike" kern="1200" dirty="0">
                <a:solidFill>
                  <a:schemeClr val="bg1"/>
                </a:solidFill>
                <a:effectLst/>
                <a:latin typeface="+mn-lt"/>
                <a:ea typeface="+mn-ea"/>
                <a:cs typeface="+mn-cs"/>
              </a:rPr>
              <a:t>The slide layouts within this PowerPoint  will give you a great deal of creative </a:t>
            </a:r>
            <a:r>
              <a:rPr lang="en-GB" sz="2400" b="0" i="0" u="none" strike="noStrike" kern="1200" dirty="0" err="1">
                <a:solidFill>
                  <a:schemeClr val="bg1"/>
                </a:solidFill>
                <a:effectLst/>
                <a:latin typeface="+mn-lt"/>
                <a:ea typeface="+mn-ea"/>
                <a:cs typeface="+mn-cs"/>
              </a:rPr>
              <a:t>flexibily</a:t>
            </a:r>
            <a:r>
              <a:rPr lang="en-GB" sz="2400" b="0" i="0" u="none" strike="noStrike" kern="1200" dirty="0">
                <a:solidFill>
                  <a:schemeClr val="bg1"/>
                </a:solidFill>
                <a:effectLst/>
                <a:latin typeface="+mn-lt"/>
                <a:ea typeface="+mn-ea"/>
                <a:cs typeface="+mn-cs"/>
              </a:rPr>
              <a:t> when creating your Presentation.</a:t>
            </a:r>
            <a:endParaRPr lang="en-GB" sz="3600" baseline="0" dirty="0">
              <a:solidFill>
                <a:schemeClr val="bg1"/>
              </a:solidFill>
              <a:latin typeface="+mn-lt"/>
              <a:ea typeface="Quattrocento Sans"/>
              <a:cs typeface="Quattrocento Sans"/>
              <a:sym typeface="Quattrocento Sans"/>
            </a:endParaRPr>
          </a:p>
        </p:txBody>
      </p:sp>
      <p:cxnSp>
        <p:nvCxnSpPr>
          <p:cNvPr id="17" name="Straight Connector 16"/>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0" y="2880991"/>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nt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p:cNvSpPr/>
          <p:nvPr userDrawn="1"/>
        </p:nvSpPr>
        <p:spPr>
          <a:xfrm>
            <a:off x="424669" y="528535"/>
            <a:ext cx="5666415" cy="1446550"/>
          </a:xfrm>
          <a:prstGeom prst="rect">
            <a:avLst/>
          </a:prstGeom>
        </p:spPr>
        <p:txBody>
          <a:bodyPr wrap="square">
            <a:spAutoFit/>
          </a:bodyPr>
          <a:lstStyle/>
          <a:p>
            <a:pPr fontAlgn="base"/>
            <a:r>
              <a:rPr lang="en-GB" sz="4400" b="1" i="0" u="none" strike="noStrike" kern="1200" baseline="0" dirty="0">
                <a:solidFill>
                  <a:schemeClr val="bg1"/>
                </a:solidFill>
                <a:effectLst/>
                <a:latin typeface="+mn-lt"/>
                <a:ea typeface="+mn-ea"/>
                <a:cs typeface="+mn-cs"/>
                <a:sym typeface="Quattrocento Sans"/>
              </a:rPr>
              <a:t>SMART UP</a:t>
            </a:r>
          </a:p>
          <a:p>
            <a:pPr fontAlgn="base"/>
            <a:r>
              <a:rPr lang="en-GB" sz="4400" b="0" i="0" u="none" strike="noStrike" kern="1200" baseline="0" dirty="0">
                <a:solidFill>
                  <a:schemeClr val="bg1"/>
                </a:solidFill>
                <a:effectLst/>
                <a:latin typeface="+mn-lt"/>
                <a:ea typeface="+mn-ea"/>
                <a:cs typeface="+mn-cs"/>
                <a:sym typeface="Quattrocento Sans"/>
              </a:rPr>
              <a:t>FONT TYPEFACE &amp; SIZE</a:t>
            </a:r>
            <a:endParaRPr lang="en-GB" sz="3600" baseline="0" dirty="0">
              <a:solidFill>
                <a:schemeClr val="bg1"/>
              </a:solidFill>
              <a:latin typeface="+mn-lt"/>
              <a:ea typeface="Quattrocento Sans"/>
              <a:cs typeface="Quattrocento Sans"/>
              <a:sym typeface="Quattrocento Sans"/>
            </a:endParaRPr>
          </a:p>
        </p:txBody>
      </p:sp>
      <p:sp>
        <p:nvSpPr>
          <p:cNvPr id="11" name="Rectangle 10"/>
          <p:cNvSpPr/>
          <p:nvPr userDrawn="1"/>
        </p:nvSpPr>
        <p:spPr>
          <a:xfrm>
            <a:off x="7093974" y="817711"/>
            <a:ext cx="4589207"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PLEASE</a:t>
            </a:r>
            <a:r>
              <a:rPr lang="en-GB" sz="3000" b="0" i="0" u="none" strike="noStrike" kern="1200" baseline="0" dirty="0">
                <a:solidFill>
                  <a:schemeClr val="bg1"/>
                </a:solidFill>
                <a:effectLst/>
                <a:latin typeface="+mn-lt"/>
                <a:ea typeface="+mn-ea"/>
                <a:cs typeface="+mn-cs"/>
              </a:rPr>
              <a:t> ENSURE TO KEEP FONTS AS PER THE LAYOUT</a:t>
            </a:r>
            <a:endParaRPr lang="en-GB" sz="3000" b="0" i="0" u="none" strike="noStrike" kern="1200" dirty="0">
              <a:solidFill>
                <a:schemeClr val="bg1"/>
              </a:solidFill>
              <a:effectLst/>
              <a:latin typeface="+mn-lt"/>
              <a:ea typeface="+mn-ea"/>
              <a:cs typeface="+mn-cs"/>
            </a:endParaRPr>
          </a:p>
          <a:p>
            <a:pPr fontAlgn="base"/>
            <a:endParaRPr lang="en-GB"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GB" sz="3000" b="0" i="0" u="none" strike="noStrike" kern="1200" dirty="0">
                <a:solidFill>
                  <a:schemeClr val="bg1"/>
                </a:solidFill>
                <a:effectLst/>
                <a:latin typeface="+mn-lt"/>
                <a:ea typeface="+mn-ea"/>
                <a:cs typeface="+mn-cs"/>
              </a:rPr>
              <a:t>48 point </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Divider</a:t>
            </a:r>
            <a:r>
              <a:rPr lang="en-GB"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GB"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6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0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	</a:t>
            </a:r>
            <a:r>
              <a:rPr lang="en-GB" sz="3000" b="0" i="0" u="none" strike="noStrike" kern="1200" baseline="0" dirty="0">
                <a:solidFill>
                  <a:schemeClr val="bg1"/>
                </a:solidFill>
                <a:effectLst/>
                <a:latin typeface="+mn-lt"/>
                <a:ea typeface="+mn-ea"/>
                <a:cs typeface="+mn-cs"/>
              </a:rPr>
              <a:t>       </a:t>
            </a:r>
            <a:r>
              <a:rPr lang="en-GB"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24 point</a:t>
            </a:r>
            <a:r>
              <a:rPr lang="en-GB" sz="3000" b="0" i="0" u="none" strike="noStrike" kern="1200" baseline="0" dirty="0">
                <a:solidFill>
                  <a:schemeClr val="bg1"/>
                </a:solidFill>
                <a:effectLst/>
                <a:latin typeface="+mn-lt"/>
                <a:ea typeface="+mn-ea"/>
                <a:cs typeface="+mn-cs"/>
              </a:rPr>
              <a:t>  -  </a:t>
            </a:r>
            <a:r>
              <a:rPr lang="en-GB" sz="3000" b="0" i="0" u="none" strike="noStrike" kern="1200" baseline="0" dirty="0">
                <a:solidFill>
                  <a:schemeClr val="bg1"/>
                </a:solidFill>
                <a:effectLst/>
                <a:latin typeface="+mn-lt"/>
                <a:ea typeface="Quattrocento Sans"/>
                <a:cs typeface="Quattrocento Sans"/>
                <a:sym typeface="Quattrocento Sans"/>
              </a:rPr>
              <a:t>Main </a:t>
            </a:r>
            <a:r>
              <a:rPr lang="en-GB" sz="3000" b="0" i="0" u="none" strike="noStrike" kern="1200" dirty="0">
                <a:solidFill>
                  <a:schemeClr val="bg1"/>
                </a:solidFill>
                <a:effectLst/>
                <a:latin typeface="+mn-lt"/>
                <a:ea typeface="+mn-ea"/>
                <a:cs typeface="+mn-cs"/>
              </a:rPr>
              <a:t>Text Body </a:t>
            </a:r>
            <a:endParaRPr lang="en-GB" sz="3000" dirty="0"/>
          </a:p>
          <a:p>
            <a:pPr fontAlgn="base"/>
            <a:endParaRPr lang="en-GB" sz="3000" b="0" i="0" u="none" strike="noStrike" kern="1200" dirty="0">
              <a:solidFill>
                <a:schemeClr val="bg1"/>
              </a:solidFill>
              <a:effectLst/>
              <a:latin typeface="+mn-lt"/>
              <a:ea typeface="+mn-ea"/>
              <a:cs typeface="+mn-cs"/>
            </a:endParaRPr>
          </a:p>
        </p:txBody>
      </p:sp>
      <p:sp>
        <p:nvSpPr>
          <p:cNvPr id="12" name="Rectangle 11"/>
          <p:cNvSpPr/>
          <p:nvPr userDrawn="1"/>
        </p:nvSpPr>
        <p:spPr>
          <a:xfrm>
            <a:off x="424669" y="3128660"/>
            <a:ext cx="6005160" cy="2123658"/>
          </a:xfrm>
          <a:prstGeom prst="rect">
            <a:avLst/>
          </a:prstGeom>
        </p:spPr>
        <p:txBody>
          <a:bodyPr wrap="square">
            <a:spAutoFit/>
          </a:bodyPr>
          <a:lstStyle/>
          <a:p>
            <a:pPr fontAlgn="base"/>
            <a:r>
              <a:rPr lang="en-GB"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GB" sz="2400" b="1" i="0" u="none" strike="noStrike" kern="1200" baseline="0" dirty="0">
                <a:solidFill>
                  <a:schemeClr val="bg1"/>
                </a:solidFill>
                <a:effectLst/>
                <a:latin typeface="+mn-lt"/>
                <a:ea typeface="+mn-ea"/>
                <a:cs typeface="+mn-cs"/>
                <a:sym typeface="Quattrocento Sans"/>
              </a:rPr>
              <a:t>SMART UP </a:t>
            </a:r>
            <a:r>
              <a:rPr lang="en-GB" sz="2400" b="0" i="0" u="none" strike="noStrike" kern="1200" baseline="0" dirty="0">
                <a:solidFill>
                  <a:schemeClr val="bg1"/>
                </a:solidFill>
                <a:effectLst/>
                <a:latin typeface="+mn-lt"/>
                <a:ea typeface="+mn-ea"/>
                <a:cs typeface="+mn-cs"/>
                <a:sym typeface="Quattrocento Sans"/>
              </a:rPr>
              <a:t>PowerPoint is….</a:t>
            </a:r>
          </a:p>
          <a:p>
            <a:pPr fontAlgn="base"/>
            <a:endParaRPr lang="en-GB" sz="2400" b="0" i="0" u="none" strike="noStrike" kern="1200" baseline="0" dirty="0">
              <a:solidFill>
                <a:schemeClr val="bg1"/>
              </a:solidFill>
              <a:effectLst/>
              <a:latin typeface="+mn-lt"/>
              <a:ea typeface="+mn-ea"/>
              <a:cs typeface="+mn-cs"/>
              <a:sym typeface="Quattrocento Sans"/>
            </a:endParaRPr>
          </a:p>
          <a:p>
            <a:pPr fontAlgn="base"/>
            <a:r>
              <a:rPr lang="en-GB" sz="3600" b="1" i="1" baseline="0" dirty="0">
                <a:solidFill>
                  <a:schemeClr val="bg1"/>
                </a:solidFill>
                <a:latin typeface="+mn-lt"/>
                <a:ea typeface="Quattrocento Sans"/>
                <a:cs typeface="Quattrocento Sans"/>
                <a:sym typeface="Quattrocento Sans"/>
              </a:rPr>
              <a:t>Calibri</a:t>
            </a:r>
            <a:endParaRPr lang="en-GB" sz="3600" baseline="0" dirty="0">
              <a:solidFill>
                <a:schemeClr val="bg1"/>
              </a:solidFill>
              <a:latin typeface="+mn-lt"/>
              <a:ea typeface="Quattrocento Sans"/>
              <a:cs typeface="Quattrocento Sans"/>
              <a:sym typeface="Quattrocento Sans"/>
            </a:endParaRPr>
          </a:p>
        </p:txBody>
      </p:sp>
      <p:cxnSp>
        <p:nvCxnSpPr>
          <p:cNvPr id="13" name="Straight Connector 12"/>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2503620"/>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5" name="Straight Connector 4"/>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501175" y="505425"/>
            <a:ext cx="4644643" cy="4339650"/>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GB" sz="3600" dirty="0">
                <a:solidFill>
                  <a:schemeClr val="bg1"/>
                </a:solidFill>
                <a:latin typeface="+mn-lt"/>
                <a:ea typeface="Quattrocento Sans"/>
                <a:cs typeface="Quattrocento Sans"/>
                <a:sym typeface="Quattrocento Sans"/>
              </a:rPr>
              <a:t>ICONS</a:t>
            </a:r>
            <a:r>
              <a:rPr lang="en-GB" sz="3600" baseline="0" dirty="0">
                <a:solidFill>
                  <a:schemeClr val="bg1"/>
                </a:solidFill>
                <a:latin typeface="+mn-lt"/>
                <a:ea typeface="Quattrocento Sans"/>
                <a:cs typeface="Quattrocento Sans"/>
                <a:sym typeface="Quattrocento Sans"/>
              </a:rPr>
              <a:t> WHICH CAN BE USED WITHIN THE </a:t>
            </a:r>
            <a:r>
              <a:rPr lang="en-GB" sz="3600" b="1" baseline="0" dirty="0">
                <a:solidFill>
                  <a:schemeClr val="bg1"/>
                </a:solidFill>
                <a:latin typeface="+mn-lt"/>
                <a:ea typeface="Quattrocento Sans"/>
                <a:cs typeface="Quattrocento Sans"/>
                <a:sym typeface="Quattrocento Sans"/>
              </a:rPr>
              <a:t>SMART UP </a:t>
            </a:r>
            <a:r>
              <a:rPr lang="en-GB"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GB"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GB" sz="2400" i="1" dirty="0">
                <a:solidFill>
                  <a:schemeClr val="bg1"/>
                </a:solidFill>
                <a:latin typeface="+mn-lt"/>
                <a:ea typeface="Quattrocento Sans"/>
                <a:cs typeface="Quattrocento Sans"/>
                <a:sym typeface="Quattrocento Sans"/>
              </a:rPr>
              <a:t>Resize them without losing quality.</a:t>
            </a:r>
            <a:r>
              <a:rPr lang="en-GB" sz="2400" i="1" baseline="0" dirty="0">
                <a:solidFill>
                  <a:schemeClr val="bg1"/>
                </a:solidFill>
                <a:latin typeface="+mn-lt"/>
                <a:ea typeface="Quattrocento Sans"/>
                <a:cs typeface="Quattrocento Sans"/>
                <a:sym typeface="Quattrocento Sans"/>
              </a:rPr>
              <a:t> </a:t>
            </a:r>
            <a:r>
              <a:rPr lang="en-GB" sz="2400" i="1" dirty="0">
                <a:solidFill>
                  <a:schemeClr val="bg1"/>
                </a:solidFill>
                <a:latin typeface="+mn-lt"/>
                <a:ea typeface="Quattrocento Sans"/>
                <a:cs typeface="Quattrocento Sans"/>
                <a:sym typeface="Quattrocento Sans"/>
              </a:rPr>
              <a:t> Change line colour, width and style.</a:t>
            </a:r>
            <a:r>
              <a:rPr lang="en-GB" sz="2400" i="1" baseline="0" dirty="0">
                <a:solidFill>
                  <a:schemeClr val="bg1"/>
                </a:solidFill>
                <a:latin typeface="+mn-lt"/>
                <a:ea typeface="Quattrocento Sans"/>
                <a:cs typeface="Quattrocento Sans"/>
                <a:sym typeface="Quattrocento Sans"/>
              </a:rPr>
              <a:t> </a:t>
            </a:r>
          </a:p>
          <a:p>
            <a:pPr marL="0" lvl="0" indent="0" algn="l" rtl="0">
              <a:spcBef>
                <a:spcPts val="0"/>
              </a:spcBef>
              <a:spcAft>
                <a:spcPts val="0"/>
              </a:spcAft>
              <a:buFont typeface="Arial" charset="0"/>
              <a:buNone/>
            </a:pPr>
            <a:endParaRPr lang="en-GB" sz="2400" dirty="0">
              <a:solidFill>
                <a:schemeClr val="bg1"/>
              </a:solidFill>
              <a:latin typeface="+mn-lt"/>
              <a:ea typeface="Quattrocento Sans"/>
              <a:cs typeface="Quattrocento Sans"/>
              <a:sym typeface="Quattrocento Sans"/>
            </a:endParaRPr>
          </a:p>
          <a:p>
            <a:pPr marL="0" lvl="0" indent="0" algn="l" rtl="0">
              <a:spcBef>
                <a:spcPts val="0"/>
              </a:spcBef>
              <a:spcAft>
                <a:spcPts val="0"/>
              </a:spcAft>
              <a:buFont typeface="Arial" charset="0"/>
              <a:buNone/>
            </a:pPr>
            <a:r>
              <a:rPr lang="en-GB" sz="2400" dirty="0">
                <a:solidFill>
                  <a:schemeClr val="bg1"/>
                </a:solidFill>
                <a:latin typeface="+mn-lt"/>
                <a:ea typeface="Quattrocento Sans"/>
                <a:cs typeface="Quattrocento Sans"/>
                <a:sym typeface="Quattrocento Sans"/>
              </a:rPr>
              <a:t>Isn’t that nice? :)</a:t>
            </a:r>
          </a:p>
        </p:txBody>
      </p:sp>
      <p:cxnSp>
        <p:nvCxnSpPr>
          <p:cNvPr id="7" name="Straight Connector 6"/>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9" name="フッター プレースホルダー 1"/>
          <p:cNvSpPr txBox="1">
            <a:spLocks/>
          </p:cNvSpPr>
          <p:nvPr userDrawn="1"/>
        </p:nvSpPr>
        <p:spPr>
          <a:xfrm>
            <a:off x="13220963" y="108549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49" name="フッター プレースホルダー 1"/>
          <p:cNvSpPr txBox="1">
            <a:spLocks/>
          </p:cNvSpPr>
          <p:nvPr userDrawn="1"/>
        </p:nvSpPr>
        <p:spPr>
          <a:xfrm>
            <a:off x="12681715" y="108803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50" name="Oval 1"/>
          <p:cNvSpPr>
            <a:spLocks noChangeArrowheads="1"/>
          </p:cNvSpPr>
          <p:nvPr userDrawn="1"/>
        </p:nvSpPr>
        <p:spPr bwMode="auto">
          <a:xfrm>
            <a:off x="5370596" y="2052534"/>
            <a:ext cx="720000" cy="720000"/>
          </a:xfrm>
          <a:prstGeom prst="ellipse">
            <a:avLst/>
          </a:prstGeom>
          <a:solidFill>
            <a:srgbClr val="F05A2A"/>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1</a:t>
            </a:r>
          </a:p>
        </p:txBody>
      </p:sp>
      <p:sp>
        <p:nvSpPr>
          <p:cNvPr id="58" name="Rectangle 57"/>
          <p:cNvSpPr/>
          <p:nvPr userDrawn="1"/>
        </p:nvSpPr>
        <p:spPr>
          <a:xfrm>
            <a:off x="448232" y="5065249"/>
            <a:ext cx="4269258" cy="461665"/>
          </a:xfrm>
          <a:prstGeom prst="rect">
            <a:avLst/>
          </a:prstGeom>
        </p:spPr>
        <p:txBody>
          <a:bodyPr wrap="square">
            <a:spAutoFit/>
          </a:bodyPr>
          <a:lstStyle/>
          <a:p>
            <a:pPr algn="just" fontAlgn="base"/>
            <a:r>
              <a:rPr lang="en-GB" sz="800" b="0" i="0" dirty="0">
                <a:solidFill>
                  <a:srgbClr val="245473"/>
                </a:solidFill>
                <a:effectLst/>
                <a:latin typeface="+mn-lt"/>
              </a:rPr>
              <a:t>This programme has been funded with support from the European Commission. The author is solely responsible for this publication (communication) and the Commission accepts no responsibility for any  use that may be made of the information contained therein.</a:t>
            </a:r>
          </a:p>
        </p:txBody>
      </p:sp>
      <p:sp>
        <p:nvSpPr>
          <p:cNvPr id="65" name="Text Placeholder 63"/>
          <p:cNvSpPr>
            <a:spLocks noGrp="1"/>
          </p:cNvSpPr>
          <p:nvPr>
            <p:ph type="body" sz="quarter" idx="22" hasCustomPrompt="1"/>
          </p:nvPr>
        </p:nvSpPr>
        <p:spPr>
          <a:xfrm>
            <a:off x="6232224" y="2061678"/>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66" name="Text Placeholder 63"/>
          <p:cNvSpPr>
            <a:spLocks noGrp="1"/>
          </p:cNvSpPr>
          <p:nvPr>
            <p:ph type="body" sz="quarter" idx="23" hasCustomPrompt="1"/>
          </p:nvPr>
        </p:nvSpPr>
        <p:spPr>
          <a:xfrm>
            <a:off x="6232224" y="2582788"/>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2" name="Text Placeholder 23"/>
          <p:cNvSpPr>
            <a:spLocks noGrp="1"/>
          </p:cNvSpPr>
          <p:nvPr>
            <p:ph type="body" sz="quarter" idx="13" hasCustomPrompt="1"/>
          </p:nvPr>
        </p:nvSpPr>
        <p:spPr>
          <a:xfrm>
            <a:off x="528265" y="2138185"/>
            <a:ext cx="4118429" cy="2548702"/>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73" name="Oval 72"/>
          <p:cNvSpPr>
            <a:spLocks noChangeArrowheads="1"/>
          </p:cNvSpPr>
          <p:nvPr userDrawn="1"/>
        </p:nvSpPr>
        <p:spPr bwMode="auto">
          <a:xfrm>
            <a:off x="5375141" y="3129586"/>
            <a:ext cx="720000" cy="720000"/>
          </a:xfrm>
          <a:prstGeom prst="ellipse">
            <a:avLst/>
          </a:prstGeom>
          <a:solidFill>
            <a:srgbClr val="BBC646"/>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2</a:t>
            </a:r>
          </a:p>
        </p:txBody>
      </p:sp>
      <p:sp>
        <p:nvSpPr>
          <p:cNvPr id="74" name="Text Placeholder 63"/>
          <p:cNvSpPr>
            <a:spLocks noGrp="1"/>
          </p:cNvSpPr>
          <p:nvPr>
            <p:ph type="body" sz="quarter" idx="24" hasCustomPrompt="1"/>
          </p:nvPr>
        </p:nvSpPr>
        <p:spPr>
          <a:xfrm>
            <a:off x="6236769" y="3138730"/>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5" name="Text Placeholder 63"/>
          <p:cNvSpPr>
            <a:spLocks noGrp="1"/>
          </p:cNvSpPr>
          <p:nvPr>
            <p:ph type="body" sz="quarter" idx="25" hasCustomPrompt="1"/>
          </p:nvPr>
        </p:nvSpPr>
        <p:spPr>
          <a:xfrm>
            <a:off x="6236769" y="3659840"/>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6" name="Oval 75"/>
          <p:cNvSpPr>
            <a:spLocks noChangeArrowheads="1"/>
          </p:cNvSpPr>
          <p:nvPr userDrawn="1"/>
        </p:nvSpPr>
        <p:spPr bwMode="auto">
          <a:xfrm>
            <a:off x="5370596" y="4207979"/>
            <a:ext cx="720000" cy="720000"/>
          </a:xfrm>
          <a:prstGeom prst="ellipse">
            <a:avLst/>
          </a:prstGeom>
          <a:solidFill>
            <a:srgbClr val="29B3E8"/>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3</a:t>
            </a:r>
          </a:p>
        </p:txBody>
      </p:sp>
      <p:sp>
        <p:nvSpPr>
          <p:cNvPr id="77" name="Text Placeholder 63"/>
          <p:cNvSpPr>
            <a:spLocks noGrp="1"/>
          </p:cNvSpPr>
          <p:nvPr>
            <p:ph type="body" sz="quarter" idx="26" hasCustomPrompt="1"/>
          </p:nvPr>
        </p:nvSpPr>
        <p:spPr>
          <a:xfrm>
            <a:off x="6232224" y="4217123"/>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8" name="Text Placeholder 63"/>
          <p:cNvSpPr>
            <a:spLocks noGrp="1"/>
          </p:cNvSpPr>
          <p:nvPr>
            <p:ph type="body" sz="quarter" idx="27" hasCustomPrompt="1"/>
          </p:nvPr>
        </p:nvSpPr>
        <p:spPr>
          <a:xfrm>
            <a:off x="6232224" y="4738233"/>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9" name="Oval 78"/>
          <p:cNvSpPr>
            <a:spLocks noChangeArrowheads="1"/>
          </p:cNvSpPr>
          <p:nvPr userDrawn="1"/>
        </p:nvSpPr>
        <p:spPr bwMode="auto">
          <a:xfrm>
            <a:off x="5393421" y="5302137"/>
            <a:ext cx="720000" cy="720000"/>
          </a:xfrm>
          <a:prstGeom prst="ellipse">
            <a:avLst/>
          </a:prstGeom>
          <a:solidFill>
            <a:srgbClr val="E53292"/>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4</a:t>
            </a:r>
          </a:p>
        </p:txBody>
      </p:sp>
      <p:sp>
        <p:nvSpPr>
          <p:cNvPr id="80" name="Text Placeholder 63"/>
          <p:cNvSpPr>
            <a:spLocks noGrp="1"/>
          </p:cNvSpPr>
          <p:nvPr>
            <p:ph type="body" sz="quarter" idx="28" hasCustomPrompt="1"/>
          </p:nvPr>
        </p:nvSpPr>
        <p:spPr>
          <a:xfrm>
            <a:off x="6255049" y="5311281"/>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81" name="Text Placeholder 63"/>
          <p:cNvSpPr>
            <a:spLocks noGrp="1"/>
          </p:cNvSpPr>
          <p:nvPr>
            <p:ph type="body" sz="quarter" idx="29" hasCustomPrompt="1"/>
          </p:nvPr>
        </p:nvSpPr>
        <p:spPr>
          <a:xfrm>
            <a:off x="6255049" y="5832391"/>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pic>
        <p:nvPicPr>
          <p:cNvPr id="22" name="Picture 21">
            <a:extLst>
              <a:ext uri="{FF2B5EF4-FFF2-40B4-BE49-F238E27FC236}">
                <a16:creationId xmlns:a16="http://schemas.microsoft.com/office/drawing/2014/main" xmlns="" id="{A3140CC1-D5A6-9C40-B677-969939A9FA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6237" y="539983"/>
            <a:ext cx="4373248" cy="882773"/>
          </a:xfrm>
          <a:prstGeom prst="rect">
            <a:avLst/>
          </a:prstGeom>
        </p:spPr>
      </p:pic>
      <p:pic>
        <p:nvPicPr>
          <p:cNvPr id="23" name="Picture 22">
            <a:extLst>
              <a:ext uri="{FF2B5EF4-FFF2-40B4-BE49-F238E27FC236}">
                <a16:creationId xmlns:a16="http://schemas.microsoft.com/office/drawing/2014/main" xmlns="" id="{87A7B185-5702-EE47-9B1C-4786C90E393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5733" t="18650"/>
          <a:stretch/>
        </p:blipFill>
        <p:spPr>
          <a:xfrm rot="16200000">
            <a:off x="-39049" y="5532073"/>
            <a:ext cx="1364978" cy="1286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Slide Lef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4495027" y="873303"/>
            <a:ext cx="7074043"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4508938" y="1982978"/>
            <a:ext cx="7060133"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4189948" y="1767276"/>
            <a:ext cx="7753040"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5" name="Picture Placeholder 4"/>
          <p:cNvSpPr>
            <a:spLocks noGrp="1"/>
          </p:cNvSpPr>
          <p:nvPr>
            <p:ph type="pic" sz="quarter" idx="15"/>
          </p:nvPr>
        </p:nvSpPr>
        <p:spPr>
          <a:xfrm>
            <a:off x="1"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13" name="Rectangle 12"/>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xmlns="" id="{6D136BF9-5546-6940-8DE6-3CF000FEB318}"/>
              </a:ext>
            </a:extLst>
          </p:cNvPr>
          <p:cNvGrpSpPr/>
          <p:nvPr userDrawn="1"/>
        </p:nvGrpSpPr>
        <p:grpSpPr>
          <a:xfrm>
            <a:off x="3334007" y="6278877"/>
            <a:ext cx="8395542" cy="332623"/>
            <a:chOff x="7632699" y="6308250"/>
            <a:chExt cx="4040789" cy="572290"/>
          </a:xfrm>
        </p:grpSpPr>
        <p:sp>
          <p:nvSpPr>
            <p:cNvPr id="19" name="テキスト プレースホルダー 36">
              <a:extLst>
                <a:ext uri="{FF2B5EF4-FFF2-40B4-BE49-F238E27FC236}">
                  <a16:creationId xmlns:a16="http://schemas.microsoft.com/office/drawing/2014/main" xmlns="" id="{4BC86759-3B8E-0A4A-A22F-1A78E44114E1}"/>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0" name="テキスト プレースホルダー 36">
              <a:extLst>
                <a:ext uri="{FF2B5EF4-FFF2-40B4-BE49-F238E27FC236}">
                  <a16:creationId xmlns:a16="http://schemas.microsoft.com/office/drawing/2014/main" xmlns="" id="{1A9BF760-CB5C-5847-AA83-56DC745A41B2}"/>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1" name="Picture 20">
            <a:extLst>
              <a:ext uri="{FF2B5EF4-FFF2-40B4-BE49-F238E27FC236}">
                <a16:creationId xmlns:a16="http://schemas.microsoft.com/office/drawing/2014/main" xmlns="" id="{526F6654-02F5-A547-996D-5CEC647299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Right">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8270000"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23" name="Text Placeholder 23"/>
          <p:cNvSpPr>
            <a:spLocks noGrp="1"/>
          </p:cNvSpPr>
          <p:nvPr>
            <p:ph type="body" sz="quarter" idx="16" hasCustomPrompt="1"/>
          </p:nvPr>
        </p:nvSpPr>
        <p:spPr>
          <a:xfrm>
            <a:off x="718642" y="873067"/>
            <a:ext cx="7066011"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4" name="Text Placeholder 25"/>
          <p:cNvSpPr>
            <a:spLocks noGrp="1"/>
          </p:cNvSpPr>
          <p:nvPr>
            <p:ph type="body" sz="quarter" idx="17" hasCustomPrompt="1"/>
          </p:nvPr>
        </p:nvSpPr>
        <p:spPr>
          <a:xfrm>
            <a:off x="736049" y="1982742"/>
            <a:ext cx="7052117"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5" name="Straight Connector 24"/>
          <p:cNvCxnSpPr/>
          <p:nvPr userDrawn="1"/>
        </p:nvCxnSpPr>
        <p:spPr>
          <a:xfrm flipH="1">
            <a:off x="425728" y="1767040"/>
            <a:ext cx="7551624"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1" name="Group 10">
            <a:extLst>
              <a:ext uri="{FF2B5EF4-FFF2-40B4-BE49-F238E27FC236}">
                <a16:creationId xmlns:a16="http://schemas.microsoft.com/office/drawing/2014/main" xmlns="" id="{A007B40A-3467-DB4C-89EA-97DB4AA7D7E3}"/>
              </a:ext>
            </a:extLst>
          </p:cNvPr>
          <p:cNvGrpSpPr/>
          <p:nvPr userDrawn="1"/>
        </p:nvGrpSpPr>
        <p:grpSpPr>
          <a:xfrm>
            <a:off x="1333695" y="6201410"/>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B084CC3A-DD02-A24D-AA62-027486FC2B8F}"/>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B9087191-E74F-314C-827A-09925C706A3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5D933AB-2A14-6F4F-AD5A-CE21FA1195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ly with 2 colums - RIGHT">
    <p:spTree>
      <p:nvGrpSpPr>
        <p:cNvPr id="1" name=""/>
        <p:cNvGrpSpPr/>
        <p:nvPr/>
      </p:nvGrpSpPr>
      <p:grpSpPr>
        <a:xfrm>
          <a:off x="0" y="0"/>
          <a:ext cx="0" cy="0"/>
          <a:chOff x="0" y="0"/>
          <a:chExt cx="0" cy="0"/>
        </a:xfrm>
      </p:grpSpPr>
      <p:sp>
        <p:nvSpPr>
          <p:cNvPr id="24" name="Text Placeholder 25"/>
          <p:cNvSpPr>
            <a:spLocks noGrp="1"/>
          </p:cNvSpPr>
          <p:nvPr>
            <p:ph type="body" sz="quarter" idx="15" hasCustomPrompt="1"/>
          </p:nvPr>
        </p:nvSpPr>
        <p:spPr>
          <a:xfrm>
            <a:off x="2734104" y="1998568"/>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5"/>
          <p:cNvSpPr>
            <a:spLocks noGrp="1"/>
          </p:cNvSpPr>
          <p:nvPr>
            <p:ph type="body" sz="quarter" idx="16" hasCustomPrompt="1"/>
          </p:nvPr>
        </p:nvSpPr>
        <p:spPr>
          <a:xfrm>
            <a:off x="7266140" y="1996914"/>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9"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7" name="Straight Connector 26"/>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p:cNvGrpSpPr/>
          <p:nvPr userDrawn="1"/>
        </p:nvGrpSpPr>
        <p:grpSpPr>
          <a:xfrm>
            <a:off x="3334007" y="6278877"/>
            <a:ext cx="8395542" cy="332623"/>
            <a:chOff x="7632699" y="6308250"/>
            <a:chExt cx="4040789" cy="572290"/>
          </a:xfrm>
        </p:grpSpPr>
        <p:sp>
          <p:nvSpPr>
            <p:cNvPr id="16" name="テキスト プレースホルダー 36"/>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sp>
        <p:nvSpPr>
          <p:cNvPr id="19" name="Rectangle 18"/>
          <p:cNvSpPr/>
          <p:nvPr userDrawn="1"/>
        </p:nvSpPr>
        <p:spPr>
          <a:xfrm>
            <a:off x="-4240"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C88269A5-701F-6949-B048-589F1BF7F78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with 3 colums - RIGHT">
    <p:spTree>
      <p:nvGrpSpPr>
        <p:cNvPr id="1" name=""/>
        <p:cNvGrpSpPr/>
        <p:nvPr/>
      </p:nvGrpSpPr>
      <p:grpSpPr>
        <a:xfrm>
          <a:off x="0" y="0"/>
          <a:ext cx="0" cy="0"/>
          <a:chOff x="0" y="0"/>
          <a:chExt cx="0" cy="0"/>
        </a:xfrm>
      </p:grpSpPr>
      <p:sp>
        <p:nvSpPr>
          <p:cNvPr id="33" name="Text Placeholder 25"/>
          <p:cNvSpPr>
            <a:spLocks noGrp="1"/>
          </p:cNvSpPr>
          <p:nvPr>
            <p:ph type="body" sz="quarter" idx="15" hasCustomPrompt="1"/>
          </p:nvPr>
        </p:nvSpPr>
        <p:spPr>
          <a:xfrm>
            <a:off x="2716696"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4" name="Text Placeholder 25"/>
          <p:cNvSpPr>
            <a:spLocks noGrp="1"/>
          </p:cNvSpPr>
          <p:nvPr>
            <p:ph type="body" sz="quarter" idx="16" hasCustomPrompt="1"/>
          </p:nvPr>
        </p:nvSpPr>
        <p:spPr>
          <a:xfrm>
            <a:off x="8710202"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5" name="Text Placeholder 25"/>
          <p:cNvSpPr>
            <a:spLocks noGrp="1"/>
          </p:cNvSpPr>
          <p:nvPr>
            <p:ph type="body" sz="quarter" idx="17" hasCustomPrompt="1"/>
          </p:nvPr>
        </p:nvSpPr>
        <p:spPr>
          <a:xfrm>
            <a:off x="5714013"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13"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3" name="Straight Connector 22"/>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xmlns="" id="{70DA7FD3-E69A-1641-A2C7-D181592526E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a:extLst>
              <a:ext uri="{FF2B5EF4-FFF2-40B4-BE49-F238E27FC236}">
                <a16:creationId xmlns:a16="http://schemas.microsoft.com/office/drawing/2014/main" xmlns="" id="{46328970-35E4-CD43-AC6C-DBF187C5B1AF}"/>
              </a:ext>
            </a:extLst>
          </p:cNvPr>
          <p:cNvGrpSpPr/>
          <p:nvPr userDrawn="1"/>
        </p:nvGrpSpPr>
        <p:grpSpPr>
          <a:xfrm>
            <a:off x="3334007" y="6278877"/>
            <a:ext cx="8395542" cy="332623"/>
            <a:chOff x="7632699" y="6308250"/>
            <a:chExt cx="4040789" cy="572290"/>
          </a:xfrm>
        </p:grpSpPr>
        <p:sp>
          <p:nvSpPr>
            <p:cNvPr id="18" name="テキスト プレースホルダー 36">
              <a:extLst>
                <a:ext uri="{FF2B5EF4-FFF2-40B4-BE49-F238E27FC236}">
                  <a16:creationId xmlns:a16="http://schemas.microsoft.com/office/drawing/2014/main" xmlns="" id="{9A05FA7E-C217-DC48-95D7-8D38AE20CBE9}"/>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9" name="テキスト プレースホルダー 36">
              <a:extLst>
                <a:ext uri="{FF2B5EF4-FFF2-40B4-BE49-F238E27FC236}">
                  <a16:creationId xmlns:a16="http://schemas.microsoft.com/office/drawing/2014/main" xmlns="" id="{FF6BC695-5326-8B49-8F95-724E5B695B5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0" name="Picture 19">
            <a:extLst>
              <a:ext uri="{FF2B5EF4-FFF2-40B4-BE49-F238E27FC236}">
                <a16:creationId xmlns:a16="http://schemas.microsoft.com/office/drawing/2014/main" xmlns="" id="{694CF00F-1854-2945-AD41-A475C572B9C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with 1 colum - LEFT">
    <p:spTree>
      <p:nvGrpSpPr>
        <p:cNvPr id="1" name=""/>
        <p:cNvGrpSpPr/>
        <p:nvPr/>
      </p:nvGrpSpPr>
      <p:grpSpPr>
        <a:xfrm>
          <a:off x="0" y="0"/>
          <a:ext cx="0" cy="0"/>
          <a:chOff x="0" y="0"/>
          <a:chExt cx="0" cy="0"/>
        </a:xfrm>
      </p:grpSpPr>
      <p:sp>
        <p:nvSpPr>
          <p:cNvPr id="22" name="Text Placeholder 23"/>
          <p:cNvSpPr>
            <a:spLocks noGrp="1"/>
          </p:cNvSpPr>
          <p:nvPr>
            <p:ph type="body" sz="quarter" idx="15" hasCustomPrompt="1"/>
          </p:nvPr>
        </p:nvSpPr>
        <p:spPr>
          <a:xfrm>
            <a:off x="718642"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3" name="Text Placeholder 25"/>
          <p:cNvSpPr>
            <a:spLocks noGrp="1"/>
          </p:cNvSpPr>
          <p:nvPr>
            <p:ph type="body" sz="quarter" idx="16" hasCustomPrompt="1"/>
          </p:nvPr>
        </p:nvSpPr>
        <p:spPr>
          <a:xfrm>
            <a:off x="736049" y="1982742"/>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4" name="Straight Connector 23"/>
          <p:cNvCxnSpPr/>
          <p:nvPr userDrawn="1"/>
        </p:nvCxnSpPr>
        <p:spPr>
          <a:xfrm flipH="1">
            <a:off x="425727" y="1767040"/>
            <a:ext cx="930159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895BA794-76E1-C242-9A27-24CE7E2B4E3C}"/>
              </a:ext>
            </a:extLst>
          </p:cNvPr>
          <p:cNvGrpSpPr/>
          <p:nvPr userDrawn="1"/>
        </p:nvGrpSpPr>
        <p:grpSpPr>
          <a:xfrm>
            <a:off x="1333695" y="6201410"/>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701912EB-5F7B-824A-92EB-00EB0F388EB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5" name="テキスト プレースホルダー 36">
              <a:extLst>
                <a:ext uri="{FF2B5EF4-FFF2-40B4-BE49-F238E27FC236}">
                  <a16:creationId xmlns:a16="http://schemas.microsoft.com/office/drawing/2014/main" xmlns="" id="{CB8F34CD-18E2-5C4C-8028-879A13939DB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7" name="Picture 16">
            <a:extLst>
              <a:ext uri="{FF2B5EF4-FFF2-40B4-BE49-F238E27FC236}">
                <a16:creationId xmlns:a16="http://schemas.microsoft.com/office/drawing/2014/main" xmlns="" id="{6E5F8B4E-A0FA-9A4E-9CB3-073ED019B41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with 2 colums - LEFT">
    <p:spTree>
      <p:nvGrpSpPr>
        <p:cNvPr id="1" name=""/>
        <p:cNvGrpSpPr/>
        <p:nvPr/>
      </p:nvGrpSpPr>
      <p:grpSpPr>
        <a:xfrm>
          <a:off x="0" y="0"/>
          <a:ext cx="0" cy="0"/>
          <a:chOff x="0" y="0"/>
          <a:chExt cx="0" cy="0"/>
        </a:xfrm>
      </p:grpSpPr>
      <p:sp>
        <p:nvSpPr>
          <p:cNvPr id="23" name="Text Placeholder 25"/>
          <p:cNvSpPr>
            <a:spLocks noGrp="1"/>
          </p:cNvSpPr>
          <p:nvPr>
            <p:ph type="body" sz="quarter" idx="16" hasCustomPrompt="1"/>
          </p:nvPr>
        </p:nvSpPr>
        <p:spPr>
          <a:xfrm>
            <a:off x="657223" y="2002626"/>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p:ph type="body" sz="quarter" idx="17" hasCustomPrompt="1"/>
          </p:nvPr>
        </p:nvSpPr>
        <p:spPr>
          <a:xfrm>
            <a:off x="5189259" y="2000972"/>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6" name="Text Placeholder 23"/>
          <p:cNvSpPr>
            <a:spLocks noGrp="1"/>
          </p:cNvSpPr>
          <p:nvPr>
            <p:ph type="body" sz="quarter" idx="18" hasCustomPrompt="1"/>
          </p:nvPr>
        </p:nvSpPr>
        <p:spPr>
          <a:xfrm>
            <a:off x="639815" y="877361"/>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32" name="Straight Connector 31"/>
          <p:cNvCxnSpPr/>
          <p:nvPr userDrawn="1"/>
        </p:nvCxnSpPr>
        <p:spPr>
          <a:xfrm flipH="1">
            <a:off x="425727" y="1767040"/>
            <a:ext cx="925430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6D7D5E2A-2B81-A148-9321-B307B24B86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13" name="Group 12">
            <a:extLst>
              <a:ext uri="{FF2B5EF4-FFF2-40B4-BE49-F238E27FC236}">
                <a16:creationId xmlns:a16="http://schemas.microsoft.com/office/drawing/2014/main" xmlns="" id="{ADAB36EC-5DEF-9B45-8EDB-092DA7FDACA9}"/>
              </a:ext>
            </a:extLst>
          </p:cNvPr>
          <p:cNvGrpSpPr/>
          <p:nvPr userDrawn="1"/>
        </p:nvGrpSpPr>
        <p:grpSpPr>
          <a:xfrm>
            <a:off x="1333695" y="6201410"/>
            <a:ext cx="2312384" cy="332623"/>
            <a:chOff x="10743787" y="6308250"/>
            <a:chExt cx="1112954" cy="572290"/>
          </a:xfrm>
        </p:grpSpPr>
        <p:sp>
          <p:nvSpPr>
            <p:cNvPr id="19" name="テキスト プレースホルダー 36">
              <a:extLst>
                <a:ext uri="{FF2B5EF4-FFF2-40B4-BE49-F238E27FC236}">
                  <a16:creationId xmlns:a16="http://schemas.microsoft.com/office/drawing/2014/main" xmlns="" id="{532796E0-DEBC-F04D-B4AE-B3EE1ED82F71}"/>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CDA7F8D1-6FF9-4B4D-996A-76C35DA2948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E7B94B9B-271A-9A40-8864-E7E637033B5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ly with 3 colums - LEFT">
    <p:spTree>
      <p:nvGrpSpPr>
        <p:cNvPr id="1" name=""/>
        <p:cNvGrpSpPr/>
        <p:nvPr/>
      </p:nvGrpSpPr>
      <p:grpSpPr>
        <a:xfrm>
          <a:off x="0" y="0"/>
          <a:ext cx="0" cy="0"/>
          <a:chOff x="0" y="0"/>
          <a:chExt cx="0" cy="0"/>
        </a:xfrm>
      </p:grpSpPr>
      <p:sp>
        <p:nvSpPr>
          <p:cNvPr id="14" name="テキスト プレースホルダー 36"/>
          <p:cNvSpPr txBox="1">
            <a:spLocks/>
          </p:cNvSpPr>
          <p:nvPr userDrawn="1"/>
        </p:nvSpPr>
        <p:spPr bwMode="auto">
          <a:xfrm>
            <a:off x="580570" y="6321603"/>
            <a:ext cx="877943"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r">
              <a:buFontTx/>
              <a:buNone/>
            </a:pPr>
            <a:endParaRPr kumimoji="1" lang="en-GB" altLang="ja-JP" sz="1100" dirty="0">
              <a:solidFill>
                <a:srgbClr val="003841"/>
              </a:solidFill>
              <a:latin typeface="Calibri" charset="0"/>
            </a:endParaRPr>
          </a:p>
        </p:txBody>
      </p:sp>
      <p:sp>
        <p:nvSpPr>
          <p:cNvPr id="22" name="Text Placeholder 25"/>
          <p:cNvSpPr>
            <a:spLocks noGrp="1"/>
          </p:cNvSpPr>
          <p:nvPr userDrawn="1">
            <p:ph type="body" sz="quarter" idx="15" hasCustomPrompt="1"/>
          </p:nvPr>
        </p:nvSpPr>
        <p:spPr>
          <a:xfrm>
            <a:off x="712878"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3" name="Text Placeholder 25"/>
          <p:cNvSpPr>
            <a:spLocks noGrp="1"/>
          </p:cNvSpPr>
          <p:nvPr userDrawn="1">
            <p:ph type="body" sz="quarter" idx="16" hasCustomPrompt="1"/>
          </p:nvPr>
        </p:nvSpPr>
        <p:spPr>
          <a:xfrm>
            <a:off x="6706384"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userDrawn="1">
            <p:ph type="body" sz="quarter" idx="20" hasCustomPrompt="1"/>
          </p:nvPr>
        </p:nvSpPr>
        <p:spPr>
          <a:xfrm>
            <a:off x="3710195"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3"/>
          <p:cNvSpPr>
            <a:spLocks noGrp="1"/>
          </p:cNvSpPr>
          <p:nvPr userDrawn="1">
            <p:ph type="body" sz="quarter" idx="21" hasCustomPrompt="1"/>
          </p:nvPr>
        </p:nvSpPr>
        <p:spPr>
          <a:xfrm>
            <a:off x="712878"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31" name="テキスト プレースホルダー 36"/>
          <p:cNvSpPr txBox="1">
            <a:spLocks/>
          </p:cNvSpPr>
          <p:nvPr userDrawn="1"/>
        </p:nvSpPr>
        <p:spPr bwMode="auto">
          <a:xfrm>
            <a:off x="3979193" y="5224665"/>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cxnSp>
        <p:nvCxnSpPr>
          <p:cNvPr id="32" name="Straight Connector 31"/>
          <p:cNvCxnSpPr/>
          <p:nvPr userDrawn="1"/>
        </p:nvCxnSpPr>
        <p:spPr>
          <a:xfrm flipH="1">
            <a:off x="425727" y="1767040"/>
            <a:ext cx="9411956"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 name="Picture 19">
            <a:extLst>
              <a:ext uri="{FF2B5EF4-FFF2-40B4-BE49-F238E27FC236}">
                <a16:creationId xmlns:a16="http://schemas.microsoft.com/office/drawing/2014/main" xmlns="" id="{F17E6557-D97C-E242-B6F9-6382EA595F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21" name="Group 20">
            <a:extLst>
              <a:ext uri="{FF2B5EF4-FFF2-40B4-BE49-F238E27FC236}">
                <a16:creationId xmlns:a16="http://schemas.microsoft.com/office/drawing/2014/main" xmlns="" id="{D82BC0DB-5DE7-2447-83C8-23383567DEC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2C5D5364-575D-D042-B367-4A2C62F98CF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CB369F45-4993-CE41-9F64-43C9D8D15EE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AD59E0B3-62A5-5549-BAF8-ABCFE552912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676221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Lim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 Blue">
    <p:spTree>
      <p:nvGrpSpPr>
        <p:cNvPr id="1" name=""/>
        <p:cNvGrpSpPr/>
        <p:nvPr/>
      </p:nvGrpSpPr>
      <p:grpSpPr>
        <a:xfrm>
          <a:off x="0" y="0"/>
          <a:ext cx="0" cy="0"/>
          <a:chOff x="0" y="0"/>
          <a:chExt cx="0" cy="0"/>
        </a:xfrm>
      </p:grpSpPr>
      <p:sp>
        <p:nvSpPr>
          <p:cNvPr id="6" name="Rectangle 5"/>
          <p:cNvSpPr/>
          <p:nvPr userDrawn="1"/>
        </p:nvSpPr>
        <p:spPr>
          <a:xfrm>
            <a:off x="0" y="0"/>
            <a:ext cx="12192000" cy="6952129"/>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4"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 Pink">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9"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1">
    <p:spTree>
      <p:nvGrpSpPr>
        <p:cNvPr id="1" name=""/>
        <p:cNvGrpSpPr/>
        <p:nvPr/>
      </p:nvGrpSpPr>
      <p:grpSpPr>
        <a:xfrm>
          <a:off x="0" y="0"/>
          <a:ext cx="0" cy="0"/>
          <a:chOff x="0" y="0"/>
          <a:chExt cx="0" cy="0"/>
        </a:xfrm>
      </p:grpSpPr>
      <p:cxnSp>
        <p:nvCxnSpPr>
          <p:cNvPr id="21" name="Straight Connector 20"/>
          <p:cNvCxnSpPr/>
          <p:nvPr userDrawn="1"/>
        </p:nvCxnSpPr>
        <p:spPr>
          <a:xfrm>
            <a:off x="-36415" y="2997017"/>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hasCustomPrompt="1"/>
          </p:nvPr>
        </p:nvSpPr>
        <p:spPr>
          <a:xfrm>
            <a:off x="303467" y="3845754"/>
            <a:ext cx="2672815" cy="1878334"/>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2" name="Text Placeholder 2"/>
          <p:cNvSpPr>
            <a:spLocks noGrp="1"/>
          </p:cNvSpPr>
          <p:nvPr>
            <p:ph type="body" sz="quarter" idx="11" hasCustomPrompt="1"/>
          </p:nvPr>
        </p:nvSpPr>
        <p:spPr>
          <a:xfrm>
            <a:off x="3243611"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4" name="Text Placeholder 2"/>
          <p:cNvSpPr>
            <a:spLocks noGrp="1"/>
          </p:cNvSpPr>
          <p:nvPr>
            <p:ph type="body" sz="quarter" idx="12" hasCustomPrompt="1"/>
          </p:nvPr>
        </p:nvSpPr>
        <p:spPr>
          <a:xfrm>
            <a:off x="6115112" y="3845754"/>
            <a:ext cx="2672815" cy="192257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6" name="Text Placeholder 2"/>
          <p:cNvSpPr>
            <a:spLocks noGrp="1"/>
          </p:cNvSpPr>
          <p:nvPr>
            <p:ph type="body" sz="quarter" idx="13" hasCustomPrompt="1"/>
          </p:nvPr>
        </p:nvSpPr>
        <p:spPr>
          <a:xfrm>
            <a:off x="9068395"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 name="Oval 1"/>
          <p:cNvSpPr/>
          <p:nvPr userDrawn="1"/>
        </p:nvSpPr>
        <p:spPr>
          <a:xfrm>
            <a:off x="985917" y="2341774"/>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p:cNvSpPr/>
          <p:nvPr userDrawn="1"/>
        </p:nvSpPr>
        <p:spPr>
          <a:xfrm>
            <a:off x="3936550" y="2357577"/>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p:cNvSpPr/>
          <p:nvPr userDrawn="1"/>
        </p:nvSpPr>
        <p:spPr>
          <a:xfrm>
            <a:off x="6751909" y="2313333"/>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p:cNvSpPr/>
          <p:nvPr userDrawn="1"/>
        </p:nvSpPr>
        <p:spPr>
          <a:xfrm>
            <a:off x="9765418" y="2342845"/>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4" name="Group 23">
            <a:extLst>
              <a:ext uri="{FF2B5EF4-FFF2-40B4-BE49-F238E27FC236}">
                <a16:creationId xmlns:a16="http://schemas.microsoft.com/office/drawing/2014/main" xmlns="" id="{E931C879-0C42-5546-BAF2-B2AD85753C19}"/>
              </a:ext>
            </a:extLst>
          </p:cNvPr>
          <p:cNvGrpSpPr/>
          <p:nvPr userDrawn="1"/>
        </p:nvGrpSpPr>
        <p:grpSpPr>
          <a:xfrm>
            <a:off x="5518067" y="6300459"/>
            <a:ext cx="2312384" cy="332623"/>
            <a:chOff x="10743787" y="6308250"/>
            <a:chExt cx="1112954" cy="572290"/>
          </a:xfrm>
        </p:grpSpPr>
        <p:sp>
          <p:nvSpPr>
            <p:cNvPr id="25" name="テキスト プレースホルダー 36">
              <a:extLst>
                <a:ext uri="{FF2B5EF4-FFF2-40B4-BE49-F238E27FC236}">
                  <a16:creationId xmlns:a16="http://schemas.microsoft.com/office/drawing/2014/main" xmlns="" id="{CB4597BD-02B4-7E48-82FB-F43E4F1EA55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6" name="テキスト プレースホルダー 36">
              <a:extLst>
                <a:ext uri="{FF2B5EF4-FFF2-40B4-BE49-F238E27FC236}">
                  <a16:creationId xmlns:a16="http://schemas.microsoft.com/office/drawing/2014/main" xmlns="" id="{43713398-D2FD-D24F-945B-F9C48B21BA4D}"/>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7" name="Picture 26">
            <a:extLst>
              <a:ext uri="{FF2B5EF4-FFF2-40B4-BE49-F238E27FC236}">
                <a16:creationId xmlns:a16="http://schemas.microsoft.com/office/drawing/2014/main" xmlns="" id="{0811E7D2-998A-4B4A-BF79-BFC8238DE4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397427"/>
            <a:ext cx="1257734" cy="191646"/>
          </a:xfrm>
          <a:prstGeom prst="rect">
            <a:avLst/>
          </a:prstGeom>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2">
    <p:spTree>
      <p:nvGrpSpPr>
        <p:cNvPr id="1" name=""/>
        <p:cNvGrpSpPr/>
        <p:nvPr/>
      </p:nvGrpSpPr>
      <p:grpSpPr>
        <a:xfrm>
          <a:off x="0" y="0"/>
          <a:ext cx="0" cy="0"/>
          <a:chOff x="0" y="0"/>
          <a:chExt cx="0" cy="0"/>
        </a:xfrm>
      </p:grpSpPr>
      <p:cxnSp>
        <p:nvCxnSpPr>
          <p:cNvPr id="18" name="Straight Connector 17"/>
          <p:cNvCxnSpPr/>
          <p:nvPr userDrawn="1"/>
        </p:nvCxnSpPr>
        <p:spPr>
          <a:xfrm>
            <a:off x="-6261" y="1227211"/>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0" hasCustomPrompt="1"/>
          </p:nvPr>
        </p:nvSpPr>
        <p:spPr>
          <a:xfrm>
            <a:off x="333621"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0" name="Text Placeholder 2"/>
          <p:cNvSpPr>
            <a:spLocks noGrp="1"/>
          </p:cNvSpPr>
          <p:nvPr>
            <p:ph type="body" sz="quarter" idx="11" hasCustomPrompt="1"/>
          </p:nvPr>
        </p:nvSpPr>
        <p:spPr>
          <a:xfrm>
            <a:off x="3273765"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1" name="Text Placeholder 2"/>
          <p:cNvSpPr>
            <a:spLocks noGrp="1"/>
          </p:cNvSpPr>
          <p:nvPr>
            <p:ph type="body" sz="quarter" idx="12" hasCustomPrompt="1"/>
          </p:nvPr>
        </p:nvSpPr>
        <p:spPr>
          <a:xfrm>
            <a:off x="6145266"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2" name="Text Placeholder 2"/>
          <p:cNvSpPr>
            <a:spLocks noGrp="1"/>
          </p:cNvSpPr>
          <p:nvPr>
            <p:ph type="body" sz="quarter" idx="13" hasCustomPrompt="1"/>
          </p:nvPr>
        </p:nvSpPr>
        <p:spPr>
          <a:xfrm>
            <a:off x="9098549"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0" name="Oval 29"/>
          <p:cNvSpPr/>
          <p:nvPr userDrawn="1"/>
        </p:nvSpPr>
        <p:spPr>
          <a:xfrm>
            <a:off x="1016071" y="571968"/>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p:cNvSpPr/>
          <p:nvPr userDrawn="1"/>
        </p:nvSpPr>
        <p:spPr>
          <a:xfrm>
            <a:off x="3966704" y="587771"/>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Oval 31"/>
          <p:cNvSpPr/>
          <p:nvPr userDrawn="1"/>
        </p:nvSpPr>
        <p:spPr>
          <a:xfrm>
            <a:off x="6782063" y="543527"/>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Oval 32"/>
          <p:cNvSpPr/>
          <p:nvPr userDrawn="1"/>
        </p:nvSpPr>
        <p:spPr>
          <a:xfrm>
            <a:off x="9795572" y="573039"/>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5F027659-0F67-374E-9B5B-7757D16E8696}"/>
              </a:ext>
            </a:extLst>
          </p:cNvPr>
          <p:cNvGrpSpPr/>
          <p:nvPr userDrawn="1"/>
        </p:nvGrpSpPr>
        <p:grpSpPr>
          <a:xfrm>
            <a:off x="5518067" y="6320337"/>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535210E2-33C0-E547-812F-8F5B6534A58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042B36FA-511B-4140-9958-1328E9BFD5DE}"/>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3" name="Picture 22">
            <a:extLst>
              <a:ext uri="{FF2B5EF4-FFF2-40B4-BE49-F238E27FC236}">
                <a16:creationId xmlns:a16="http://schemas.microsoft.com/office/drawing/2014/main" xmlns="" id="{CBB772CA-66A6-4B48-A303-A5BA4C96060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with icons slide">
    <p:spTree>
      <p:nvGrpSpPr>
        <p:cNvPr id="1" name=""/>
        <p:cNvGrpSpPr/>
        <p:nvPr/>
      </p:nvGrpSpPr>
      <p:grpSpPr>
        <a:xfrm>
          <a:off x="0" y="0"/>
          <a:ext cx="0" cy="0"/>
          <a:chOff x="0" y="0"/>
          <a:chExt cx="0" cy="0"/>
        </a:xfrm>
      </p:grpSpPr>
      <p:sp>
        <p:nvSpPr>
          <p:cNvPr id="12" name="Rectangle 11"/>
          <p:cNvSpPr/>
          <p:nvPr userDrawn="1"/>
        </p:nvSpPr>
        <p:spPr>
          <a:xfrm>
            <a:off x="0" y="0"/>
            <a:ext cx="12192000" cy="272845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8" name="Text Placeholder 23"/>
          <p:cNvSpPr>
            <a:spLocks noGrp="1"/>
          </p:cNvSpPr>
          <p:nvPr>
            <p:ph type="body" sz="quarter" idx="13" hasCustomPrompt="1"/>
          </p:nvPr>
        </p:nvSpPr>
        <p:spPr>
          <a:xfrm>
            <a:off x="0" y="826647"/>
            <a:ext cx="12192000" cy="697353"/>
          </a:xfrm>
        </p:spPr>
        <p:txBody>
          <a:bodyPr>
            <a:normAutofit/>
          </a:bodyPr>
          <a:lstStyle>
            <a:lvl1pPr marL="0" indent="0" algn="ctr">
              <a:buNone/>
              <a:defRPr sz="3600">
                <a:solidFill>
                  <a:schemeClr val="bg1"/>
                </a:solidFill>
                <a:latin typeface="+mn-lt"/>
              </a:defRPr>
            </a:lvl1pPr>
          </a:lstStyle>
          <a:p>
            <a:pPr lvl="0"/>
            <a:r>
              <a:rPr lang="en-GB" dirty="0"/>
              <a:t>TITLE</a:t>
            </a:r>
          </a:p>
        </p:txBody>
      </p:sp>
      <p:sp>
        <p:nvSpPr>
          <p:cNvPr id="22" name="Text Placeholder 23"/>
          <p:cNvSpPr>
            <a:spLocks noGrp="1"/>
          </p:cNvSpPr>
          <p:nvPr>
            <p:ph type="body" sz="quarter" idx="14" hasCustomPrompt="1"/>
          </p:nvPr>
        </p:nvSpPr>
        <p:spPr>
          <a:xfrm>
            <a:off x="684287"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3" name="Text Placeholder 23"/>
          <p:cNvSpPr>
            <a:spLocks noGrp="1"/>
          </p:cNvSpPr>
          <p:nvPr>
            <p:ph type="body" sz="quarter" idx="15" hasCustomPrompt="1"/>
          </p:nvPr>
        </p:nvSpPr>
        <p:spPr>
          <a:xfrm>
            <a:off x="684287"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4" name="Straight Connector 3"/>
          <p:cNvCxnSpPr/>
          <p:nvPr userDrawn="1"/>
        </p:nvCxnSpPr>
        <p:spPr>
          <a:xfrm flipH="1">
            <a:off x="555813"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26" name="Text Placeholder 23"/>
          <p:cNvSpPr>
            <a:spLocks noGrp="1"/>
          </p:cNvSpPr>
          <p:nvPr>
            <p:ph type="body" sz="quarter" idx="16" hasCustomPrompt="1"/>
          </p:nvPr>
        </p:nvSpPr>
        <p:spPr>
          <a:xfrm>
            <a:off x="451221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7" name="Text Placeholder 23"/>
          <p:cNvSpPr>
            <a:spLocks noGrp="1"/>
          </p:cNvSpPr>
          <p:nvPr>
            <p:ph type="body" sz="quarter" idx="17" hasCustomPrompt="1"/>
          </p:nvPr>
        </p:nvSpPr>
        <p:spPr>
          <a:xfrm>
            <a:off x="451221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28" name="Straight Connector 27"/>
          <p:cNvCxnSpPr/>
          <p:nvPr userDrawn="1"/>
        </p:nvCxnSpPr>
        <p:spPr>
          <a:xfrm flipH="1">
            <a:off x="438374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0" name="Text Placeholder 23"/>
          <p:cNvSpPr>
            <a:spLocks noGrp="1"/>
          </p:cNvSpPr>
          <p:nvPr>
            <p:ph type="body" sz="quarter" idx="18" hasCustomPrompt="1"/>
          </p:nvPr>
        </p:nvSpPr>
        <p:spPr>
          <a:xfrm>
            <a:off x="822808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31" name="Text Placeholder 23"/>
          <p:cNvSpPr>
            <a:spLocks noGrp="1"/>
          </p:cNvSpPr>
          <p:nvPr>
            <p:ph type="body" sz="quarter" idx="19" hasCustomPrompt="1"/>
          </p:nvPr>
        </p:nvSpPr>
        <p:spPr>
          <a:xfrm>
            <a:off x="822808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35" name="Straight Connector 34"/>
          <p:cNvCxnSpPr/>
          <p:nvPr userDrawn="1"/>
        </p:nvCxnSpPr>
        <p:spPr>
          <a:xfrm flipH="1">
            <a:off x="809961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4" name="Oval 33"/>
          <p:cNvSpPr/>
          <p:nvPr userDrawn="1"/>
        </p:nvSpPr>
        <p:spPr>
          <a:xfrm>
            <a:off x="1838368" y="2017629"/>
            <a:ext cx="1075289" cy="1075289"/>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val 35"/>
          <p:cNvSpPr/>
          <p:nvPr userDrawn="1"/>
        </p:nvSpPr>
        <p:spPr>
          <a:xfrm>
            <a:off x="5641642" y="2017629"/>
            <a:ext cx="1075289" cy="1075289"/>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Oval 36"/>
          <p:cNvSpPr/>
          <p:nvPr userDrawn="1"/>
        </p:nvSpPr>
        <p:spPr>
          <a:xfrm>
            <a:off x="9394856" y="2017628"/>
            <a:ext cx="1075289" cy="1075289"/>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1" name="Group 20">
            <a:extLst>
              <a:ext uri="{FF2B5EF4-FFF2-40B4-BE49-F238E27FC236}">
                <a16:creationId xmlns:a16="http://schemas.microsoft.com/office/drawing/2014/main" xmlns="" id="{6A1ACCDE-2F4A-624D-AD12-41160F8A718A}"/>
              </a:ext>
            </a:extLst>
          </p:cNvPr>
          <p:cNvGrpSpPr/>
          <p:nvPr userDrawn="1"/>
        </p:nvGrpSpPr>
        <p:grpSpPr>
          <a:xfrm>
            <a:off x="5518067" y="6320337"/>
            <a:ext cx="2312384" cy="332623"/>
            <a:chOff x="10743787" y="6308250"/>
            <a:chExt cx="1112954" cy="572290"/>
          </a:xfrm>
        </p:grpSpPr>
        <p:sp>
          <p:nvSpPr>
            <p:cNvPr id="24" name="テキスト プレースホルダー 36">
              <a:extLst>
                <a:ext uri="{FF2B5EF4-FFF2-40B4-BE49-F238E27FC236}">
                  <a16:creationId xmlns:a16="http://schemas.microsoft.com/office/drawing/2014/main" xmlns="" id="{D6526A23-8572-5F42-9B8E-C5D6473D280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5" name="テキスト プレースホルダー 36">
              <a:extLst>
                <a:ext uri="{FF2B5EF4-FFF2-40B4-BE49-F238E27FC236}">
                  <a16:creationId xmlns:a16="http://schemas.microsoft.com/office/drawing/2014/main" xmlns="" id="{B7D8282B-898E-0B47-BF0F-CFC46DE69B6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B8479BF6-3A9A-2F42-84AD-58F514B47D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bullets slide">
    <p:spTree>
      <p:nvGrpSpPr>
        <p:cNvPr id="1" name=""/>
        <p:cNvGrpSpPr/>
        <p:nvPr/>
      </p:nvGrpSpPr>
      <p:grpSpPr>
        <a:xfrm>
          <a:off x="0" y="0"/>
          <a:ext cx="0" cy="0"/>
          <a:chOff x="0" y="0"/>
          <a:chExt cx="0" cy="0"/>
        </a:xfrm>
      </p:grpSpPr>
      <p:sp>
        <p:nvSpPr>
          <p:cNvPr id="34" name="Rectangle 33"/>
          <p:cNvSpPr/>
          <p:nvPr userDrawn="1"/>
        </p:nvSpPr>
        <p:spPr>
          <a:xfrm>
            <a:off x="4903304" y="1126433"/>
            <a:ext cx="7288696" cy="1302295"/>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tangle 35"/>
          <p:cNvSpPr/>
          <p:nvPr userDrawn="1"/>
        </p:nvSpPr>
        <p:spPr>
          <a:xfrm>
            <a:off x="4903304" y="2749824"/>
            <a:ext cx="7288696" cy="1302295"/>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p:cNvSpPr/>
          <p:nvPr userDrawn="1"/>
        </p:nvSpPr>
        <p:spPr>
          <a:xfrm>
            <a:off x="4903304" y="4373215"/>
            <a:ext cx="7288696" cy="1302295"/>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8" name="Straight Connector 37"/>
          <p:cNvCxnSpPr/>
          <p:nvPr userDrawn="1"/>
        </p:nvCxnSpPr>
        <p:spPr>
          <a:xfrm>
            <a:off x="6175512" y="1223543"/>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6175512" y="285205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6175512" y="449638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userDrawn="1"/>
        </p:nvPicPr>
        <p:blipFill rotWithShape="1">
          <a:blip r:embed="rId2">
            <a:extLst>
              <a:ext uri="{28A0092B-C50C-407E-A947-70E740481C1C}">
                <a14:useLocalDpi xmlns:a14="http://schemas.microsoft.com/office/drawing/2010/main" val="0"/>
              </a:ext>
            </a:extLst>
          </a:blip>
          <a:srcRect l="29694" t="6763" r="13475" b="6473"/>
          <a:stretch/>
        </p:blipFill>
        <p:spPr>
          <a:xfrm>
            <a:off x="3954456" y="677649"/>
            <a:ext cx="1176669" cy="5446643"/>
          </a:xfrm>
          <a:prstGeom prst="rect">
            <a:avLst/>
          </a:prstGeom>
        </p:spPr>
      </p:pic>
      <p:sp>
        <p:nvSpPr>
          <p:cNvPr id="42" name="Text Placeholder 23"/>
          <p:cNvSpPr>
            <a:spLocks noGrp="1"/>
          </p:cNvSpPr>
          <p:nvPr>
            <p:ph type="body" sz="quarter" idx="13" hasCustomPrompt="1"/>
          </p:nvPr>
        </p:nvSpPr>
        <p:spPr>
          <a:xfrm>
            <a:off x="643223" y="1079254"/>
            <a:ext cx="3821205" cy="697353"/>
          </a:xfrm>
        </p:spPr>
        <p:txBody>
          <a:bodyPr>
            <a:normAutofit/>
          </a:bodyPr>
          <a:lstStyle>
            <a:lvl1pPr marL="0" indent="0" algn="l">
              <a:buNone/>
              <a:defRPr sz="3600">
                <a:solidFill>
                  <a:srgbClr val="003841"/>
                </a:solidFill>
                <a:latin typeface="+mn-lt"/>
              </a:defRPr>
            </a:lvl1pPr>
          </a:lstStyle>
          <a:p>
            <a:pPr lvl="0"/>
            <a:r>
              <a:rPr lang="en-GB" dirty="0"/>
              <a:t>TITLE</a:t>
            </a:r>
          </a:p>
        </p:txBody>
      </p:sp>
      <p:sp>
        <p:nvSpPr>
          <p:cNvPr id="43" name="Text Placeholder 25"/>
          <p:cNvSpPr>
            <a:spLocks noGrp="1"/>
          </p:cNvSpPr>
          <p:nvPr>
            <p:ph type="body" sz="quarter" idx="14" hasCustomPrompt="1"/>
          </p:nvPr>
        </p:nvSpPr>
        <p:spPr>
          <a:xfrm>
            <a:off x="643223" y="2087287"/>
            <a:ext cx="3821205" cy="3642009"/>
          </a:xfrm>
        </p:spPr>
        <p:txBody>
          <a:bodyPr>
            <a:noAutofit/>
          </a:bodyPr>
          <a:lstStyle>
            <a:lvl1pPr marL="0" indent="0" algn="l">
              <a:buNone/>
              <a:defRPr sz="3000">
                <a:solidFill>
                  <a:srgbClr val="00384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sp>
        <p:nvSpPr>
          <p:cNvPr id="44" name="Text Placeholder 23"/>
          <p:cNvSpPr>
            <a:spLocks noGrp="1"/>
          </p:cNvSpPr>
          <p:nvPr>
            <p:ph type="body" sz="quarter" idx="15" hasCustomPrompt="1"/>
          </p:nvPr>
        </p:nvSpPr>
        <p:spPr>
          <a:xfrm>
            <a:off x="4975024" y="1126433"/>
            <a:ext cx="1176670" cy="1292995"/>
          </a:xfrm>
        </p:spPr>
        <p:txBody>
          <a:bodyPr anchor="ctr">
            <a:normAutofit/>
          </a:bodyPr>
          <a:lstStyle>
            <a:lvl1pPr marL="0" indent="0" algn="ctr">
              <a:buNone/>
              <a:defRPr sz="4800">
                <a:solidFill>
                  <a:schemeClr val="bg1"/>
                </a:solidFill>
                <a:latin typeface="+mn-lt"/>
              </a:defRPr>
            </a:lvl1pPr>
          </a:lstStyle>
          <a:p>
            <a:pPr lvl="0"/>
            <a:r>
              <a:rPr lang="en-GB" dirty="0"/>
              <a:t>01</a:t>
            </a:r>
          </a:p>
        </p:txBody>
      </p:sp>
      <p:sp>
        <p:nvSpPr>
          <p:cNvPr id="45" name="Text Placeholder 2"/>
          <p:cNvSpPr>
            <a:spLocks noGrp="1"/>
          </p:cNvSpPr>
          <p:nvPr>
            <p:ph type="body" sz="quarter" idx="12" hasCustomPrompt="1"/>
          </p:nvPr>
        </p:nvSpPr>
        <p:spPr>
          <a:xfrm>
            <a:off x="6271051" y="1126433"/>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cxnSp>
        <p:nvCxnSpPr>
          <p:cNvPr id="51" name="Straight Connector 50"/>
          <p:cNvCxnSpPr/>
          <p:nvPr userDrawn="1"/>
        </p:nvCxnSpPr>
        <p:spPr>
          <a:xfrm>
            <a:off x="417209" y="1920386"/>
            <a:ext cx="42875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52" name="Text Placeholder 23"/>
          <p:cNvSpPr>
            <a:spLocks noGrp="1"/>
          </p:cNvSpPr>
          <p:nvPr>
            <p:ph type="body" sz="quarter" idx="16" hasCustomPrompt="1"/>
          </p:nvPr>
        </p:nvSpPr>
        <p:spPr>
          <a:xfrm>
            <a:off x="4998842" y="2740524"/>
            <a:ext cx="1176670" cy="1292995"/>
          </a:xfrm>
        </p:spPr>
        <p:txBody>
          <a:bodyPr anchor="ctr">
            <a:normAutofit/>
          </a:bodyPr>
          <a:lstStyle>
            <a:lvl1pPr marL="0" indent="0" algn="ctr">
              <a:buNone/>
              <a:defRPr sz="4800">
                <a:solidFill>
                  <a:schemeClr val="bg1"/>
                </a:solidFill>
                <a:latin typeface="+mn-lt"/>
              </a:defRPr>
            </a:lvl1pPr>
          </a:lstStyle>
          <a:p>
            <a:pPr lvl="0"/>
            <a:r>
              <a:rPr lang="en-GB" dirty="0"/>
              <a:t>02</a:t>
            </a:r>
          </a:p>
        </p:txBody>
      </p:sp>
      <p:sp>
        <p:nvSpPr>
          <p:cNvPr id="53" name="Text Placeholder 2"/>
          <p:cNvSpPr>
            <a:spLocks noGrp="1"/>
          </p:cNvSpPr>
          <p:nvPr>
            <p:ph type="body" sz="quarter" idx="17" hasCustomPrompt="1"/>
          </p:nvPr>
        </p:nvSpPr>
        <p:spPr>
          <a:xfrm>
            <a:off x="6294869" y="2740524"/>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54" name="Text Placeholder 23"/>
          <p:cNvSpPr>
            <a:spLocks noGrp="1"/>
          </p:cNvSpPr>
          <p:nvPr>
            <p:ph type="body" sz="quarter" idx="18" hasCustomPrompt="1"/>
          </p:nvPr>
        </p:nvSpPr>
        <p:spPr>
          <a:xfrm>
            <a:off x="4968894" y="4387646"/>
            <a:ext cx="1176670" cy="1292995"/>
          </a:xfrm>
        </p:spPr>
        <p:txBody>
          <a:bodyPr anchor="ctr">
            <a:normAutofit/>
          </a:bodyPr>
          <a:lstStyle>
            <a:lvl1pPr marL="0" indent="0" algn="ctr">
              <a:buNone/>
              <a:defRPr sz="4800">
                <a:solidFill>
                  <a:schemeClr val="bg1"/>
                </a:solidFill>
                <a:latin typeface="+mn-lt"/>
              </a:defRPr>
            </a:lvl1pPr>
          </a:lstStyle>
          <a:p>
            <a:pPr lvl="0"/>
            <a:r>
              <a:rPr lang="en-GB" dirty="0"/>
              <a:t>03</a:t>
            </a:r>
          </a:p>
        </p:txBody>
      </p:sp>
      <p:sp>
        <p:nvSpPr>
          <p:cNvPr id="55" name="Text Placeholder 2"/>
          <p:cNvSpPr>
            <a:spLocks noGrp="1"/>
          </p:cNvSpPr>
          <p:nvPr>
            <p:ph type="body" sz="quarter" idx="19" hasCustomPrompt="1"/>
          </p:nvPr>
        </p:nvSpPr>
        <p:spPr>
          <a:xfrm>
            <a:off x="6264921" y="4387646"/>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grpSp>
        <p:nvGrpSpPr>
          <p:cNvPr id="25" name="Group 24">
            <a:extLst>
              <a:ext uri="{FF2B5EF4-FFF2-40B4-BE49-F238E27FC236}">
                <a16:creationId xmlns:a16="http://schemas.microsoft.com/office/drawing/2014/main" xmlns="" id="{989948AA-CBBD-C14B-92BE-5E35489505D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4462787E-418A-9941-9477-9D876104E4E0}"/>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E9375A0E-E034-AE4E-8CEA-0882FAE0CF1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75FF4D26-5450-AF43-B106-5549C62527F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ptop slide 1">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9307" b="5574"/>
          <a:stretch/>
        </p:blipFill>
        <p:spPr>
          <a:xfrm>
            <a:off x="2000190" y="1447737"/>
            <a:ext cx="7941283" cy="4839954"/>
          </a:xfrm>
          <a:prstGeom prst="rect">
            <a:avLst/>
          </a:prstGeom>
        </p:spPr>
      </p:pic>
      <p:sp>
        <p:nvSpPr>
          <p:cNvPr id="25" name="Text Placeholder 23"/>
          <p:cNvSpPr>
            <a:spLocks noGrp="1"/>
          </p:cNvSpPr>
          <p:nvPr>
            <p:ph type="body" sz="quarter" idx="13" hasCustomPrompt="1"/>
          </p:nvPr>
        </p:nvSpPr>
        <p:spPr>
          <a:xfrm>
            <a:off x="0" y="213464"/>
            <a:ext cx="12192000" cy="704485"/>
          </a:xfrm>
        </p:spPr>
        <p:txBody>
          <a:bodyPr>
            <a:normAutofit/>
          </a:bodyPr>
          <a:lstStyle>
            <a:lvl1pPr marL="0" indent="0" algn="ctr">
              <a:buNone/>
              <a:defRPr sz="3600">
                <a:solidFill>
                  <a:srgbClr val="245473"/>
                </a:solidFill>
                <a:latin typeface="+mn-lt"/>
              </a:defRPr>
            </a:lvl1pPr>
          </a:lstStyle>
          <a:p>
            <a:pPr lvl="0"/>
            <a:r>
              <a:rPr lang="en-GB" dirty="0"/>
              <a:t>TITLE</a:t>
            </a:r>
          </a:p>
        </p:txBody>
      </p:sp>
      <p:sp>
        <p:nvSpPr>
          <p:cNvPr id="26" name="Text Placeholder 25"/>
          <p:cNvSpPr>
            <a:spLocks noGrp="1"/>
          </p:cNvSpPr>
          <p:nvPr>
            <p:ph type="body" sz="quarter" idx="14" hasCustomPrompt="1"/>
          </p:nvPr>
        </p:nvSpPr>
        <p:spPr>
          <a:xfrm>
            <a:off x="0" y="1045042"/>
            <a:ext cx="12192000" cy="590599"/>
          </a:xfrm>
        </p:spPr>
        <p:txBody>
          <a:bodyPr>
            <a:noAutofit/>
          </a:bodyPr>
          <a:lstStyle>
            <a:lvl1pPr marL="0" indent="0" algn="ctr">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cxnSp>
        <p:nvCxnSpPr>
          <p:cNvPr id="27" name="Straight Connector 26"/>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3184071" y="1893434"/>
            <a:ext cx="5665788" cy="3478212"/>
          </a:xfrm>
          <a:prstGeom prst="rect">
            <a:avLst/>
          </a:prstGeom>
        </p:spPr>
        <p:txBody>
          <a:bodyPr anchor="t"/>
          <a:lstStyle>
            <a:lvl1pPr marL="228600" marR="0" indent="-228600" algn="ctr" defTabSz="914400" rtl="0" eaLnBrk="1" fontAlgn="auto" latinLnBrk="0" hangingPunct="1">
              <a:lnSpc>
                <a:spcPct val="90000"/>
              </a:lnSpc>
              <a:spcBef>
                <a:spcPts val="1000"/>
              </a:spcBef>
              <a:spcAft>
                <a:spcPts val="0"/>
              </a:spcAft>
              <a:buClrTx/>
              <a:buSzTx/>
              <a:buFont typeface="Arial"/>
              <a:buNone/>
              <a:tabLst/>
              <a:defRPr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GB" dirty="0"/>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grpSp>
        <p:nvGrpSpPr>
          <p:cNvPr id="11" name="Group 10">
            <a:extLst>
              <a:ext uri="{FF2B5EF4-FFF2-40B4-BE49-F238E27FC236}">
                <a16:creationId xmlns:a16="http://schemas.microsoft.com/office/drawing/2014/main" xmlns="" id="{E0A6F1FA-0C26-DC41-8655-91FA123EECE6}"/>
              </a:ext>
            </a:extLst>
          </p:cNvPr>
          <p:cNvGrpSpPr/>
          <p:nvPr userDrawn="1"/>
        </p:nvGrpSpPr>
        <p:grpSpPr>
          <a:xfrm>
            <a:off x="5518067" y="6320337"/>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57D96B86-6B0A-6C48-9117-F9878D3E8229}"/>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C342E5B8-E967-FE44-A3B4-8715184E25C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3E8915E-46EB-7448-8184-ECBF4290DF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ptop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49050" b="5574"/>
          <a:stretch/>
        </p:blipFill>
        <p:spPr>
          <a:xfrm>
            <a:off x="7429500" y="740153"/>
            <a:ext cx="4762500" cy="5612853"/>
          </a:xfrm>
          <a:prstGeom prst="rect">
            <a:avLst/>
          </a:prstGeom>
        </p:spPr>
      </p:pic>
      <p:cxnSp>
        <p:nvCxnSpPr>
          <p:cNvPr id="27" name="Straight Connector 26"/>
          <p:cNvCxnSpPr/>
          <p:nvPr userDrawn="1"/>
        </p:nvCxnSpPr>
        <p:spPr>
          <a:xfrm flipH="1">
            <a:off x="378379" y="1908558"/>
            <a:ext cx="678986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8802435" y="1223694"/>
            <a:ext cx="3389565" cy="4033653"/>
          </a:xfrm>
          <a:prstGeom prst="rect">
            <a:avLst/>
          </a:prstGeo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GB" dirty="0"/>
              <a:t>Click here to add photo</a:t>
            </a:r>
          </a:p>
        </p:txBody>
      </p:sp>
      <p:sp>
        <p:nvSpPr>
          <p:cNvPr id="9" name="Text Placeholder 23"/>
          <p:cNvSpPr>
            <a:spLocks noGrp="1"/>
          </p:cNvSpPr>
          <p:nvPr>
            <p:ph type="body" sz="quarter" idx="16" hasCustomPrompt="1"/>
          </p:nvPr>
        </p:nvSpPr>
        <p:spPr>
          <a:xfrm>
            <a:off x="643223" y="1079254"/>
            <a:ext cx="6361734"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0" name="Text Placeholder 25"/>
          <p:cNvSpPr>
            <a:spLocks noGrp="1"/>
          </p:cNvSpPr>
          <p:nvPr>
            <p:ph type="body" sz="quarter" idx="17" hasCustomPrompt="1"/>
          </p:nvPr>
        </p:nvSpPr>
        <p:spPr>
          <a:xfrm>
            <a:off x="643223" y="2087287"/>
            <a:ext cx="6361734"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15" name="Group 14">
            <a:extLst>
              <a:ext uri="{FF2B5EF4-FFF2-40B4-BE49-F238E27FC236}">
                <a16:creationId xmlns:a16="http://schemas.microsoft.com/office/drawing/2014/main" xmlns="" id="{DD0BC517-456F-7141-A924-632CB3E2CFCF}"/>
              </a:ext>
            </a:extLst>
          </p:cNvPr>
          <p:cNvGrpSpPr/>
          <p:nvPr userDrawn="1"/>
        </p:nvGrpSpPr>
        <p:grpSpPr>
          <a:xfrm>
            <a:off x="1333695" y="6201410"/>
            <a:ext cx="2312384" cy="332623"/>
            <a:chOff x="10743787" y="6308250"/>
            <a:chExt cx="1112954" cy="572290"/>
          </a:xfrm>
        </p:grpSpPr>
        <p:sp>
          <p:nvSpPr>
            <p:cNvPr id="16" name="テキスト プレースホルダー 36">
              <a:extLst>
                <a:ext uri="{FF2B5EF4-FFF2-40B4-BE49-F238E27FC236}">
                  <a16:creationId xmlns:a16="http://schemas.microsoft.com/office/drawing/2014/main" xmlns="" id="{0320CDBB-83D1-8448-943D-2ABED1F37747}"/>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17899FB0-757D-A14A-93A5-73888B0D1B0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8" name="Picture 17">
            <a:extLst>
              <a:ext uri="{FF2B5EF4-FFF2-40B4-BE49-F238E27FC236}">
                <a16:creationId xmlns:a16="http://schemas.microsoft.com/office/drawing/2014/main" xmlns="" id="{F57E134D-C955-264C-925F-9CA3130C061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ne Slide 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3425" t="-1173" r="6562" b="12394"/>
          <a:stretch/>
        </p:blipFill>
        <p:spPr>
          <a:xfrm>
            <a:off x="2449287" y="1355271"/>
            <a:ext cx="9742714" cy="5502729"/>
          </a:xfrm>
          <a:prstGeom prst="rect">
            <a:avLst/>
          </a:prstGeom>
        </p:spPr>
      </p:pic>
      <p:sp>
        <p:nvSpPr>
          <p:cNvPr id="6" name="Picture Placeholder 5"/>
          <p:cNvSpPr>
            <a:spLocks noGrp="1"/>
          </p:cNvSpPr>
          <p:nvPr>
            <p:ph type="pic" sz="quarter" idx="18" hasCustomPrompt="1"/>
          </p:nvPr>
        </p:nvSpPr>
        <p:spPr>
          <a:xfrm>
            <a:off x="3731480" y="2335213"/>
            <a:ext cx="4098925" cy="2628900"/>
          </a:xfr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r>
              <a:rPr lang="en-GB" dirty="0"/>
              <a:t>Click here to add photo</a:t>
            </a:r>
          </a:p>
        </p:txBody>
      </p:sp>
      <p:sp>
        <p:nvSpPr>
          <p:cNvPr id="14" name="Text Placeholder 23"/>
          <p:cNvSpPr>
            <a:spLocks noGrp="1"/>
          </p:cNvSpPr>
          <p:nvPr>
            <p:ph type="body" sz="quarter" idx="13" hasCustomPrompt="1"/>
          </p:nvPr>
        </p:nvSpPr>
        <p:spPr>
          <a:xfrm>
            <a:off x="0" y="213464"/>
            <a:ext cx="12192000" cy="612789"/>
          </a:xfrm>
        </p:spPr>
        <p:txBody>
          <a:bodyPr>
            <a:normAutofit/>
          </a:bodyPr>
          <a:lstStyle>
            <a:lvl1pPr marL="0" indent="0" algn="ctr">
              <a:buNone/>
              <a:defRPr sz="3600">
                <a:solidFill>
                  <a:srgbClr val="245473"/>
                </a:solidFill>
                <a:latin typeface="+mn-lt"/>
              </a:defRPr>
            </a:lvl1pPr>
          </a:lstStyle>
          <a:p>
            <a:pPr lvl="0"/>
            <a:r>
              <a:rPr lang="en-GB" dirty="0"/>
              <a:t>TITLE</a:t>
            </a:r>
          </a:p>
        </p:txBody>
      </p:sp>
      <p:cxnSp>
        <p:nvCxnSpPr>
          <p:cNvPr id="15" name="Straight Connector 14"/>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xmlns="" id="{D50C09CE-150B-1545-834E-9F744082CCBD}"/>
              </a:ext>
            </a:extLst>
          </p:cNvPr>
          <p:cNvGrpSpPr/>
          <p:nvPr userDrawn="1"/>
        </p:nvGrpSpPr>
        <p:grpSpPr>
          <a:xfrm>
            <a:off x="1333695" y="6201410"/>
            <a:ext cx="2312384" cy="332623"/>
            <a:chOff x="10743787" y="6308250"/>
            <a:chExt cx="1112954" cy="572290"/>
          </a:xfrm>
        </p:grpSpPr>
        <p:sp>
          <p:nvSpPr>
            <p:cNvPr id="20" name="テキスト プレースホルダー 36">
              <a:extLst>
                <a:ext uri="{FF2B5EF4-FFF2-40B4-BE49-F238E27FC236}">
                  <a16:creationId xmlns:a16="http://schemas.microsoft.com/office/drawing/2014/main" xmlns="" id="{54145B1F-2E18-004B-95E2-AA351E7F268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E7BCCF47-B227-444D-8FAF-446A6A1B2A3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9ADB7EDC-1B77-1944-9C10-35326A685AB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ne Slid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3454" b="8248"/>
          <a:stretch/>
        </p:blipFill>
        <p:spPr>
          <a:xfrm>
            <a:off x="6890657" y="550299"/>
            <a:ext cx="5479143" cy="6292294"/>
          </a:xfrm>
          <a:prstGeom prst="rect">
            <a:avLst/>
          </a:prstGeom>
        </p:spPr>
      </p:pic>
      <p:sp>
        <p:nvSpPr>
          <p:cNvPr id="7" name="Picture Placeholder 6"/>
          <p:cNvSpPr>
            <a:spLocks noGrp="1"/>
          </p:cNvSpPr>
          <p:nvPr>
            <p:ph type="pic" sz="quarter" idx="14" hasCustomPrompt="1"/>
          </p:nvPr>
        </p:nvSpPr>
        <p:spPr>
          <a:xfrm>
            <a:off x="7754938" y="1192681"/>
            <a:ext cx="2187575" cy="3886200"/>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a:buNone/>
              <a:tabLst/>
              <a:defRPr>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cxnSp>
        <p:nvCxnSpPr>
          <p:cNvPr id="11" name="Straight Connector 10"/>
          <p:cNvCxnSpPr/>
          <p:nvPr userDrawn="1"/>
        </p:nvCxnSpPr>
        <p:spPr>
          <a:xfrm flipH="1">
            <a:off x="378380" y="1908558"/>
            <a:ext cx="634899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12" name="Text Placeholder 23"/>
          <p:cNvSpPr>
            <a:spLocks noGrp="1"/>
          </p:cNvSpPr>
          <p:nvPr>
            <p:ph type="body" sz="quarter" idx="16" hasCustomPrompt="1"/>
          </p:nvPr>
        </p:nvSpPr>
        <p:spPr>
          <a:xfrm>
            <a:off x="643223" y="1079254"/>
            <a:ext cx="5839220"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3" name="Text Placeholder 25"/>
          <p:cNvSpPr>
            <a:spLocks noGrp="1"/>
          </p:cNvSpPr>
          <p:nvPr>
            <p:ph type="body" sz="quarter" idx="17" hasCustomPrompt="1"/>
          </p:nvPr>
        </p:nvSpPr>
        <p:spPr>
          <a:xfrm>
            <a:off x="643223" y="2087287"/>
            <a:ext cx="5839220"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22" name="Group 21">
            <a:extLst>
              <a:ext uri="{FF2B5EF4-FFF2-40B4-BE49-F238E27FC236}">
                <a16:creationId xmlns:a16="http://schemas.microsoft.com/office/drawing/2014/main" xmlns="" id="{D7E0608D-7566-AA4E-B01B-F061E8FF1E95}"/>
              </a:ext>
            </a:extLst>
          </p:cNvPr>
          <p:cNvGrpSpPr/>
          <p:nvPr userDrawn="1"/>
        </p:nvGrpSpPr>
        <p:grpSpPr>
          <a:xfrm>
            <a:off x="1333695" y="6201410"/>
            <a:ext cx="2312384" cy="332623"/>
            <a:chOff x="10743787" y="6308250"/>
            <a:chExt cx="1112954" cy="572290"/>
          </a:xfrm>
        </p:grpSpPr>
        <p:sp>
          <p:nvSpPr>
            <p:cNvPr id="23" name="テキスト プレースホルダー 36">
              <a:extLst>
                <a:ext uri="{FF2B5EF4-FFF2-40B4-BE49-F238E27FC236}">
                  <a16:creationId xmlns:a16="http://schemas.microsoft.com/office/drawing/2014/main" xmlns="" id="{574E3CAE-CAD4-194A-A3A8-6091ABEC82DD}"/>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4" name="テキスト プレースホルダー 36">
              <a:extLst>
                <a:ext uri="{FF2B5EF4-FFF2-40B4-BE49-F238E27FC236}">
                  <a16:creationId xmlns:a16="http://schemas.microsoft.com/office/drawing/2014/main" xmlns="" id="{284FE727-10B8-7A43-869F-02CC45E0FBB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5" name="Picture 24">
            <a:extLst>
              <a:ext uri="{FF2B5EF4-FFF2-40B4-BE49-F238E27FC236}">
                <a16:creationId xmlns:a16="http://schemas.microsoft.com/office/drawing/2014/main" xmlns="" id="{C3936FA9-2599-7640-9592-1C00528DD4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642951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image" Target="../media/image6.emf"/><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vmlDrawing" Target="../drawings/vmlDrawing1.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oleObject" Target="../embeddings/oleObject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 </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D1C3AD27-03AF-4F32-9FA6-4F6362CEADD8}"/>
              </a:ext>
            </a:extLst>
          </p:cNvPr>
          <p:cNvGraphicFramePr>
            <a:graphicFrameLocks noChangeAspect="1"/>
          </p:cNvGraphicFramePr>
          <p:nvPr userDrawn="1">
            <p:custDataLst>
              <p:tags r:id="rId30"/>
            </p:custDataLst>
            <p:extLst>
              <p:ext uri="{D42A27DB-BD31-4B8C-83A1-F6EECF244321}">
                <p14:modId xmlns:p14="http://schemas.microsoft.com/office/powerpoint/2010/main" val="292298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32" imgW="592" imgH="595" progId="TCLayout.ActiveDocument.1">
                  <p:embed/>
                </p:oleObj>
              </mc:Choice>
              <mc:Fallback>
                <p:oleObj name="think-cell Folie" r:id="rId32" imgW="592" imgH="595" progId="TCLayout.ActiveDocument.1">
                  <p:embed/>
                  <p:pic>
                    <p:nvPicPr>
                      <p:cNvPr id="8" name="Objekt 7" hidden="1">
                        <a:extLst>
                          <a:ext uri="{FF2B5EF4-FFF2-40B4-BE49-F238E27FC236}">
                            <a16:creationId xmlns:a16="http://schemas.microsoft.com/office/drawing/2014/main" xmlns="" id="{D1C3AD27-03AF-4F32-9FA6-4F6362CEADD8}"/>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xmlns="" id="{7F3C3D9B-4C94-4F53-AFA7-4E8D66EBA981}"/>
              </a:ext>
            </a:extLst>
          </p:cNvPr>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Haga clic para editar el estilo del título principa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Haga clic para editar los estilos de texto maestro</a:t>
            </a:r>
          </a:p>
          <a:p>
            <a:pPr lvl="1"/>
            <a:r>
              <a:rPr lang="en-US" dirty="0"/>
              <a:t>Segundo nivel</a:t>
            </a:r>
          </a:p>
          <a:p>
            <a:pPr lvl="2"/>
            <a:r>
              <a:rPr lang="en-US" dirty="0"/>
              <a:t>Tercer nivel</a:t>
            </a:r>
          </a:p>
          <a:p>
            <a:pPr lvl="3"/>
            <a:r>
              <a:rPr lang="en-US" dirty="0"/>
              <a:t>Cuarto nivel</a:t>
            </a:r>
          </a:p>
          <a:p>
            <a:pPr lvl="4"/>
            <a:r>
              <a:rPr lang="en-US" dirty="0"/>
              <a:t>Quinto ni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587680-F485-A944-B74B-98B26E054E49}" type="datetimeFigureOut">
              <a:rPr lang="en-US" smtClean="0"/>
              <a:t>4/21/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004C27-DD68-9D4F-8D80-21602C2A289B}" type="slidenum">
              <a:rPr lang="en-US" smtClean="0"/>
              <a:t>‹#›</a:t>
            </a:fld>
            <a:endParaRPr lang="en-US" dirty="0"/>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722" r:id="rId1"/>
    <p:sldLayoutId id="2147483760" r:id="rId2"/>
    <p:sldLayoutId id="2147483714" r:id="rId3"/>
    <p:sldLayoutId id="2147483762" r:id="rId4"/>
    <p:sldLayoutId id="2147483767" r:id="rId5"/>
    <p:sldLayoutId id="2147483742" r:id="rId6"/>
    <p:sldLayoutId id="2147483769" r:id="rId7"/>
    <p:sldLayoutId id="2147483770" r:id="rId8"/>
    <p:sldLayoutId id="2147483743" r:id="rId9"/>
    <p:sldLayoutId id="2147483710" r:id="rId10"/>
    <p:sldLayoutId id="2147483745" r:id="rId11"/>
    <p:sldLayoutId id="2147483707" r:id="rId12"/>
    <p:sldLayoutId id="2147483744" r:id="rId13"/>
    <p:sldLayoutId id="2147483763" r:id="rId14"/>
    <p:sldLayoutId id="2147483768" r:id="rId15"/>
    <p:sldLayoutId id="2147483765" r:id="rId16"/>
    <p:sldLayoutId id="2147483766" r:id="rId17"/>
    <p:sldLayoutId id="2147483746" r:id="rId18"/>
    <p:sldLayoutId id="2147483734" r:id="rId19"/>
    <p:sldLayoutId id="2147483747" r:id="rId20"/>
    <p:sldLayoutId id="2147483748" r:id="rId21"/>
    <p:sldLayoutId id="2147483749" r:id="rId22"/>
    <p:sldLayoutId id="2147483750" r:id="rId23"/>
    <p:sldLayoutId id="2147483751" r:id="rId24"/>
    <p:sldLayoutId id="2147483752" r:id="rId25"/>
    <p:sldLayoutId id="2147483687" r:id="rId26"/>
    <p:sldLayoutId id="2147483764" r:id="rId27"/>
  </p:sldLayoutIdLst>
  <p:txStyles>
    <p:titleStyle>
      <a:lvl1pPr algn="l"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0.xml"/><Relationship Id="rId7" Type="http://schemas.openxmlformats.org/officeDocument/2006/relationships/image" Target="../media/image11.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10" Type="http://schemas.openxmlformats.org/officeDocument/2006/relationships/image" Target="../media/image14.png"/><Relationship Id="rId4" Type="http://schemas.openxmlformats.org/officeDocument/2006/relationships/notesSlide" Target="../notesSlides/notesSlide20.xml"/><Relationship Id="rId9" Type="http://schemas.openxmlformats.org/officeDocument/2006/relationships/image" Target="../media/image13.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3.xml"/><Relationship Id="rId4"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5.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38.xml"/><Relationship Id="rId5" Type="http://schemas.openxmlformats.org/officeDocument/2006/relationships/slideLayout" Target="../slideLayouts/slideLayout20.xml"/><Relationship Id="rId4" Type="http://schemas.openxmlformats.org/officeDocument/2006/relationships/tags" Target="../tags/tag31.xml"/></Relationships>
</file>

<file path=ppt/slides/_rels/slide3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0.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7.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2.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3.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4.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5.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6.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7.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8.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9.xml"/><Relationship Id="rId1" Type="http://schemas.openxmlformats.org/officeDocument/2006/relationships/vmlDrawing" Target="../drawings/vmlDrawing33.vml"/><Relationship Id="rId6" Type="http://schemas.openxmlformats.org/officeDocument/2006/relationships/image" Target="../media/image6.emf"/><Relationship Id="rId5" Type="http://schemas.openxmlformats.org/officeDocument/2006/relationships/oleObject" Target="../embeddings/oleObject33.bin"/><Relationship Id="rId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0.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oleObject" Target="../embeddings/oleObject34.bin"/><Relationship Id="rId4" Type="http://schemas.openxmlformats.org/officeDocument/2006/relationships/notesSlide" Target="../notesSlides/notesSlide6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1.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70.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2.xml"/><Relationship Id="rId1" Type="http://schemas.openxmlformats.org/officeDocument/2006/relationships/vmlDrawing" Target="../drawings/vmlDrawing36.vml"/><Relationship Id="rId6" Type="http://schemas.openxmlformats.org/officeDocument/2006/relationships/image" Target="../media/image6.emf"/><Relationship Id="rId5" Type="http://schemas.openxmlformats.org/officeDocument/2006/relationships/oleObject" Target="../embeddings/oleObject36.bin"/><Relationship Id="rId4" Type="http://schemas.openxmlformats.org/officeDocument/2006/relationships/notesSlide" Target="../notesSlides/notesSlide7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8.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3.xml"/><Relationship Id="rId1" Type="http://schemas.openxmlformats.org/officeDocument/2006/relationships/vmlDrawing" Target="../drawings/vmlDrawing37.v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notesSlide" Target="../notesSlides/notesSlide73.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4.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notesSlide" Target="../notesSlides/notesSlide74.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5.xml"/><Relationship Id="rId1" Type="http://schemas.openxmlformats.org/officeDocument/2006/relationships/vmlDrawing" Target="../drawings/vmlDrawing39.vml"/><Relationship Id="rId6" Type="http://schemas.openxmlformats.org/officeDocument/2006/relationships/image" Target="../media/image6.emf"/><Relationship Id="rId5" Type="http://schemas.openxmlformats.org/officeDocument/2006/relationships/oleObject" Target="../embeddings/oleObject39.bin"/><Relationship Id="rId4" Type="http://schemas.openxmlformats.org/officeDocument/2006/relationships/notesSlide" Target="../notesSlides/notesSlide75.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6.xml"/><Relationship Id="rId1" Type="http://schemas.openxmlformats.org/officeDocument/2006/relationships/vmlDrawing" Target="../drawings/vmlDrawing40.vml"/><Relationship Id="rId6" Type="http://schemas.openxmlformats.org/officeDocument/2006/relationships/image" Target="../media/image6.emf"/><Relationship Id="rId5" Type="http://schemas.openxmlformats.org/officeDocument/2006/relationships/oleObject" Target="../embeddings/oleObject40.bin"/><Relationship Id="rId4" Type="http://schemas.openxmlformats.org/officeDocument/2006/relationships/notesSlide" Target="../notesSlides/notesSlide7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8.xml"/></Relationships>
</file>

<file path=ppt/slides/_rels/slide7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0.xml"/><Relationship Id="rId7" Type="http://schemas.openxmlformats.org/officeDocument/2006/relationships/image" Target="../media/image16.png"/><Relationship Id="rId2" Type="http://schemas.openxmlformats.org/officeDocument/2006/relationships/tags" Target="../tags/tag47.xml"/><Relationship Id="rId1" Type="http://schemas.openxmlformats.org/officeDocument/2006/relationships/vmlDrawing" Target="../drawings/vmlDrawing41.vml"/><Relationship Id="rId6" Type="http://schemas.openxmlformats.org/officeDocument/2006/relationships/image" Target="../media/image6.emf"/><Relationship Id="rId5" Type="http://schemas.openxmlformats.org/officeDocument/2006/relationships/oleObject" Target="../embeddings/oleObject41.bin"/><Relationship Id="rId4" Type="http://schemas.openxmlformats.org/officeDocument/2006/relationships/notesSlide" Target="../notesSlides/notesSlide78.xml"/><Relationship Id="rId9" Type="http://schemas.openxmlformats.org/officeDocument/2006/relationships/image" Target="../media/image17.png"/></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8.xml"/><Relationship Id="rId1" Type="http://schemas.openxmlformats.org/officeDocument/2006/relationships/vmlDrawing" Target="../drawings/vmlDrawing42.vml"/><Relationship Id="rId6" Type="http://schemas.openxmlformats.org/officeDocument/2006/relationships/image" Target="../media/image6.emf"/><Relationship Id="rId5" Type="http://schemas.openxmlformats.org/officeDocument/2006/relationships/oleObject" Target="../embeddings/oleObject42.bin"/><Relationship Id="rId4" Type="http://schemas.openxmlformats.org/officeDocument/2006/relationships/notesSlide" Target="../notesSlides/notesSlide7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9.xml"/><Relationship Id="rId1" Type="http://schemas.openxmlformats.org/officeDocument/2006/relationships/vmlDrawing" Target="../drawings/vmlDrawing43.vml"/><Relationship Id="rId6" Type="http://schemas.openxmlformats.org/officeDocument/2006/relationships/image" Target="../media/image6.emf"/><Relationship Id="rId5" Type="http://schemas.openxmlformats.org/officeDocument/2006/relationships/oleObject" Target="../embeddings/oleObject43.bin"/><Relationship Id="rId4" Type="http://schemas.openxmlformats.org/officeDocument/2006/relationships/notesSlide" Target="../notesSlides/notesSlide80.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0.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notesSlide" Target="../notesSlides/notesSlide81.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1.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notesSlide" Target="../notesSlides/notesSlide8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2.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notesSlide" Target="../notesSlides/notesSlide83.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3.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notesSlide" Target="../notesSlides/notesSlide84.xm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4.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notesSlide" Target="../notesSlides/notesSlide85.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5.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notesSlide" Target="../notesSlides/notesSlide86.xml"/></Relationships>
</file>

<file path=ppt/slides/_rels/slide8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0.xml"/><Relationship Id="rId7" Type="http://schemas.openxmlformats.org/officeDocument/2006/relationships/image" Target="../media/image18.png"/><Relationship Id="rId2" Type="http://schemas.openxmlformats.org/officeDocument/2006/relationships/tags" Target="../tags/tag56.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notesSlide" Target="../notesSlides/notesSlide87.xml"/><Relationship Id="rId9" Type="http://schemas.openxmlformats.org/officeDocument/2006/relationships/image" Target="../media/image20.png"/></Relationships>
</file>

<file path=ppt/slides/_rels/slide8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0.xml"/><Relationship Id="rId7" Type="http://schemas.openxmlformats.org/officeDocument/2006/relationships/image" Target="../media/image21.png"/><Relationship Id="rId2" Type="http://schemas.openxmlformats.org/officeDocument/2006/relationships/tags" Target="../tags/tag57.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notesSlide" Target="../notesSlides/notesSlide88.xm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8.xml"/><Relationship Id="rId1" Type="http://schemas.openxmlformats.org/officeDocument/2006/relationships/vmlDrawing" Target="../drawings/vmlDrawing52.vml"/><Relationship Id="rId6" Type="http://schemas.openxmlformats.org/officeDocument/2006/relationships/image" Target="../media/image6.emf"/><Relationship Id="rId5" Type="http://schemas.openxmlformats.org/officeDocument/2006/relationships/oleObject" Target="../embeddings/oleObject52.bin"/><Relationship Id="rId4" Type="http://schemas.openxmlformats.org/officeDocument/2006/relationships/notesSlide" Target="../notesSlides/notesSlide8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9.xml"/><Relationship Id="rId1" Type="http://schemas.openxmlformats.org/officeDocument/2006/relationships/vmlDrawing" Target="../drawings/vmlDrawing53.vml"/><Relationship Id="rId6" Type="http://schemas.openxmlformats.org/officeDocument/2006/relationships/image" Target="../media/image6.emf"/><Relationship Id="rId5" Type="http://schemas.openxmlformats.org/officeDocument/2006/relationships/oleObject" Target="../embeddings/oleObject53.bin"/><Relationship Id="rId4" Type="http://schemas.openxmlformats.org/officeDocument/2006/relationships/notesSlide" Target="../notesSlides/notesSlide90.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0.xml"/><Relationship Id="rId1" Type="http://schemas.openxmlformats.org/officeDocument/2006/relationships/vmlDrawing" Target="../drawings/vmlDrawing54.vml"/><Relationship Id="rId6" Type="http://schemas.openxmlformats.org/officeDocument/2006/relationships/image" Target="../media/image6.emf"/><Relationship Id="rId5" Type="http://schemas.openxmlformats.org/officeDocument/2006/relationships/oleObject" Target="../embeddings/oleObject54.bin"/><Relationship Id="rId4" Type="http://schemas.openxmlformats.org/officeDocument/2006/relationships/notesSlide" Target="../notesSlides/notesSlide91.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1.xml"/><Relationship Id="rId1" Type="http://schemas.openxmlformats.org/officeDocument/2006/relationships/vmlDrawing" Target="../drawings/vmlDrawing55.vml"/><Relationship Id="rId6" Type="http://schemas.openxmlformats.org/officeDocument/2006/relationships/image" Target="../media/image6.emf"/><Relationship Id="rId5" Type="http://schemas.openxmlformats.org/officeDocument/2006/relationships/oleObject" Target="../embeddings/oleObject55.bin"/><Relationship Id="rId4" Type="http://schemas.openxmlformats.org/officeDocument/2006/relationships/notesSlide" Target="../notesSlides/notesSlide92.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2.xml"/><Relationship Id="rId1" Type="http://schemas.openxmlformats.org/officeDocument/2006/relationships/vmlDrawing" Target="../drawings/vmlDrawing56.vml"/><Relationship Id="rId6" Type="http://schemas.openxmlformats.org/officeDocument/2006/relationships/image" Target="../media/image6.emf"/><Relationship Id="rId5" Type="http://schemas.openxmlformats.org/officeDocument/2006/relationships/oleObject" Target="../embeddings/oleObject56.bin"/><Relationship Id="rId4" Type="http://schemas.openxmlformats.org/officeDocument/2006/relationships/notesSlide" Target="../notesSlides/notesSlide9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1" y="4930199"/>
            <a:ext cx="10598580" cy="697353"/>
          </a:xfrm>
        </p:spPr>
        <p:txBody>
          <a:bodyPr/>
          <a:lstStyle/>
          <a:p>
            <a:r>
              <a:rPr lang="en-GB" sz="4400" dirty="0"/>
              <a:t>El lado estratégico de la reestructuración</a:t>
            </a:r>
          </a:p>
          <a:p>
            <a:endParaRPr lang="en-GB"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ódulo 5 </a:t>
            </a:r>
          </a:p>
        </p:txBody>
      </p:sp>
      <p:sp>
        <p:nvSpPr>
          <p:cNvPr id="5" name="TextBox 4">
            <a:extLst>
              <a:ext uri="{FF2B5EF4-FFF2-40B4-BE49-F238E27FC236}">
                <a16:creationId xmlns:a16="http://schemas.microsoft.com/office/drawing/2014/main" xmlns="" id="{3359A628-8E35-4C70-A01B-121CB2788F53}"/>
              </a:ext>
            </a:extLst>
          </p:cNvPr>
          <p:cNvSpPr txBox="1"/>
          <p:nvPr/>
        </p:nvSpPr>
        <p:spPr>
          <a:xfrm>
            <a:off x="826409" y="5934670"/>
            <a:ext cx="10194903" cy="1200329"/>
          </a:xfrm>
          <a:prstGeom prst="rect">
            <a:avLst/>
          </a:prstGeom>
          <a:noFill/>
        </p:spPr>
        <p:txBody>
          <a:bodyPr wrap="square">
            <a:spAutoFit/>
          </a:bodyPr>
          <a:lstStyle/>
          <a:p>
            <a:r>
              <a:rPr lang="en-GB" dirty="0"/>
              <a:t>El </a:t>
            </a:r>
            <a:r>
              <a:rPr lang="en-GB" dirty="0" err="1"/>
              <a:t>apoyo</a:t>
            </a:r>
            <a:r>
              <a:rPr lang="en-GB" dirty="0"/>
              <a:t> de la </a:t>
            </a:r>
            <a:r>
              <a:rPr lang="en-GB" dirty="0" err="1"/>
              <a:t>Comisión</a:t>
            </a:r>
            <a:r>
              <a:rPr lang="en-GB" dirty="0"/>
              <a:t> </a:t>
            </a:r>
            <a:r>
              <a:rPr lang="en-GB" dirty="0" err="1"/>
              <a:t>Europea</a:t>
            </a:r>
            <a:r>
              <a:rPr lang="en-GB" dirty="0"/>
              <a:t> a la </a:t>
            </a:r>
            <a:r>
              <a:rPr lang="en-GB" dirty="0" err="1"/>
              <a:t>producción</a:t>
            </a:r>
            <a:r>
              <a:rPr lang="en-GB" dirty="0"/>
              <a:t> de </a:t>
            </a:r>
            <a:r>
              <a:rPr lang="en-GB" dirty="0" err="1"/>
              <a:t>esta</a:t>
            </a:r>
            <a:r>
              <a:rPr lang="en-GB" dirty="0"/>
              <a:t> </a:t>
            </a:r>
            <a:r>
              <a:rPr lang="en-GB" dirty="0" err="1"/>
              <a:t>publicación</a:t>
            </a:r>
            <a:r>
              <a:rPr lang="en-GB" dirty="0"/>
              <a:t> no </a:t>
            </a:r>
            <a:r>
              <a:rPr lang="en-GB" dirty="0" err="1"/>
              <a:t>constituye</a:t>
            </a:r>
            <a:r>
              <a:rPr lang="en-GB" dirty="0"/>
              <a:t> </a:t>
            </a:r>
            <a:r>
              <a:rPr lang="en-GB" dirty="0" err="1"/>
              <a:t>su</a:t>
            </a:r>
            <a:r>
              <a:rPr lang="en-GB" dirty="0"/>
              <a:t> </a:t>
            </a:r>
            <a:r>
              <a:rPr lang="en-GB" dirty="0" err="1"/>
              <a:t>conformidad</a:t>
            </a:r>
            <a:r>
              <a:rPr lang="en-GB" dirty="0"/>
              <a:t> con el </a:t>
            </a:r>
            <a:r>
              <a:rPr lang="en-GB" dirty="0" err="1"/>
              <a:t>contenido</a:t>
            </a:r>
            <a:r>
              <a:rPr lang="en-GB" dirty="0"/>
              <a:t> que </a:t>
            </a:r>
            <a:r>
              <a:rPr lang="en-GB" dirty="0" err="1"/>
              <a:t>refleja</a:t>
            </a:r>
            <a:r>
              <a:rPr lang="en-GB" dirty="0"/>
              <a:t> </a:t>
            </a:r>
            <a:r>
              <a:rPr lang="en-GB" dirty="0" err="1"/>
              <a:t>únicamente</a:t>
            </a:r>
            <a:r>
              <a:rPr lang="en-GB" dirty="0"/>
              <a:t> las </a:t>
            </a:r>
            <a:r>
              <a:rPr lang="en-GB" dirty="0" err="1"/>
              <a:t>opiniones</a:t>
            </a:r>
            <a:r>
              <a:rPr lang="en-GB" dirty="0"/>
              <a:t> de </a:t>
            </a:r>
            <a:r>
              <a:rPr lang="en-GB" dirty="0" err="1"/>
              <a:t>los</a:t>
            </a:r>
            <a:r>
              <a:rPr lang="en-GB" dirty="0"/>
              <a:t> </a:t>
            </a:r>
            <a:r>
              <a:rPr lang="en-GB" dirty="0" err="1"/>
              <a:t>autores</a:t>
            </a:r>
            <a:r>
              <a:rPr lang="en-GB" dirty="0"/>
              <a:t>, y la </a:t>
            </a:r>
            <a:r>
              <a:rPr lang="en-GB" dirty="0" err="1"/>
              <a:t>Comisión</a:t>
            </a:r>
            <a:r>
              <a:rPr lang="en-GB" dirty="0"/>
              <a:t> no se </a:t>
            </a:r>
            <a:r>
              <a:rPr lang="en-GB" dirty="0" err="1"/>
              <a:t>hace</a:t>
            </a:r>
            <a:r>
              <a:rPr lang="en-GB" dirty="0"/>
              <a:t> </a:t>
            </a:r>
            <a:r>
              <a:rPr lang="en-GB" dirty="0" err="1"/>
              <a:t>responsable</a:t>
            </a:r>
            <a:r>
              <a:rPr lang="en-GB" dirty="0"/>
              <a:t> del </a:t>
            </a:r>
            <a:r>
              <a:rPr lang="en-GB" dirty="0" err="1"/>
              <a:t>uso</a:t>
            </a:r>
            <a:r>
              <a:rPr lang="en-GB" dirty="0"/>
              <a:t> que </a:t>
            </a:r>
            <a:r>
              <a:rPr lang="en-GB" dirty="0" err="1"/>
              <a:t>pueda</a:t>
            </a:r>
            <a:r>
              <a:rPr lang="en-GB" dirty="0"/>
              <a:t> </a:t>
            </a:r>
            <a:r>
              <a:rPr lang="en-GB" dirty="0" err="1"/>
              <a:t>hacerse</a:t>
            </a:r>
            <a:r>
              <a:rPr lang="en-GB" dirty="0"/>
              <a:t> de la </a:t>
            </a:r>
            <a:r>
              <a:rPr lang="en-GB" dirty="0" err="1"/>
              <a:t>información</a:t>
            </a:r>
            <a:r>
              <a:rPr lang="en-GB" dirty="0"/>
              <a:t> </a:t>
            </a:r>
            <a:r>
              <a:rPr lang="en-GB" dirty="0" err="1"/>
              <a:t>contenida</a:t>
            </a:r>
            <a:r>
              <a:rPr lang="en-GB" dirty="0"/>
              <a:t> </a:t>
            </a:r>
            <a:r>
              <a:rPr lang="en-GB" dirty="0" err="1"/>
              <a:t>en</a:t>
            </a:r>
            <a:r>
              <a:rPr lang="en-GB" dirty="0"/>
              <a:t> </a:t>
            </a:r>
            <a:r>
              <a:rPr lang="en-GB" dirty="0" err="1"/>
              <a:t>ella</a:t>
            </a:r>
            <a:r>
              <a:rPr lang="en-GB"/>
              <a:t>.</a:t>
            </a:r>
          </a:p>
          <a:p>
            <a:endParaRPr lang="en-IE" sz="1800" dirty="0">
              <a:solidFill>
                <a:schemeClr val="bg1"/>
              </a:solidFill>
            </a:endParaRPr>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05146" y="573285"/>
            <a:ext cx="8852375" cy="697353"/>
          </a:xfrm>
        </p:spPr>
        <p:txBody>
          <a:bodyPr>
            <a:normAutofit/>
          </a:bodyPr>
          <a:lstStyle/>
          <a:p>
            <a:r>
              <a:rPr lang="en-GB" dirty="0"/>
              <a:t>Contenido de los conceptos de reestructurac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9735" y="1783083"/>
            <a:ext cx="4228011"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concepto de reestructuración contiene un camino bien pensado y documentado de principio a fin y una declaración clara sobre sus posibilidades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de éxito.</a:t>
            </a:r>
            <a:endParaRPr lang="en-US" sz="2000" dirty="0">
              <a:solidFill>
                <a:srgbClr val="245473"/>
              </a:solidFill>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Con un concepto de reestructuración, las posibilidades de éxito pueden aumentar efectivamente en comparación con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una reestructuración sin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un concepto correspondiente, y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los riesgos de responsabilidad y rescisión antes mencionados pueden reducirse considerablemente (dependiendo del marco jurídico de su país)</a:t>
            </a:r>
            <a:endParaRPr lang="en-GB" sz="2000" dirty="0">
              <a:solidFill>
                <a:srgbClr val="245473"/>
              </a:solidFill>
              <a:latin typeface="Calibri Light"/>
            </a:endParaRPr>
          </a:p>
          <a:p>
            <a:pPr algn="l">
              <a:lnSpc>
                <a:spcPct val="100000"/>
              </a:lnSpc>
              <a:spcBef>
                <a:spcPts val="600"/>
              </a:spcBef>
            </a:pPr>
            <a:endParaRPr lang="en-GB" sz="2000" b="1" dirty="0">
              <a:solidFill>
                <a:schemeClr val="tx1"/>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9248426" y="4068646"/>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ció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7" name="Freeform 43">
            <a:extLst>
              <a:ext uri="{FF2B5EF4-FFF2-40B4-BE49-F238E27FC236}">
                <a16:creationId xmlns:a16="http://schemas.microsoft.com/office/drawing/2014/main" xmlns="" id="{10A60327-7D96-495F-8512-39994C311CB4}"/>
              </a:ext>
            </a:extLst>
          </p:cNvPr>
          <p:cNvSpPr>
            <a:spLocks/>
          </p:cNvSpPr>
          <p:nvPr/>
        </p:nvSpPr>
        <p:spPr bwMode="auto">
          <a:xfrm>
            <a:off x="5780965" y="3625115"/>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 name="Freeform 36">
            <a:extLst>
              <a:ext uri="{FF2B5EF4-FFF2-40B4-BE49-F238E27FC236}">
                <a16:creationId xmlns:a16="http://schemas.microsoft.com/office/drawing/2014/main" xmlns="" id="{999339FF-8EB8-44FF-B960-45799EDF7C5A}"/>
              </a:ext>
            </a:extLst>
          </p:cNvPr>
          <p:cNvSpPr>
            <a:spLocks/>
          </p:cNvSpPr>
          <p:nvPr/>
        </p:nvSpPr>
        <p:spPr bwMode="auto">
          <a:xfrm>
            <a:off x="5043413" y="362511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 name="Freeform 37">
            <a:extLst>
              <a:ext uri="{FF2B5EF4-FFF2-40B4-BE49-F238E27FC236}">
                <a16:creationId xmlns:a16="http://schemas.microsoft.com/office/drawing/2014/main" xmlns="" id="{32740010-B222-43C7-B252-DA109FFD2499}"/>
              </a:ext>
            </a:extLst>
          </p:cNvPr>
          <p:cNvSpPr>
            <a:spLocks/>
          </p:cNvSpPr>
          <p:nvPr/>
        </p:nvSpPr>
        <p:spPr bwMode="auto">
          <a:xfrm>
            <a:off x="5043413" y="362511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1" name="TextBox 47">
            <a:extLst>
              <a:ext uri="{FF2B5EF4-FFF2-40B4-BE49-F238E27FC236}">
                <a16:creationId xmlns:a16="http://schemas.microsoft.com/office/drawing/2014/main" xmlns="" id="{24FE2CA3-F0D2-4096-8B89-DA2879EA50FF}"/>
              </a:ext>
            </a:extLst>
          </p:cNvPr>
          <p:cNvSpPr txBox="1"/>
          <p:nvPr/>
        </p:nvSpPr>
        <p:spPr>
          <a:xfrm>
            <a:off x="4962665" y="3624765"/>
            <a:ext cx="1441420" cy="584775"/>
          </a:xfrm>
          <a:prstGeom prst="rect">
            <a:avLst/>
          </a:prstGeom>
          <a:noFill/>
        </p:spPr>
        <p:txBody>
          <a:bodyPr wrap="none" lIns="91440" tIns="45720" rIns="91440" bIns="45720" rtlCol="0" anchor="t">
            <a:spAutoFit/>
          </a:bodyPr>
          <a:lstStyle/>
          <a:p>
            <a:pPr algn="ctr"/>
            <a:r>
              <a:rPr lang="en-GB" sz="1600" b="1" dirty="0">
                <a:solidFill>
                  <a:schemeClr val="bg1"/>
                </a:solidFill>
                <a:latin typeface="+mj-lt"/>
                <a:ea typeface="Roboto" charset="0"/>
                <a:cs typeface="Roboto" charset="0"/>
              </a:rPr>
              <a:t>Visión, Misión </a:t>
            </a:r>
            <a:r>
              <a:rPr lang="en-GB" sz="1600" b="1" dirty="0">
                <a:latin typeface="+mj-lt"/>
                <a:ea typeface="Roboto" charset="0"/>
                <a:cs typeface="Roboto" charset="0"/>
              </a:rPr>
              <a:t/>
            </a:r>
            <a:br>
              <a:rPr lang="en-GB" sz="1600" b="1" dirty="0">
                <a:latin typeface="+mj-lt"/>
                <a:ea typeface="Roboto" charset="0"/>
                <a:cs typeface="Roboto" charset="0"/>
              </a:rPr>
            </a:br>
            <a:r>
              <a:rPr lang="en-GB" sz="1600" b="1" dirty="0">
                <a:solidFill>
                  <a:schemeClr val="bg1"/>
                </a:solidFill>
                <a:latin typeface="+mj-lt"/>
                <a:ea typeface="Roboto" charset="0"/>
                <a:cs typeface="Roboto" charset="0"/>
              </a:rPr>
              <a:t>y medidas</a:t>
            </a:r>
          </a:p>
        </p:txBody>
      </p:sp>
      <p:sp>
        <p:nvSpPr>
          <p:cNvPr id="12" name="Rectangle 48">
            <a:extLst>
              <a:ext uri="{FF2B5EF4-FFF2-40B4-BE49-F238E27FC236}">
                <a16:creationId xmlns:a16="http://schemas.microsoft.com/office/drawing/2014/main" xmlns="" id="{063DE694-D917-41AA-9416-2B9195B97796}"/>
              </a:ext>
            </a:extLst>
          </p:cNvPr>
          <p:cNvSpPr>
            <a:spLocks/>
          </p:cNvSpPr>
          <p:nvPr/>
        </p:nvSpPr>
        <p:spPr bwMode="auto">
          <a:xfrm>
            <a:off x="5392235" y="4040113"/>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2</a:t>
            </a:r>
            <a:endParaRPr lang="en-GB" sz="3601" b="1" spc="113" dirty="0">
              <a:solidFill>
                <a:schemeClr val="bg1"/>
              </a:solidFill>
              <a:latin typeface="+mj-lt"/>
              <a:ea typeface="Roboto" charset="0"/>
              <a:cs typeface="Roboto" charset="0"/>
              <a:sym typeface="Bebas Neue" charset="0"/>
            </a:endParaRPr>
          </a:p>
        </p:txBody>
      </p:sp>
      <p:sp>
        <p:nvSpPr>
          <p:cNvPr id="13" name="TextBox 49">
            <a:extLst>
              <a:ext uri="{FF2B5EF4-FFF2-40B4-BE49-F238E27FC236}">
                <a16:creationId xmlns:a16="http://schemas.microsoft.com/office/drawing/2014/main" xmlns="" id="{AB10EE70-B55F-43A1-BEDD-FDBA032F708C}"/>
              </a:ext>
            </a:extLst>
          </p:cNvPr>
          <p:cNvSpPr txBox="1"/>
          <p:nvPr/>
        </p:nvSpPr>
        <p:spPr>
          <a:xfrm>
            <a:off x="6492598" y="3700996"/>
            <a:ext cx="5572222" cy="970779"/>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Presentación de la visión y la misión de la empresa reestructurada. Declaraciones sobre las medidas de reestructuración operativas o financieras necesarias y las contribuciones de reestructuración de las distintas partes implicadas.</a:t>
            </a:r>
          </a:p>
        </p:txBody>
      </p:sp>
      <p:sp>
        <p:nvSpPr>
          <p:cNvPr id="14" name="Freeform 43">
            <a:extLst>
              <a:ext uri="{FF2B5EF4-FFF2-40B4-BE49-F238E27FC236}">
                <a16:creationId xmlns:a16="http://schemas.microsoft.com/office/drawing/2014/main" xmlns="" id="{F80E4697-CB9F-4AB0-902E-3D174455F0DE}"/>
              </a:ext>
            </a:extLst>
          </p:cNvPr>
          <p:cNvSpPr>
            <a:spLocks/>
          </p:cNvSpPr>
          <p:nvPr/>
        </p:nvSpPr>
        <p:spPr bwMode="auto">
          <a:xfrm>
            <a:off x="5780965" y="4855667"/>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5" name="Freeform 36">
            <a:extLst>
              <a:ext uri="{FF2B5EF4-FFF2-40B4-BE49-F238E27FC236}">
                <a16:creationId xmlns:a16="http://schemas.microsoft.com/office/drawing/2014/main" xmlns="" id="{49494F74-65AD-48D4-81B4-AD9B6A52F0C8}"/>
              </a:ext>
            </a:extLst>
          </p:cNvPr>
          <p:cNvSpPr>
            <a:spLocks/>
          </p:cNvSpPr>
          <p:nvPr/>
        </p:nvSpPr>
        <p:spPr bwMode="auto">
          <a:xfrm>
            <a:off x="5043413" y="485566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6" name="Freeform 37">
            <a:extLst>
              <a:ext uri="{FF2B5EF4-FFF2-40B4-BE49-F238E27FC236}">
                <a16:creationId xmlns:a16="http://schemas.microsoft.com/office/drawing/2014/main" xmlns="" id="{39BF6772-0A33-4A89-A8AC-0C867B8FD1E1}"/>
              </a:ext>
            </a:extLst>
          </p:cNvPr>
          <p:cNvSpPr>
            <a:spLocks/>
          </p:cNvSpPr>
          <p:nvPr/>
        </p:nvSpPr>
        <p:spPr bwMode="auto">
          <a:xfrm>
            <a:off x="5043413" y="485566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TextBox 56">
            <a:extLst>
              <a:ext uri="{FF2B5EF4-FFF2-40B4-BE49-F238E27FC236}">
                <a16:creationId xmlns:a16="http://schemas.microsoft.com/office/drawing/2014/main" xmlns="" id="{3B7337CA-FE2D-467B-A8AD-81B8BC6A4816}"/>
              </a:ext>
            </a:extLst>
          </p:cNvPr>
          <p:cNvSpPr txBox="1"/>
          <p:nvPr/>
        </p:nvSpPr>
        <p:spPr>
          <a:xfrm>
            <a:off x="4996916" y="5091366"/>
            <a:ext cx="1228221" cy="338554"/>
          </a:xfrm>
          <a:prstGeom prst="rect">
            <a:avLst/>
          </a:prstGeom>
          <a:noFill/>
        </p:spPr>
        <p:txBody>
          <a:bodyPr wrap="none" lIns="91440" tIns="45720" rIns="91440" bIns="45720" rtlCol="0" anchor="t">
            <a:spAutoFit/>
          </a:bodyPr>
          <a:lstStyle/>
          <a:p>
            <a:pPr algn="ctr"/>
            <a:r>
              <a:rPr lang="en-GB" sz="1600" b="1" dirty="0">
                <a:solidFill>
                  <a:schemeClr val="bg1"/>
                </a:solidFill>
                <a:latin typeface="+mj-lt"/>
                <a:ea typeface="Roboto" charset="0"/>
                <a:cs typeface="Roboto" charset="0"/>
              </a:rPr>
              <a:t>Plan de negocio</a:t>
            </a:r>
          </a:p>
        </p:txBody>
      </p:sp>
      <p:sp>
        <p:nvSpPr>
          <p:cNvPr id="18" name="Rectangle 59">
            <a:extLst>
              <a:ext uri="{FF2B5EF4-FFF2-40B4-BE49-F238E27FC236}">
                <a16:creationId xmlns:a16="http://schemas.microsoft.com/office/drawing/2014/main" xmlns="" id="{BEB4029C-F692-4996-B015-D82C01BA231E}"/>
              </a:ext>
            </a:extLst>
          </p:cNvPr>
          <p:cNvSpPr>
            <a:spLocks/>
          </p:cNvSpPr>
          <p:nvPr/>
        </p:nvSpPr>
        <p:spPr bwMode="auto">
          <a:xfrm>
            <a:off x="5392235" y="5270665"/>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3</a:t>
            </a:r>
            <a:endParaRPr lang="en-GB" sz="3601" b="1" spc="113" dirty="0">
              <a:solidFill>
                <a:schemeClr val="bg1"/>
              </a:solidFill>
              <a:latin typeface="+mj-lt"/>
              <a:ea typeface="Roboto" charset="0"/>
              <a:cs typeface="Roboto" charset="0"/>
              <a:sym typeface="Bebas Neue" charset="0"/>
            </a:endParaRPr>
          </a:p>
        </p:txBody>
      </p:sp>
      <p:sp>
        <p:nvSpPr>
          <p:cNvPr id="19" name="TextBox 80">
            <a:extLst>
              <a:ext uri="{FF2B5EF4-FFF2-40B4-BE49-F238E27FC236}">
                <a16:creationId xmlns:a16="http://schemas.microsoft.com/office/drawing/2014/main" xmlns="" id="{5395CE55-7837-4FE4-93F3-E67DC912226D}"/>
              </a:ext>
            </a:extLst>
          </p:cNvPr>
          <p:cNvSpPr txBox="1"/>
          <p:nvPr/>
        </p:nvSpPr>
        <p:spPr>
          <a:xfrm>
            <a:off x="6492598" y="4870438"/>
            <a:ext cx="5153023" cy="970779"/>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Presentación de la planificación de la liquidez, los beneficios y los activos de la empresa, teniendo en cuenta las medidas de reestructuración y las contribuciones (planificación corporativa integrada)</a:t>
            </a:r>
          </a:p>
        </p:txBody>
      </p:sp>
      <p:sp>
        <p:nvSpPr>
          <p:cNvPr id="20" name="Freeform 43">
            <a:extLst>
              <a:ext uri="{FF2B5EF4-FFF2-40B4-BE49-F238E27FC236}">
                <a16:creationId xmlns:a16="http://schemas.microsoft.com/office/drawing/2014/main" xmlns="" id="{30604E6C-1FF4-4246-B35C-B15AE420B1AB}"/>
              </a:ext>
            </a:extLst>
          </p:cNvPr>
          <p:cNvSpPr>
            <a:spLocks/>
          </p:cNvSpPr>
          <p:nvPr/>
        </p:nvSpPr>
        <p:spPr bwMode="auto">
          <a:xfrm>
            <a:off x="5801184" y="2379791"/>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1" name="Freeform 36">
            <a:extLst>
              <a:ext uri="{FF2B5EF4-FFF2-40B4-BE49-F238E27FC236}">
                <a16:creationId xmlns:a16="http://schemas.microsoft.com/office/drawing/2014/main" xmlns="" id="{0C488950-EF86-4F53-9575-F5C2F764F182}"/>
              </a:ext>
            </a:extLst>
          </p:cNvPr>
          <p:cNvSpPr>
            <a:spLocks/>
          </p:cNvSpPr>
          <p:nvPr/>
        </p:nvSpPr>
        <p:spPr bwMode="auto">
          <a:xfrm>
            <a:off x="5043413" y="237979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2" name="Freeform 37">
            <a:extLst>
              <a:ext uri="{FF2B5EF4-FFF2-40B4-BE49-F238E27FC236}">
                <a16:creationId xmlns:a16="http://schemas.microsoft.com/office/drawing/2014/main" xmlns="" id="{EF749FCF-1022-451D-A247-DA3DBFF70986}"/>
              </a:ext>
            </a:extLst>
          </p:cNvPr>
          <p:cNvSpPr>
            <a:spLocks/>
          </p:cNvSpPr>
          <p:nvPr/>
        </p:nvSpPr>
        <p:spPr bwMode="auto">
          <a:xfrm>
            <a:off x="5043413" y="237979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3" name="TextBox 84">
            <a:extLst>
              <a:ext uri="{FF2B5EF4-FFF2-40B4-BE49-F238E27FC236}">
                <a16:creationId xmlns:a16="http://schemas.microsoft.com/office/drawing/2014/main" xmlns="" id="{CE0950E1-18B8-4FC8-B404-314FCDD775AD}"/>
              </a:ext>
            </a:extLst>
          </p:cNvPr>
          <p:cNvSpPr txBox="1"/>
          <p:nvPr/>
        </p:nvSpPr>
        <p:spPr>
          <a:xfrm>
            <a:off x="5162223" y="2389952"/>
            <a:ext cx="891205" cy="584775"/>
          </a:xfrm>
          <a:prstGeom prst="rect">
            <a:avLst/>
          </a:prstGeom>
          <a:noFill/>
        </p:spPr>
        <p:txBody>
          <a:bodyPr wrap="none" lIns="91440" tIns="45720" rIns="91440" bIns="45720" rtlCol="0" anchor="t">
            <a:spAutoFit/>
          </a:bodyPr>
          <a:lstStyle/>
          <a:p>
            <a:pPr algn="ctr"/>
            <a:r>
              <a:rPr lang="en-GB" sz="1600" b="1">
                <a:solidFill>
                  <a:schemeClr val="bg1"/>
                </a:solidFill>
                <a:latin typeface="+mj-lt"/>
              </a:rPr>
              <a:t>Inicialmente </a:t>
            </a:r>
            <a:r>
              <a:rPr lang="en-GB" sz="1600" b="1" dirty="0">
                <a:latin typeface="+mj-lt"/>
              </a:rPr>
              <a:t/>
            </a:r>
            <a:br>
              <a:rPr lang="en-GB" sz="1600" b="1" dirty="0">
                <a:latin typeface="+mj-lt"/>
              </a:rPr>
            </a:br>
            <a:r>
              <a:rPr lang="en-GB" sz="1600" b="1">
                <a:solidFill>
                  <a:schemeClr val="bg1"/>
                </a:solidFill>
                <a:latin typeface="+mj-lt"/>
              </a:rPr>
              <a:t>situación</a:t>
            </a:r>
            <a:endParaRPr lang="en-GB" sz="1600" b="1">
              <a:solidFill>
                <a:schemeClr val="bg1"/>
              </a:solidFill>
              <a:latin typeface="Calibri Light"/>
            </a:endParaRPr>
          </a:p>
        </p:txBody>
      </p:sp>
      <p:sp>
        <p:nvSpPr>
          <p:cNvPr id="24" name="Rectangle 85">
            <a:extLst>
              <a:ext uri="{FF2B5EF4-FFF2-40B4-BE49-F238E27FC236}">
                <a16:creationId xmlns:a16="http://schemas.microsoft.com/office/drawing/2014/main" xmlns="" id="{5469B736-DF39-4D11-A744-23E93CB730DF}"/>
              </a:ext>
            </a:extLst>
          </p:cNvPr>
          <p:cNvSpPr>
            <a:spLocks/>
          </p:cNvSpPr>
          <p:nvPr/>
        </p:nvSpPr>
        <p:spPr bwMode="auto">
          <a:xfrm>
            <a:off x="5392235" y="2794789"/>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1</a:t>
            </a:r>
            <a:endParaRPr lang="en-GB" sz="3601" b="1" spc="113" dirty="0">
              <a:solidFill>
                <a:schemeClr val="bg1"/>
              </a:solidFill>
              <a:latin typeface="+mj-lt"/>
              <a:ea typeface="Roboto" charset="0"/>
              <a:cs typeface="Roboto" charset="0"/>
              <a:sym typeface="Bebas Neue" charset="0"/>
            </a:endParaRPr>
          </a:p>
        </p:txBody>
      </p:sp>
      <p:sp>
        <p:nvSpPr>
          <p:cNvPr id="25" name="TextBox 86">
            <a:extLst>
              <a:ext uri="{FF2B5EF4-FFF2-40B4-BE49-F238E27FC236}">
                <a16:creationId xmlns:a16="http://schemas.microsoft.com/office/drawing/2014/main" xmlns="" id="{3EC296D2-01F5-4282-8CB3-C8A4BD9A3A17}"/>
              </a:ext>
            </a:extLst>
          </p:cNvPr>
          <p:cNvSpPr txBox="1"/>
          <p:nvPr/>
        </p:nvSpPr>
        <p:spPr>
          <a:xfrm>
            <a:off x="6462377" y="2553170"/>
            <a:ext cx="5153023" cy="752770"/>
          </a:xfrm>
          <a:prstGeom prst="rect">
            <a:avLst/>
          </a:prstGeom>
          <a:noFill/>
        </p:spPr>
        <p:txBody>
          <a:bodyPr wrap="square" lIns="91440" tIns="45720" rIns="91440" bIns="45720" rtlCol="0" anchor="t">
            <a:spAutoFit/>
          </a:bodyPr>
          <a:lstStyle/>
          <a:p>
            <a:pPr>
              <a:lnSpc>
                <a:spcPts val="1665"/>
              </a:lnSpc>
            </a:pPr>
            <a:r>
              <a:rPr lang="en-GB" sz="2000" dirty="0">
                <a:solidFill>
                  <a:schemeClr val="bg1"/>
                </a:solidFill>
                <a:latin typeface="+mj-lt"/>
                <a:ea typeface="Lato Light" charset="0"/>
                <a:cs typeface="Lato Light" charset="0"/>
              </a:rPr>
              <a:t>Declaraciones sobre los datos esenciales de la empresa, los factores económicos y jurídicos que influyen y las causas (centrales) de la crisis</a:t>
            </a:r>
          </a:p>
        </p:txBody>
      </p:sp>
    </p:spTree>
    <p:extLst>
      <p:ext uri="{BB962C8B-B14F-4D97-AF65-F5344CB8AC3E}">
        <p14:creationId xmlns:p14="http://schemas.microsoft.com/office/powerpoint/2010/main" val="22544859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2114" y="416369"/>
            <a:ext cx="9448543" cy="1151174"/>
          </a:xfrm>
        </p:spPr>
        <p:txBody>
          <a:bodyPr>
            <a:normAutofit/>
          </a:bodyPr>
          <a:lstStyle/>
          <a:p>
            <a:r>
              <a:rPr lang="en-GB" dirty="0"/>
              <a:t>Contenido de los conceptos de reestructuración</a:t>
            </a:r>
          </a:p>
          <a:p>
            <a:r>
              <a:rPr lang="en-GB" sz="2800" dirty="0"/>
              <a:t>1. </a:t>
            </a:r>
            <a:r>
              <a:rPr lang="en-GB" sz="2800" b="1" dirty="0">
                <a:latin typeface="+mj-lt"/>
              </a:rPr>
              <a:t>Análisis de la evolución de la industria </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8923" y="1756255"/>
            <a:ext cx="3543176"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1800" dirty="0">
                <a:solidFill>
                  <a:srgbClr val="245473"/>
                </a:solidFill>
                <a:latin typeface="+mj-lt"/>
                <a:ea typeface="Open Sans Light" panose="020B0306030504020204" pitchFamily="34" charset="0"/>
                <a:cs typeface="Open Sans Light" panose="020B0306030504020204" pitchFamily="34" charset="0"/>
              </a:rPr>
              <a:t>El análisis de la industria es una herramienta que facilita a una empresa la comprensión de su posición en relación con otras empresas que producen productos o servicios similares. Comprender las fuerzas que actúan en el sector en general es un componente importante de una planificación estratégica eficaz.</a:t>
            </a:r>
            <a:endParaRPr lang="en-US" sz="1800" dirty="0">
              <a:solidFill>
                <a:srgbClr val="245473"/>
              </a:solidFill>
            </a:endParaRPr>
          </a:p>
          <a:p>
            <a:pPr marL="285750" indent="-285750" algn="l">
              <a:lnSpc>
                <a:spcPct val="100000"/>
              </a:lnSpc>
              <a:spcBef>
                <a:spcPts val="600"/>
              </a:spcBef>
              <a:buFont typeface="Wingdings" panose="05000000000000000000" pitchFamily="2" charset="2"/>
              <a:buChar char="à"/>
            </a:pP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Comprender la evolución de la industria es </a:t>
            </a:r>
            <a:b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b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e especial importancia para una reestructuración sostenible.</a:t>
            </a:r>
            <a:endParaRPr lang="en-US" sz="1800" b="1"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Sólo si se tienen en cuenta las tendencias </a:t>
            </a:r>
            <a:r>
              <a:rPr lang="en-US" sz="1800" b="1" dirty="0">
                <a:solidFill>
                  <a:srgbClr val="245473"/>
                </a:solidFill>
                <a:latin typeface="+mj-lt"/>
                <a:ea typeface="Open Sans Light" panose="020B0306030504020204" pitchFamily="34" charset="0"/>
                <a:cs typeface="Open Sans Light" panose="020B0306030504020204" pitchFamily="34" charset="0"/>
              </a:rPr>
              <a:t/>
            </a:r>
            <a:br>
              <a:rPr lang="en-US" sz="1800" b="1" dirty="0">
                <a:solidFill>
                  <a:srgbClr val="245473"/>
                </a:solidFill>
                <a:latin typeface="+mj-lt"/>
                <a:ea typeface="Open Sans Light" panose="020B0306030504020204" pitchFamily="34" charset="0"/>
                <a:cs typeface="Open Sans Light" panose="020B0306030504020204" pitchFamily="34" charset="0"/>
              </a:rPr>
            </a:b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e las tendencias, la reestructuración puede tener </a:t>
            </a:r>
            <a:b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b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n efecto duradero.</a:t>
            </a:r>
            <a:endParaRPr lang="en-GB" sz="1800" b="1" dirty="0">
              <a:solidFill>
                <a:srgbClr val="245473"/>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9467745"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ció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graphicFrame>
        <p:nvGraphicFramePr>
          <p:cNvPr id="9" name="object 9">
            <a:extLst>
              <a:ext uri="{FF2B5EF4-FFF2-40B4-BE49-F238E27FC236}">
                <a16:creationId xmlns:a16="http://schemas.microsoft.com/office/drawing/2014/main" xmlns="" id="{4084F88F-310F-4939-89AE-ABB1BEA6E22B}"/>
              </a:ext>
            </a:extLst>
          </p:cNvPr>
          <p:cNvGraphicFramePr>
            <a:graphicFrameLocks noGrp="1"/>
          </p:cNvGraphicFramePr>
          <p:nvPr>
            <p:extLst>
              <p:ext uri="{D42A27DB-BD31-4B8C-83A1-F6EECF244321}">
                <p14:modId xmlns:p14="http://schemas.microsoft.com/office/powerpoint/2010/main" val="1281158085"/>
              </p:ext>
            </p:extLst>
          </p:nvPr>
        </p:nvGraphicFramePr>
        <p:xfrm>
          <a:off x="3831771" y="1956011"/>
          <a:ext cx="8181306" cy="4216400"/>
        </p:xfrm>
        <a:graphic>
          <a:graphicData uri="http://schemas.openxmlformats.org/drawingml/2006/table">
            <a:tbl>
              <a:tblPr firstRow="1" bandRow="1">
                <a:tableStyleId>{72833802-FEF1-4C79-8D5D-14CF1EAF98D9}</a:tableStyleId>
              </a:tblPr>
              <a:tblGrid>
                <a:gridCol w="4064069">
                  <a:extLst>
                    <a:ext uri="{9D8B030D-6E8A-4147-A177-3AD203B41FA5}">
                      <a16:colId xmlns:a16="http://schemas.microsoft.com/office/drawing/2014/main" xmlns="" val="20000"/>
                    </a:ext>
                  </a:extLst>
                </a:gridCol>
                <a:gridCol w="4117237">
                  <a:extLst>
                    <a:ext uri="{9D8B030D-6E8A-4147-A177-3AD203B41FA5}">
                      <a16:colId xmlns:a16="http://schemas.microsoft.com/office/drawing/2014/main" xmlns="" val="20001"/>
                    </a:ext>
                  </a:extLst>
                </a:gridCol>
              </a:tblGrid>
              <a:tr h="422598">
                <a:tc gridSpan="2">
                  <a:txBody>
                    <a:bodyPr/>
                    <a:lstStyle/>
                    <a:p>
                      <a:pPr marL="91440">
                        <a:lnSpc>
                          <a:spcPct val="100000"/>
                        </a:lnSpc>
                        <a:spcBef>
                          <a:spcPts val="745"/>
                        </a:spcBef>
                      </a:pPr>
                      <a:r>
                        <a:rPr lang="en-GB" sz="2400" b="1" dirty="0">
                          <a:solidFill>
                            <a:srgbClr val="FFFFFF"/>
                          </a:solidFill>
                          <a:latin typeface="+mj-lt"/>
                        </a:rPr>
                        <a:t>Situación de la empresa: </a:t>
                      </a:r>
                      <a:r>
                        <a:rPr lang="en-GB" sz="2400" b="1" u="sng" dirty="0">
                          <a:solidFill>
                            <a:srgbClr val="FFFFFF"/>
                          </a:solidFill>
                          <a:latin typeface="+mj-lt"/>
                        </a:rPr>
                        <a:t>Análisis de la evolución del sector</a:t>
                      </a:r>
                      <a:endParaRPr lang="en-GB" sz="2400" u="sng" dirty="0">
                        <a:latin typeface="+mj-lt"/>
                        <a:cs typeface="Arial"/>
                      </a:endParaRPr>
                    </a:p>
                  </a:txBody>
                  <a:tcPr marL="0" marR="0" marT="94615" marB="0"/>
                </a:tc>
                <a:tc hMerge="1">
                  <a:txBody>
                    <a:bodyPr/>
                    <a:lstStyle/>
                    <a:p>
                      <a:endParaRPr/>
                    </a:p>
                  </a:txBody>
                  <a:tcPr marL="0" marR="0" marT="0" marB="0"/>
                </a:tc>
                <a:extLst>
                  <a:ext uri="{0D108BD9-81ED-4DB2-BD59-A6C34878D82A}">
                    <a16:rowId xmlns:a16="http://schemas.microsoft.com/office/drawing/2014/main" xmlns="" val="10000"/>
                  </a:ext>
                </a:extLst>
              </a:tr>
              <a:tr h="638810">
                <a:tc gridSpan="2">
                  <a:txBody>
                    <a:bodyPr/>
                    <a:lstStyle/>
                    <a:p>
                      <a:pPr marL="91440">
                        <a:lnSpc>
                          <a:spcPct val="100000"/>
                        </a:lnSpc>
                        <a:spcBef>
                          <a:spcPts val="800"/>
                        </a:spcBef>
                      </a:pPr>
                      <a:r>
                        <a:rPr lang="en-GB" sz="1800" b="1" spc="-10" dirty="0">
                          <a:solidFill>
                            <a:srgbClr val="245473"/>
                          </a:solidFill>
                          <a:latin typeface="+mj-lt"/>
                          <a:cs typeface="Arial"/>
                        </a:rPr>
                        <a:t>La base para la elaboración de un plan estratégico de reestructuración son los factores relevantes y la evolución del sector</a:t>
                      </a:r>
                    </a:p>
                  </a:txBody>
                  <a:tcPr marL="0" marR="0" marT="101600" marB="0" anchor="ctr"/>
                </a:tc>
                <a:tc hMerge="1">
                  <a:txBody>
                    <a:bodyPr/>
                    <a:lstStyle/>
                    <a:p>
                      <a:pPr marL="91440">
                        <a:lnSpc>
                          <a:spcPct val="100000"/>
                        </a:lnSpc>
                        <a:spcBef>
                          <a:spcPts val="800"/>
                        </a:spcBef>
                      </a:pPr>
                      <a:endParaRPr lang="en-US" sz="1600" dirty="0">
                        <a:latin typeface="Arial"/>
                        <a:cs typeface="Arial"/>
                      </a:endParaRPr>
                    </a:p>
                  </a:txBody>
                  <a:tcPr marL="0" marR="0" marT="101600" marB="0"/>
                </a:tc>
                <a:extLst>
                  <a:ext uri="{0D108BD9-81ED-4DB2-BD59-A6C34878D82A}">
                    <a16:rowId xmlns:a16="http://schemas.microsoft.com/office/drawing/2014/main" xmlns="" val="10001"/>
                  </a:ext>
                </a:extLst>
              </a:tr>
              <a:tr h="638810">
                <a:tc gridSpan="2">
                  <a:txBody>
                    <a:bodyPr/>
                    <a:lstStyle/>
                    <a:p>
                      <a:pPr marL="91440">
                        <a:lnSpc>
                          <a:spcPct val="100000"/>
                        </a:lnSpc>
                        <a:spcBef>
                          <a:spcPts val="800"/>
                        </a:spcBef>
                      </a:pPr>
                      <a:r>
                        <a:rPr lang="en-GB" sz="1800" b="0" spc="-10" dirty="0">
                          <a:solidFill>
                            <a:srgbClr val="245473"/>
                          </a:solidFill>
                          <a:latin typeface="+mj-lt"/>
                          <a:cs typeface="Arial"/>
                        </a:rPr>
                        <a:t>El análisis de la situación y la evolución del sector debe dar una indicación de la rentabilidad futura del sector y del posible posicionamiento de la empresa en crisis, teniendo en cuenta los factores de influencia</a:t>
                      </a:r>
                    </a:p>
                  </a:txBody>
                  <a:tcPr marL="0" marR="0" marT="6985" marB="0" anchor="ctr"/>
                </a:tc>
                <a:tc hMerge="1">
                  <a:txBody>
                    <a:bodyPr/>
                    <a:lstStyle/>
                    <a:p>
                      <a:pPr marL="91440" marR="565150">
                        <a:lnSpc>
                          <a:spcPts val="1870"/>
                        </a:lnSpc>
                        <a:spcBef>
                          <a:spcPts val="980"/>
                        </a:spcBef>
                      </a:pPr>
                      <a:endParaRPr lang="en-GB" sz="1600" dirty="0">
                        <a:latin typeface="Arial"/>
                        <a:cs typeface="Arial"/>
                      </a:endParaRPr>
                    </a:p>
                  </a:txBody>
                  <a:tcPr marL="0" marR="0" marT="124460" marB="0"/>
                </a:tc>
                <a:extLst>
                  <a:ext uri="{0D108BD9-81ED-4DB2-BD59-A6C34878D82A}">
                    <a16:rowId xmlns:a16="http://schemas.microsoft.com/office/drawing/2014/main" xmlns="" val="10002"/>
                  </a:ext>
                </a:extLst>
              </a:tr>
              <a:tr h="638810">
                <a:tc gridSpan="2">
                  <a:txBody>
                    <a:bodyPr/>
                    <a:lstStyle/>
                    <a:p>
                      <a:pPr marL="91440">
                        <a:lnSpc>
                          <a:spcPct val="100000"/>
                        </a:lnSpc>
                        <a:spcBef>
                          <a:spcPts val="800"/>
                        </a:spcBef>
                      </a:pPr>
                      <a:r>
                        <a:rPr lang="en-GB" sz="1800" dirty="0">
                          <a:solidFill>
                            <a:srgbClr val="245473"/>
                          </a:solidFill>
                          <a:latin typeface="+mj-lt"/>
                          <a:cs typeface="Arial"/>
                        </a:rPr>
                        <a:t>En particular, hay que examinar qué oportunidades y riesgos surgen para U y su actual posición competitiva a partir de los siguientes factores:</a:t>
                      </a:r>
                    </a:p>
                  </a:txBody>
                  <a:tcPr marL="0" marR="0" marT="101600" marB="0" anchor="ctr"/>
                </a:tc>
                <a:tc hMerge="1">
                  <a:txBody>
                    <a:bodyPr/>
                    <a:lstStyle/>
                    <a:p>
                      <a:pPr marL="91440">
                        <a:lnSpc>
                          <a:spcPct val="100000"/>
                        </a:lnSpc>
                        <a:spcBef>
                          <a:spcPts val="800"/>
                        </a:spcBef>
                      </a:pPr>
                      <a:endParaRPr lang="en-GB" sz="1600" dirty="0">
                        <a:latin typeface="Arial"/>
                        <a:cs typeface="Arial"/>
                      </a:endParaRPr>
                    </a:p>
                  </a:txBody>
                  <a:tcPr marL="0" marR="0" marT="101600" marB="0"/>
                </a:tc>
                <a:extLst>
                  <a:ext uri="{0D108BD9-81ED-4DB2-BD59-A6C34878D82A}">
                    <a16:rowId xmlns:a16="http://schemas.microsoft.com/office/drawing/2014/main" xmlns="" val="10003"/>
                  </a:ext>
                </a:extLst>
              </a:tr>
              <a:tr h="1309680">
                <a:tc>
                  <a:txBody>
                    <a:bodyPr/>
                    <a:lstStyle/>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Número y fuerza de los competidores</a:t>
                      </a:r>
                    </a:p>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clientes actuales y potenciales</a:t>
                      </a:r>
                    </a:p>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proveedores actuales y potenciales</a:t>
                      </a:r>
                    </a:p>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Productos de sustitución y nuevos</a:t>
                      </a:r>
                    </a:p>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Tecnologías</a:t>
                      </a:r>
                      <a:endParaRPr lang="en-GB" sz="1800" dirty="0">
                        <a:solidFill>
                          <a:srgbClr val="245473"/>
                        </a:solidFill>
                        <a:latin typeface="+mj-lt"/>
                        <a:cs typeface="Arial"/>
                      </a:endParaRPr>
                    </a:p>
                  </a:txBody>
                  <a:tcPr marL="0" marR="0" marT="101600" marB="0" anchor="ctr"/>
                </a:tc>
                <a:tc>
                  <a:txBody>
                    <a:bodyPr/>
                    <a:lstStyle/>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nuevos modelos de negocio</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nuevos competidores</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Cambios en los sectores </a:t>
                      </a:r>
                      <a:r>
                        <a:rPr lang="en-GB" sz="1800" dirty="0" err="1">
                          <a:solidFill>
                            <a:srgbClr val="245473"/>
                          </a:solidFill>
                          <a:latin typeface="+mj-lt"/>
                          <a:cs typeface="Arial"/>
                        </a:rPr>
                        <a:t>vecinos</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Cambios en el </a:t>
                      </a:r>
                      <a:r>
                        <a:rPr lang="en-GB" sz="1800" dirty="0" err="1">
                          <a:solidFill>
                            <a:srgbClr val="245473"/>
                          </a:solidFill>
                          <a:latin typeface="+mj-lt"/>
                          <a:cs typeface="Arial"/>
                        </a:rPr>
                        <a:t>comportamiento </a:t>
                      </a:r>
                      <a:r>
                        <a:rPr lang="en-GB" sz="1800" dirty="0">
                          <a:solidFill>
                            <a:srgbClr val="245473"/>
                          </a:solidFill>
                          <a:latin typeface="+mj-lt"/>
                          <a:cs typeface="Arial"/>
                        </a:rPr>
                        <a:t>del capital-</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mercados en comparación con la industria</a:t>
                      </a:r>
                    </a:p>
                  </a:txBody>
                  <a:tcPr marL="0" marR="0" marT="101600" marB="0"/>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523023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6611" y="524626"/>
            <a:ext cx="8852375" cy="944945"/>
          </a:xfrm>
        </p:spPr>
        <p:txBody>
          <a:bodyPr>
            <a:normAutofit fontScale="85000" lnSpcReduction="20000"/>
          </a:bodyPr>
          <a:lstStyle/>
          <a:p>
            <a:r>
              <a:rPr lang="en-GB" dirty="0"/>
              <a:t>Contenido de los conceptos de reestructuración</a:t>
            </a:r>
          </a:p>
          <a:p>
            <a:r>
              <a:rPr lang="en-GB" sz="3600" dirty="0"/>
              <a:t>1. </a:t>
            </a:r>
            <a:r>
              <a:rPr lang="en-GB" sz="3600" b="1" dirty="0">
                <a:latin typeface="+mj-lt"/>
              </a:rPr>
              <a:t>Análisis de la evolución de la industria </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351949"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n cuanto a la evolución de la industria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hay que distinguir entre la tendencia industrial a largo plazo y el ciclo industrial; el ciclo industrial se superpone a la tendencia industrial a largo plazo.</a:t>
            </a:r>
            <a:endParaRPr lang="en-GB" sz="2200" b="1" dirty="0">
              <a:solidFill>
                <a:srgbClr val="245473"/>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8980644"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ció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graphicFrame>
        <p:nvGraphicFramePr>
          <p:cNvPr id="9" name="object 9">
            <a:extLst>
              <a:ext uri="{FF2B5EF4-FFF2-40B4-BE49-F238E27FC236}">
                <a16:creationId xmlns:a16="http://schemas.microsoft.com/office/drawing/2014/main" xmlns="" id="{4084F88F-310F-4939-89AE-ABB1BEA6E22B}"/>
              </a:ext>
            </a:extLst>
          </p:cNvPr>
          <p:cNvGraphicFramePr>
            <a:graphicFrameLocks noGrp="1"/>
          </p:cNvGraphicFramePr>
          <p:nvPr>
            <p:extLst>
              <p:ext uri="{D42A27DB-BD31-4B8C-83A1-F6EECF244321}">
                <p14:modId xmlns:p14="http://schemas.microsoft.com/office/powerpoint/2010/main" val="2398816800"/>
              </p:ext>
            </p:extLst>
          </p:nvPr>
        </p:nvGraphicFramePr>
        <p:xfrm>
          <a:off x="3339471" y="2142491"/>
          <a:ext cx="8229600" cy="3625450"/>
        </p:xfrm>
        <a:graphic>
          <a:graphicData uri="http://schemas.openxmlformats.org/drawingml/2006/table">
            <a:tbl>
              <a:tblPr firstRow="1" bandRow="1">
                <a:tableStyleId>{72833802-FEF1-4C79-8D5D-14CF1EAF98D9}</a:tableStyleId>
              </a:tblPr>
              <a:tblGrid>
                <a:gridCol w="8229600">
                  <a:extLst>
                    <a:ext uri="{9D8B030D-6E8A-4147-A177-3AD203B41FA5}">
                      <a16:colId xmlns:a16="http://schemas.microsoft.com/office/drawing/2014/main" xmlns="" val="20000"/>
                    </a:ext>
                  </a:extLst>
                </a:gridCol>
              </a:tblGrid>
              <a:tr h="488550">
                <a:tc>
                  <a:txBody>
                    <a:bodyPr/>
                    <a:lstStyle/>
                    <a:p>
                      <a:pPr marL="91440">
                        <a:lnSpc>
                          <a:spcPct val="100000"/>
                        </a:lnSpc>
                        <a:spcBef>
                          <a:spcPts val="745"/>
                        </a:spcBef>
                      </a:pPr>
                      <a:r>
                        <a:rPr lang="en-GB" sz="2400" b="1" dirty="0">
                          <a:solidFill>
                            <a:srgbClr val="FFFFFF"/>
                          </a:solidFill>
                          <a:latin typeface="+mj-lt"/>
                        </a:rPr>
                        <a:t>Situación de la empresa: </a:t>
                      </a:r>
                      <a:r>
                        <a:rPr lang="en-GB" sz="2400" b="1" u="sng" dirty="0">
                          <a:solidFill>
                            <a:srgbClr val="FFFFFF"/>
                          </a:solidFill>
                          <a:latin typeface="+mj-lt"/>
                        </a:rPr>
                        <a:t>Análisis de la evolución del sector </a:t>
                      </a:r>
                      <a:r>
                        <a:rPr lang="en-GB" sz="2400" b="1" dirty="0">
                          <a:solidFill>
                            <a:srgbClr val="FFFFFF"/>
                          </a:solidFill>
                          <a:latin typeface="+mj-lt"/>
                        </a:rPr>
                        <a:t>(cont.)</a:t>
                      </a:r>
                      <a:endParaRPr lang="en-GB" sz="2400" dirty="0">
                        <a:latin typeface="+mj-lt"/>
                        <a:cs typeface="Arial"/>
                      </a:endParaRPr>
                    </a:p>
                  </a:txBody>
                  <a:tcPr marL="0" marR="0" marT="94615" marB="0"/>
                </a:tc>
                <a:extLst>
                  <a:ext uri="{0D108BD9-81ED-4DB2-BD59-A6C34878D82A}">
                    <a16:rowId xmlns:a16="http://schemas.microsoft.com/office/drawing/2014/main" xmlns="" val="10000"/>
                  </a:ext>
                </a:extLst>
              </a:tr>
              <a:tr h="738505">
                <a:tc>
                  <a:txBody>
                    <a:bodyPr/>
                    <a:lstStyle/>
                    <a:p>
                      <a:pPr marL="91440">
                        <a:lnSpc>
                          <a:spcPct val="100000"/>
                        </a:lnSpc>
                        <a:spcBef>
                          <a:spcPts val="800"/>
                        </a:spcBef>
                      </a:pPr>
                      <a:r>
                        <a:rPr lang="en-GB" sz="2000" b="1" spc="-10" dirty="0">
                          <a:solidFill>
                            <a:srgbClr val="245473"/>
                          </a:solidFill>
                          <a:latin typeface="+mj-lt"/>
                          <a:cs typeface="Arial"/>
                        </a:rPr>
                        <a:t>En tiempos de recesión, las perspectivas de beneficios también disminuyen para las empresas que tienen una buena posición en el mercado debido a sus puntos fuertes</a:t>
                      </a:r>
                    </a:p>
                  </a:txBody>
                  <a:tcPr marL="0" marR="0" marT="101600" marB="0" anchor="ctr"/>
                </a:tc>
                <a:extLst>
                  <a:ext uri="{0D108BD9-81ED-4DB2-BD59-A6C34878D82A}">
                    <a16:rowId xmlns:a16="http://schemas.microsoft.com/office/drawing/2014/main" xmlns="" val="10001"/>
                  </a:ext>
                </a:extLst>
              </a:tr>
              <a:tr h="738505">
                <a:tc>
                  <a:txBody>
                    <a:bodyPr/>
                    <a:lstStyle/>
                    <a:p>
                      <a:pPr marL="91440">
                        <a:lnSpc>
                          <a:spcPct val="100000"/>
                        </a:lnSpc>
                        <a:spcBef>
                          <a:spcPts val="800"/>
                        </a:spcBef>
                      </a:pPr>
                      <a:r>
                        <a:rPr lang="en-GB" sz="2000" b="0" spc="-10" dirty="0">
                          <a:solidFill>
                            <a:srgbClr val="245473"/>
                          </a:solidFill>
                          <a:latin typeface="+mj-lt"/>
                          <a:cs typeface="Arial"/>
                        </a:rPr>
                        <a:t>En primer lugar, hay que registrar la situación de los beneficios, financiera y patrimonial de la empresa y estimar su evolución posterior sin tener en cuenta las posibles medidas de reestructuración</a:t>
                      </a:r>
                    </a:p>
                  </a:txBody>
                  <a:tcPr marL="0" marR="0" marT="6985" marB="0" anchor="ctr"/>
                </a:tc>
                <a:extLst>
                  <a:ext uri="{0D108BD9-81ED-4DB2-BD59-A6C34878D82A}">
                    <a16:rowId xmlns:a16="http://schemas.microsoft.com/office/drawing/2014/main" xmlns="" val="10002"/>
                  </a:ext>
                </a:extLst>
              </a:tr>
              <a:tr h="738505">
                <a:tc>
                  <a:txBody>
                    <a:bodyPr/>
                    <a:lstStyle/>
                    <a:p>
                      <a:pPr marL="91440">
                        <a:lnSpc>
                          <a:spcPct val="100000"/>
                        </a:lnSpc>
                        <a:spcBef>
                          <a:spcPts val="800"/>
                        </a:spcBef>
                      </a:pPr>
                      <a:r>
                        <a:rPr lang="en-GB" sz="2000" dirty="0">
                          <a:solidFill>
                            <a:srgbClr val="245473"/>
                          </a:solidFill>
                          <a:latin typeface="+mj-lt"/>
                          <a:cs typeface="Arial"/>
                        </a:rPr>
                        <a:t>Enfoque del análisis: La evolución de las ventas y los costes, así como el desarrollo de los márgenes de contribución de los distintos productos y unidades de negocio</a:t>
                      </a:r>
                    </a:p>
                  </a:txBody>
                  <a:tcPr marL="0" marR="0" marT="101600" marB="0" anchor="ctr"/>
                </a:tc>
                <a:extLst>
                  <a:ext uri="{0D108BD9-81ED-4DB2-BD59-A6C34878D82A}">
                    <a16:rowId xmlns:a16="http://schemas.microsoft.com/office/drawing/2014/main" xmlns="" val="10003"/>
                  </a:ext>
                </a:extLst>
              </a:tr>
              <a:tr h="738505">
                <a:tc>
                  <a:txBody>
                    <a:bodyPr/>
                    <a:lstStyle/>
                    <a:p>
                      <a:pPr marL="91440">
                        <a:lnSpc>
                          <a:spcPct val="100000"/>
                        </a:lnSpc>
                        <a:spcBef>
                          <a:spcPts val="800"/>
                        </a:spcBef>
                      </a:pPr>
                      <a:r>
                        <a:rPr lang="en-GB" sz="2000" dirty="0">
                          <a:solidFill>
                            <a:srgbClr val="245473"/>
                          </a:solidFill>
                          <a:latin typeface="+mj-lt"/>
                          <a:cs typeface="Arial"/>
                        </a:rPr>
                        <a:t>Los análisis de escenarios pueden utilizarse para determinar qué aumentos de ventas y/o reducciones de costes son necesarios para alcanzar al menos el punto de equilibrio</a:t>
                      </a:r>
                    </a:p>
                  </a:txBody>
                  <a:tcPr marL="0" marR="0" marT="101600" marB="0" anchor="ctr"/>
                </a:tc>
                <a:extLst>
                  <a:ext uri="{0D108BD9-81ED-4DB2-BD59-A6C34878D82A}">
                    <a16:rowId xmlns:a16="http://schemas.microsoft.com/office/drawing/2014/main" xmlns="" val="2813156787"/>
                  </a:ext>
                </a:extLst>
              </a:tr>
            </a:tbl>
          </a:graphicData>
        </a:graphic>
      </p:graphicFrame>
    </p:spTree>
    <p:extLst>
      <p:ext uri="{BB962C8B-B14F-4D97-AF65-F5344CB8AC3E}">
        <p14:creationId xmlns:p14="http://schemas.microsoft.com/office/powerpoint/2010/main" val="5068498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1296" y="280486"/>
            <a:ext cx="9703904" cy="1200189"/>
          </a:xfrm>
        </p:spPr>
        <p:txBody>
          <a:bodyPr>
            <a:normAutofit/>
          </a:bodyPr>
          <a:lstStyle/>
          <a:p>
            <a:r>
              <a:rPr lang="en-GB" dirty="0"/>
              <a:t>Contenido de los conceptos de reestructuración</a:t>
            </a:r>
          </a:p>
          <a:p>
            <a:r>
              <a:rPr lang="en-GB" sz="3200" dirty="0"/>
              <a:t>2. Análisis del entorno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38074" y="2156959"/>
            <a:ext cx="2761885" cy="279081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entorno de la empresa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está descrito por la situación económica general, el entorno jurídico, político, social y científico y técnico.</a:t>
            </a:r>
            <a:endParaRPr lang="en-GB" sz="2200" b="1" dirty="0">
              <a:solidFill>
                <a:srgbClr val="245473"/>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8980644"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ció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graphicFrame>
        <p:nvGraphicFramePr>
          <p:cNvPr id="9" name="object 9">
            <a:extLst>
              <a:ext uri="{FF2B5EF4-FFF2-40B4-BE49-F238E27FC236}">
                <a16:creationId xmlns:a16="http://schemas.microsoft.com/office/drawing/2014/main" xmlns="" id="{4084F88F-310F-4939-89AE-ABB1BEA6E22B}"/>
              </a:ext>
            </a:extLst>
          </p:cNvPr>
          <p:cNvGraphicFramePr>
            <a:graphicFrameLocks noGrp="1"/>
          </p:cNvGraphicFramePr>
          <p:nvPr>
            <p:extLst>
              <p:ext uri="{D42A27DB-BD31-4B8C-83A1-F6EECF244321}">
                <p14:modId xmlns:p14="http://schemas.microsoft.com/office/powerpoint/2010/main" val="207061739"/>
              </p:ext>
            </p:extLst>
          </p:nvPr>
        </p:nvGraphicFramePr>
        <p:xfrm>
          <a:off x="3339471" y="2142491"/>
          <a:ext cx="8229600" cy="3308721"/>
        </p:xfrm>
        <a:graphic>
          <a:graphicData uri="http://schemas.openxmlformats.org/drawingml/2006/table">
            <a:tbl>
              <a:tblPr firstRow="1" bandRow="1">
                <a:tableStyleId>{5A111915-BE36-4E01-A7E5-04B1672EAD32}</a:tableStyleId>
              </a:tblPr>
              <a:tblGrid>
                <a:gridCol w="8229600">
                  <a:extLst>
                    <a:ext uri="{9D8B030D-6E8A-4147-A177-3AD203B41FA5}">
                      <a16:colId xmlns:a16="http://schemas.microsoft.com/office/drawing/2014/main" xmlns="" val="20000"/>
                    </a:ext>
                  </a:extLst>
                </a:gridCol>
              </a:tblGrid>
              <a:tr h="488550">
                <a:tc>
                  <a:txBody>
                    <a:bodyPr/>
                    <a:lstStyle/>
                    <a:p>
                      <a:pPr marL="91440">
                        <a:lnSpc>
                          <a:spcPct val="100000"/>
                        </a:lnSpc>
                        <a:spcBef>
                          <a:spcPts val="745"/>
                        </a:spcBef>
                      </a:pPr>
                      <a:r>
                        <a:rPr lang="en-GB" sz="2400" b="1">
                          <a:solidFill>
                            <a:srgbClr val="FFFFFF"/>
                          </a:solidFill>
                          <a:latin typeface="+mj-lt"/>
                        </a:rPr>
                        <a:t>Situación de la empresa: </a:t>
                      </a:r>
                      <a:r>
                        <a:rPr lang="en-GB" sz="2400" b="1" u="sng">
                          <a:solidFill>
                            <a:srgbClr val="FFFFFF"/>
                          </a:solidFill>
                          <a:latin typeface="+mj-lt"/>
                        </a:rPr>
                        <a:t>Análisis del entorno</a:t>
                      </a:r>
                      <a:endParaRPr lang="en-GB" sz="2400" u="sng" dirty="0">
                        <a:latin typeface="+mj-lt"/>
                        <a:cs typeface="Arial"/>
                      </a:endParaRPr>
                    </a:p>
                  </a:txBody>
                  <a:tcPr marL="0" marR="0" marT="94615" marB="0"/>
                </a:tc>
                <a:extLst>
                  <a:ext uri="{0D108BD9-81ED-4DB2-BD59-A6C34878D82A}">
                    <a16:rowId xmlns:a16="http://schemas.microsoft.com/office/drawing/2014/main" xmlns="" val="10000"/>
                  </a:ext>
                </a:extLst>
              </a:tr>
              <a:tr h="686571">
                <a:tc>
                  <a:txBody>
                    <a:bodyPr/>
                    <a:lstStyle/>
                    <a:p>
                      <a:pPr marL="91440">
                        <a:lnSpc>
                          <a:spcPct val="100000"/>
                        </a:lnSpc>
                        <a:spcBef>
                          <a:spcPts val="800"/>
                        </a:spcBef>
                      </a:pPr>
                      <a:r>
                        <a:rPr lang="en-GB" sz="2000" b="1" spc="-10">
                          <a:solidFill>
                            <a:srgbClr val="245473"/>
                          </a:solidFill>
                          <a:latin typeface="+mj-lt"/>
                        </a:rPr>
                        <a:t>La pregunta clave es si la empresa en crisis puede consolidarse en un futuro previsible, teniendo en cuenta las perspectivas económicas previstas</a:t>
                      </a:r>
                      <a:endParaRPr lang="en-GB" sz="2000" b="1" spc="-10" dirty="0">
                        <a:solidFill>
                          <a:srgbClr val="245473"/>
                        </a:solidFill>
                        <a:latin typeface="+mj-lt"/>
                        <a:cs typeface="Arial"/>
                      </a:endParaRPr>
                    </a:p>
                  </a:txBody>
                  <a:tcPr marL="0" marR="0" marT="101600" marB="0" anchor="ctr"/>
                </a:tc>
                <a:extLst>
                  <a:ext uri="{0D108BD9-81ED-4DB2-BD59-A6C34878D82A}">
                    <a16:rowId xmlns:a16="http://schemas.microsoft.com/office/drawing/2014/main" xmlns="" val="10001"/>
                  </a:ext>
                </a:extLst>
              </a:tr>
              <a:tr h="686571">
                <a:tc>
                  <a:txBody>
                    <a:bodyPr/>
                    <a:lstStyle/>
                    <a:p>
                      <a:pPr marL="91440">
                        <a:lnSpc>
                          <a:spcPct val="100000"/>
                        </a:lnSpc>
                        <a:spcBef>
                          <a:spcPts val="800"/>
                        </a:spcBef>
                      </a:pPr>
                      <a:r>
                        <a:rPr lang="en-GB" sz="2000" b="0" spc="-10">
                          <a:solidFill>
                            <a:srgbClr val="245473"/>
                          </a:solidFill>
                          <a:latin typeface="+mj-lt"/>
                        </a:rPr>
                        <a:t>La evolución económica general que se espera a corto plazo es clave a este respecto y tiene una gran repercusión en las condiciones generales de la reestructuración</a:t>
                      </a:r>
                      <a:endParaRPr lang="en-GB" sz="2000" b="0" spc="-10" dirty="0">
                        <a:solidFill>
                          <a:srgbClr val="245473"/>
                        </a:solidFill>
                        <a:latin typeface="+mj-lt"/>
                        <a:cs typeface="Arial"/>
                      </a:endParaRPr>
                    </a:p>
                  </a:txBody>
                  <a:tcPr marL="0" marR="0" marT="6985" marB="0" anchor="ctr"/>
                </a:tc>
                <a:extLst>
                  <a:ext uri="{0D108BD9-81ED-4DB2-BD59-A6C34878D82A}">
                    <a16:rowId xmlns:a16="http://schemas.microsoft.com/office/drawing/2014/main" xmlns="" val="10002"/>
                  </a:ext>
                </a:extLst>
              </a:tr>
              <a:tr h="686571">
                <a:tc>
                  <a:txBody>
                    <a:bodyPr/>
                    <a:lstStyle/>
                    <a:p>
                      <a:pPr marL="91440">
                        <a:lnSpc>
                          <a:spcPct val="100000"/>
                        </a:lnSpc>
                        <a:spcBef>
                          <a:spcPts val="800"/>
                        </a:spcBef>
                      </a:pPr>
                      <a:r>
                        <a:rPr lang="en-GB" sz="2000">
                          <a:solidFill>
                            <a:srgbClr val="245473"/>
                          </a:solidFill>
                          <a:latin typeface="+mj-lt"/>
                        </a:rPr>
                        <a:t>Los indicadores clave pueden derivarse de las tendencias demográficas, tecnológicas, políticas y sociales, así como de las influencias económicas actuales</a:t>
                      </a:r>
                      <a:endParaRPr lang="en-GB" sz="2000" dirty="0">
                        <a:solidFill>
                          <a:srgbClr val="245473"/>
                        </a:solidFill>
                        <a:latin typeface="+mj-lt"/>
                        <a:cs typeface="Arial"/>
                      </a:endParaRPr>
                    </a:p>
                  </a:txBody>
                  <a:tcPr marL="0" marR="0" marT="101600" marB="0" anchor="ctr"/>
                </a:tc>
                <a:extLst>
                  <a:ext uri="{0D108BD9-81ED-4DB2-BD59-A6C34878D82A}">
                    <a16:rowId xmlns:a16="http://schemas.microsoft.com/office/drawing/2014/main" xmlns="" val="10003"/>
                  </a:ext>
                </a:extLst>
              </a:tr>
              <a:tr h="686571">
                <a:tc>
                  <a:txBody>
                    <a:bodyPr/>
                    <a:lstStyle/>
                    <a:p>
                      <a:pPr marL="91440">
                        <a:lnSpc>
                          <a:spcPct val="100000"/>
                        </a:lnSpc>
                        <a:spcBef>
                          <a:spcPts val="800"/>
                        </a:spcBef>
                      </a:pPr>
                      <a:r>
                        <a:rPr lang="en-GB" sz="2000" dirty="0">
                          <a:solidFill>
                            <a:srgbClr val="245473"/>
                          </a:solidFill>
                          <a:latin typeface="+mj-lt"/>
                        </a:rPr>
                        <a:t>Fuentes de información: Estudios de mercado de bancos y asociaciones, estudios económicos y prensa económica</a:t>
                      </a:r>
                      <a:endParaRPr lang="en-GB" sz="2000" dirty="0">
                        <a:solidFill>
                          <a:srgbClr val="245473"/>
                        </a:solidFill>
                        <a:latin typeface="+mj-lt"/>
                        <a:cs typeface="Arial"/>
                      </a:endParaRPr>
                    </a:p>
                  </a:txBody>
                  <a:tcPr marL="0" marR="0" marT="101600" marB="0" anchor="ctr"/>
                </a:tc>
                <a:extLst>
                  <a:ext uri="{0D108BD9-81ED-4DB2-BD59-A6C34878D82A}">
                    <a16:rowId xmlns:a16="http://schemas.microsoft.com/office/drawing/2014/main" xmlns="" val="2813156787"/>
                  </a:ext>
                </a:extLst>
              </a:tr>
            </a:tbl>
          </a:graphicData>
        </a:graphic>
      </p:graphicFrame>
    </p:spTree>
    <p:extLst>
      <p:ext uri="{BB962C8B-B14F-4D97-AF65-F5344CB8AC3E}">
        <p14:creationId xmlns:p14="http://schemas.microsoft.com/office/powerpoint/2010/main" val="3469663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73696" y="550237"/>
            <a:ext cx="9290036" cy="951992"/>
          </a:xfrm>
        </p:spPr>
        <p:txBody>
          <a:bodyPr>
            <a:normAutofit fontScale="85000" lnSpcReduction="20000"/>
          </a:bodyPr>
          <a:lstStyle/>
          <a:p>
            <a:r>
              <a:rPr lang="en-GB" dirty="0"/>
              <a:t>Contenido de los conceptos de reestructuración</a:t>
            </a:r>
          </a:p>
          <a:p>
            <a:r>
              <a:rPr lang="en-GB" dirty="0"/>
              <a:t>3. </a:t>
            </a:r>
            <a:r>
              <a:rPr lang="en-GB" sz="3600" b="1" dirty="0">
                <a:latin typeface="+mj-lt"/>
              </a:rPr>
              <a:t>Circunstancias legales internas </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351949" cy="312936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Las conclusiones y los resultados de los análisis medioambientales y económicos deben incluirse en </a:t>
            </a:r>
            <a:r>
              <a:rPr lang="en-GB" sz="2200" dirty="0">
                <a:latin typeface="+mj-lt"/>
                <a:ea typeface="Open Sans Light" panose="020B0306030504020204" pitchFamily="34" charset="0"/>
                <a:cs typeface="Open Sans Light" panose="020B0306030504020204" pitchFamily="34" charset="0"/>
              </a:rPr>
              <a:t/>
            </a:r>
            <a:br>
              <a:rPr lang="en-GB" sz="2200" dirty="0">
                <a:latin typeface="+mj-lt"/>
                <a:ea typeface="Open Sans Light" panose="020B0306030504020204" pitchFamily="34" charset="0"/>
                <a:cs typeface="Open Sans Light" panose="020B0306030504020204" pitchFamily="34" charset="0"/>
              </a:rPr>
            </a:br>
            <a:r>
              <a:rPr lang="en-GB" sz="2200" dirty="0">
                <a:solidFill>
                  <a:schemeClr val="tx1"/>
                </a:solidFill>
                <a:latin typeface="+mj-lt"/>
                <a:ea typeface="Open Sans Light" panose="020B0306030504020204" pitchFamily="34" charset="0"/>
                <a:cs typeface="Open Sans Light" panose="020B0306030504020204" pitchFamily="34" charset="0"/>
              </a:rPr>
              <a:t>el concepto de reestructuración, así como otros factores legales, </a:t>
            </a:r>
            <a:endParaRPr lang="en-GB" sz="2200" b="1" dirty="0">
              <a:solidFill>
                <a:schemeClr val="tx1"/>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8980644"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ció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graphicFrame>
        <p:nvGraphicFramePr>
          <p:cNvPr id="9" name="object 9">
            <a:extLst>
              <a:ext uri="{FF2B5EF4-FFF2-40B4-BE49-F238E27FC236}">
                <a16:creationId xmlns:a16="http://schemas.microsoft.com/office/drawing/2014/main" xmlns="" id="{4084F88F-310F-4939-89AE-ABB1BEA6E22B}"/>
              </a:ext>
            </a:extLst>
          </p:cNvPr>
          <p:cNvGraphicFramePr>
            <a:graphicFrameLocks noGrp="1"/>
          </p:cNvGraphicFramePr>
          <p:nvPr>
            <p:extLst>
              <p:ext uri="{D42A27DB-BD31-4B8C-83A1-F6EECF244321}">
                <p14:modId xmlns:p14="http://schemas.microsoft.com/office/powerpoint/2010/main" val="420466485"/>
              </p:ext>
            </p:extLst>
          </p:nvPr>
        </p:nvGraphicFramePr>
        <p:xfrm>
          <a:off x="3339471" y="1847901"/>
          <a:ext cx="8645700" cy="4394843"/>
        </p:xfrm>
        <a:graphic>
          <a:graphicData uri="http://schemas.openxmlformats.org/drawingml/2006/table">
            <a:tbl>
              <a:tblPr firstRow="1" bandRow="1">
                <a:tableStyleId>{912C8C85-51F0-491E-9774-3900AFEF0FD7}</a:tableStyleId>
              </a:tblPr>
              <a:tblGrid>
                <a:gridCol w="8645700">
                  <a:extLst>
                    <a:ext uri="{9D8B030D-6E8A-4147-A177-3AD203B41FA5}">
                      <a16:colId xmlns:a16="http://schemas.microsoft.com/office/drawing/2014/main" xmlns="" val="20000"/>
                    </a:ext>
                  </a:extLst>
                </a:gridCol>
              </a:tblGrid>
              <a:tr h="293757">
                <a:tc>
                  <a:txBody>
                    <a:bodyPr/>
                    <a:lstStyle/>
                    <a:p>
                      <a:pPr marL="91440">
                        <a:lnSpc>
                          <a:spcPct val="100000"/>
                        </a:lnSpc>
                        <a:spcBef>
                          <a:spcPts val="745"/>
                        </a:spcBef>
                      </a:pPr>
                      <a:r>
                        <a:rPr lang="en-GB" sz="2400" b="1" dirty="0">
                          <a:solidFill>
                            <a:srgbClr val="FFFFFF"/>
                          </a:solidFill>
                          <a:latin typeface="+mj-lt"/>
                        </a:rPr>
                        <a:t>Situación de la empresa: </a:t>
                      </a:r>
                      <a:r>
                        <a:rPr lang="en-GB" sz="2400" b="1" u="sng" dirty="0">
                          <a:solidFill>
                            <a:srgbClr val="FFFFFF"/>
                          </a:solidFill>
                          <a:latin typeface="+mj-lt"/>
                        </a:rPr>
                        <a:t>Circunstancias legales internas</a:t>
                      </a:r>
                      <a:endParaRPr lang="en-GB" sz="2400" u="sng" dirty="0">
                        <a:latin typeface="+mj-lt"/>
                        <a:cs typeface="Arial"/>
                      </a:endParaRPr>
                    </a:p>
                  </a:txBody>
                  <a:tcPr marL="0" marR="0" marT="94615" marB="0"/>
                </a:tc>
                <a:extLst>
                  <a:ext uri="{0D108BD9-81ED-4DB2-BD59-A6C34878D82A}">
                    <a16:rowId xmlns:a16="http://schemas.microsoft.com/office/drawing/2014/main" xmlns="" val="10000"/>
                  </a:ext>
                </a:extLst>
              </a:tr>
              <a:tr h="574683">
                <a:tc>
                  <a:txBody>
                    <a:bodyPr/>
                    <a:lstStyle/>
                    <a:p>
                      <a:pPr marL="91440">
                        <a:lnSpc>
                          <a:spcPct val="100000"/>
                        </a:lnSpc>
                        <a:spcBef>
                          <a:spcPts val="800"/>
                        </a:spcBef>
                      </a:pPr>
                      <a:r>
                        <a:rPr lang="en-GB" sz="2000" b="1" spc="-10" dirty="0">
                          <a:solidFill>
                            <a:srgbClr val="245473"/>
                          </a:solidFill>
                          <a:latin typeface="+mj-lt"/>
                        </a:rPr>
                        <a:t>Marco jurídico de las empresas</a:t>
                      </a:r>
                      <a:r>
                        <a:rPr lang="en-GB" sz="2000" b="0" spc="-10" dirty="0">
                          <a:solidFill>
                            <a:srgbClr val="245473"/>
                          </a:solidFill>
                          <a:latin typeface="+mj-lt"/>
                        </a:rPr>
                        <a:t>: acuerdos interempresariales, por ejemplo, acuerdos de transferencia de beneficios y pérdidas</a:t>
                      </a:r>
                    </a:p>
                  </a:txBody>
                  <a:tcPr marL="0" marR="0" marT="101600" marB="0" anchor="ctr"/>
                </a:tc>
                <a:extLst>
                  <a:ext uri="{0D108BD9-81ED-4DB2-BD59-A6C34878D82A}">
                    <a16:rowId xmlns:a16="http://schemas.microsoft.com/office/drawing/2014/main" xmlns="" val="10001"/>
                  </a:ext>
                </a:extLst>
              </a:tr>
              <a:tr h="749814">
                <a:tc>
                  <a:txBody>
                    <a:bodyPr/>
                    <a:lstStyle/>
                    <a:p>
                      <a:pPr marL="91440">
                        <a:lnSpc>
                          <a:spcPct val="100000"/>
                        </a:lnSpc>
                        <a:spcBef>
                          <a:spcPts val="800"/>
                        </a:spcBef>
                      </a:pPr>
                      <a:r>
                        <a:rPr lang="en-GB" sz="2000" b="1" kern="1200" spc="-10" dirty="0">
                          <a:solidFill>
                            <a:srgbClr val="245473"/>
                          </a:solidFill>
                          <a:latin typeface="+mj-lt"/>
                          <a:ea typeface="+mn-ea"/>
                          <a:cs typeface="+mn-cs"/>
                        </a:rPr>
                        <a:t>Marco de derecho civil: </a:t>
                      </a:r>
                    </a:p>
                    <a:p>
                      <a:pPr marL="377190" indent="-285750">
                        <a:lnSpc>
                          <a:spcPct val="100000"/>
                        </a:lnSpc>
                        <a:spcBef>
                          <a:spcPts val="800"/>
                        </a:spcBef>
                        <a:buFont typeface="Arial" panose="020B0604020202020204" pitchFamily="34" charset="0"/>
                        <a:buChar char="•"/>
                      </a:pPr>
                      <a:r>
                        <a:rPr lang="en-GB" sz="2000" b="0" kern="1200" spc="-10" dirty="0">
                          <a:solidFill>
                            <a:srgbClr val="245473"/>
                          </a:solidFill>
                          <a:latin typeface="+mj-lt"/>
                          <a:ea typeface="+mn-ea"/>
                          <a:cs typeface="+mn-cs"/>
                        </a:rPr>
                        <a:t>Propiedad</a:t>
                      </a:r>
                    </a:p>
                    <a:p>
                      <a:pPr marL="377190" indent="-285750">
                        <a:lnSpc>
                          <a:spcPct val="100000"/>
                        </a:lnSpc>
                        <a:spcBef>
                          <a:spcPts val="800"/>
                        </a:spcBef>
                        <a:buFont typeface="Arial" panose="020B0604020202020204" pitchFamily="34" charset="0"/>
                        <a:buChar char="•"/>
                      </a:pPr>
                      <a:r>
                        <a:rPr lang="en-GB" sz="2000" b="0" kern="1200" spc="-10" dirty="0">
                          <a:solidFill>
                            <a:srgbClr val="245473"/>
                          </a:solidFill>
                          <a:latin typeface="+mj-lt"/>
                          <a:ea typeface="+mn-ea"/>
                          <a:cs typeface="+mn-cs"/>
                        </a:rPr>
                        <a:t>Contratos de alquiler y arrendamiento, contratos de arrendamiento, contratos de licencia, contratos de suministro</a:t>
                      </a:r>
                    </a:p>
                  </a:txBody>
                  <a:tcPr marL="0" marR="0" marT="6985" marB="0" anchor="ctr"/>
                </a:tc>
                <a:extLst>
                  <a:ext uri="{0D108BD9-81ED-4DB2-BD59-A6C34878D82A}">
                    <a16:rowId xmlns:a16="http://schemas.microsoft.com/office/drawing/2014/main" xmlns="" val="10002"/>
                  </a:ext>
                </a:extLst>
              </a:tr>
              <a:tr h="574683">
                <a:tc>
                  <a:txBody>
                    <a:bodyPr/>
                    <a:lstStyle/>
                    <a:p>
                      <a:pPr marL="91440">
                        <a:lnSpc>
                          <a:spcPct val="100000"/>
                        </a:lnSpc>
                        <a:spcBef>
                          <a:spcPts val="800"/>
                        </a:spcBef>
                      </a:pPr>
                      <a:r>
                        <a:rPr lang="en-GB" sz="2000" b="1" kern="1200" spc="-10" dirty="0">
                          <a:solidFill>
                            <a:srgbClr val="245473"/>
                          </a:solidFill>
                          <a:latin typeface="+mj-lt"/>
                          <a:ea typeface="+mn-ea"/>
                          <a:cs typeface="+mn-cs"/>
                        </a:rPr>
                        <a:t>Relaciones fiscales: </a:t>
                      </a:r>
                      <a:r>
                        <a:rPr lang="en-GB" sz="2000" b="0" kern="1200" spc="-10" dirty="0">
                          <a:solidFill>
                            <a:srgbClr val="245473"/>
                          </a:solidFill>
                          <a:latin typeface="+mj-lt"/>
                          <a:ea typeface="+mn-ea"/>
                          <a:cs typeface="+mn-cs"/>
                        </a:rPr>
                        <a:t>Riesgos fiscales, validez de las liquidaciones, arrastre de pérdidas</a:t>
                      </a:r>
                    </a:p>
                  </a:txBody>
                  <a:tcPr marL="0" marR="0" marT="101600" marB="0" anchor="ctr"/>
                </a:tc>
                <a:extLst>
                  <a:ext uri="{0D108BD9-81ED-4DB2-BD59-A6C34878D82A}">
                    <a16:rowId xmlns:a16="http://schemas.microsoft.com/office/drawing/2014/main" xmlns="" val="10003"/>
                  </a:ext>
                </a:extLst>
              </a:tr>
              <a:tr h="825150">
                <a:tc>
                  <a:txBody>
                    <a:bodyPr/>
                    <a:lstStyle/>
                    <a:p>
                      <a:pPr marL="91440">
                        <a:lnSpc>
                          <a:spcPct val="100000"/>
                        </a:lnSpc>
                        <a:spcBef>
                          <a:spcPts val="800"/>
                        </a:spcBef>
                      </a:pPr>
                      <a:r>
                        <a:rPr lang="en-GB" sz="2000" b="1" kern="1200" spc="-10" dirty="0">
                          <a:solidFill>
                            <a:srgbClr val="245473"/>
                          </a:solidFill>
                          <a:latin typeface="+mj-lt"/>
                          <a:ea typeface="+mn-ea"/>
                          <a:cs typeface="+mn-cs"/>
                        </a:rPr>
                        <a:t>Condiciones de la legislación laboral:</a:t>
                      </a:r>
                    </a:p>
                    <a:p>
                      <a:pPr marL="377190" indent="-285750">
                        <a:lnSpc>
                          <a:spcPct val="100000"/>
                        </a:lnSpc>
                        <a:spcBef>
                          <a:spcPts val="800"/>
                        </a:spcBef>
                        <a:buFont typeface="Arial" panose="020B0604020202020204" pitchFamily="34" charset="0"/>
                        <a:buChar char="•"/>
                      </a:pPr>
                      <a:r>
                        <a:rPr lang="en-GB" sz="2000" b="0" kern="1200" spc="-10" dirty="0">
                          <a:solidFill>
                            <a:srgbClr val="245473"/>
                          </a:solidFill>
                          <a:latin typeface="+mj-lt"/>
                          <a:ea typeface="+mn-ea"/>
                          <a:cs typeface="+mn-cs"/>
                        </a:rPr>
                        <a:t>Convenios colectivos, por ejemplo, reestructuración de convenios colectivos</a:t>
                      </a:r>
                    </a:p>
                    <a:p>
                      <a:pPr marL="377190" indent="-285750">
                        <a:lnSpc>
                          <a:spcPct val="100000"/>
                        </a:lnSpc>
                        <a:spcBef>
                          <a:spcPts val="800"/>
                        </a:spcBef>
                        <a:buFont typeface="Arial" panose="020B0604020202020204" pitchFamily="34" charset="0"/>
                        <a:buChar char="•"/>
                      </a:pPr>
                      <a:r>
                        <a:rPr lang="en-GB" sz="2000" b="0" kern="1200" spc="-10" dirty="0">
                          <a:solidFill>
                            <a:srgbClr val="245473"/>
                          </a:solidFill>
                          <a:latin typeface="+mj-lt"/>
                          <a:ea typeface="+mn-ea"/>
                          <a:cs typeface="+mn-cs"/>
                        </a:rPr>
                        <a:t>Acuerdos de empresa sobre la compensación de las vacaciones y la paga extra de Navidad</a:t>
                      </a:r>
                    </a:p>
                  </a:txBody>
                  <a:tcPr marL="0" marR="0" marT="101600" marB="0" anchor="ctr"/>
                </a:tc>
                <a:extLst>
                  <a:ext uri="{0D108BD9-81ED-4DB2-BD59-A6C34878D82A}">
                    <a16:rowId xmlns:a16="http://schemas.microsoft.com/office/drawing/2014/main" xmlns="" val="2813156787"/>
                  </a:ext>
                </a:extLst>
              </a:tr>
            </a:tbl>
          </a:graphicData>
        </a:graphic>
      </p:graphicFrame>
    </p:spTree>
    <p:extLst>
      <p:ext uri="{BB962C8B-B14F-4D97-AF65-F5344CB8AC3E}">
        <p14:creationId xmlns:p14="http://schemas.microsoft.com/office/powerpoint/2010/main" val="23082208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32182" y="487785"/>
            <a:ext cx="8637103" cy="949129"/>
          </a:xfrm>
        </p:spPr>
        <p:txBody>
          <a:bodyPr>
            <a:normAutofit fontScale="62500" lnSpcReduction="20000"/>
          </a:bodyPr>
          <a:lstStyle/>
          <a:p>
            <a:r>
              <a:rPr lang="en-GB" sz="5100" dirty="0"/>
              <a:t>Contenido de los conceptos de reestructuración</a:t>
            </a:r>
          </a:p>
          <a:p>
            <a:r>
              <a:rPr lang="en-GB" sz="5100" dirty="0"/>
              <a:t>4. </a:t>
            </a:r>
            <a:r>
              <a:rPr lang="en-GB" sz="5100" b="1" dirty="0">
                <a:latin typeface="+mj-lt"/>
              </a:rPr>
              <a:t>Circunstancias internas </a:t>
            </a:r>
            <a:endParaRPr lang="en-GB" sz="5100" dirty="0"/>
          </a:p>
          <a:p>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46441" y="1809719"/>
            <a:ext cx="3618713" cy="51606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700" dirty="0">
                <a:solidFill>
                  <a:srgbClr val="245473"/>
                </a:solidFill>
                <a:latin typeface="+mj-lt"/>
                <a:ea typeface="Open Sans Light" panose="020B0306030504020204" pitchFamily="34" charset="0"/>
                <a:cs typeface="Open Sans Light" panose="020B0306030504020204" pitchFamily="34" charset="0"/>
              </a:rPr>
              <a:t>También hay que cuestionar y evaluar críticamente el modelo de negocio existente.</a:t>
            </a:r>
            <a:endParaRPr lang="en-US" sz="1700" dirty="0">
              <a:solidFill>
                <a:srgbClr val="245473"/>
              </a:solidFill>
            </a:endParaRPr>
          </a:p>
          <a:p>
            <a:pPr algn="l">
              <a:lnSpc>
                <a:spcPct val="100000"/>
              </a:lnSpc>
              <a:spcBef>
                <a:spcPts val="600"/>
              </a:spcBef>
            </a:pPr>
            <a:r>
              <a:rPr lang="en-GB" sz="1700" dirty="0">
                <a:solidFill>
                  <a:srgbClr val="245473"/>
                </a:solidFill>
                <a:latin typeface="+mj-lt"/>
                <a:ea typeface="Open Sans Light" panose="020B0306030504020204" pitchFamily="34" charset="0"/>
                <a:cs typeface="Open Sans Light" panose="020B0306030504020204" pitchFamily="34" charset="0"/>
              </a:rPr>
              <a:t>También hay oportunidades para mejorar la organización, así como los procesos de gestión, información y toma de decisiones. La inclusión de todos los niveles de gestión en el análisis apoya el proceso al introducir la información interna necesaria y la respectiva competencia técnica y empresarial. </a:t>
            </a:r>
            <a:r>
              <a:rPr lang="en-GB" sz="1700" b="1" dirty="0">
                <a:solidFill>
                  <a:srgbClr val="245473"/>
                </a:solidFill>
                <a:latin typeface="+mj-lt"/>
                <a:ea typeface="Open Sans Light" panose="020B0306030504020204" pitchFamily="34" charset="0"/>
                <a:cs typeface="Open Sans Light" panose="020B0306030504020204" pitchFamily="34" charset="0"/>
              </a:rPr>
              <a:t>Fuentes de información:</a:t>
            </a: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rPr>
              <a:t>Datos contables</a:t>
            </a: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rPr>
              <a:t>Declaraciones de empleados y directivos</a:t>
            </a: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rPr>
              <a:t>Observación/encuesta de socios comerciales y competidores</a:t>
            </a:r>
          </a:p>
          <a:p>
            <a:pPr algn="l">
              <a:lnSpc>
                <a:spcPct val="100000"/>
              </a:lnSpc>
              <a:spcBef>
                <a:spcPts val="600"/>
              </a:spcBef>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9506328" y="3977013"/>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ció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graphicFrame>
        <p:nvGraphicFramePr>
          <p:cNvPr id="9" name="object 9">
            <a:extLst>
              <a:ext uri="{FF2B5EF4-FFF2-40B4-BE49-F238E27FC236}">
                <a16:creationId xmlns:a16="http://schemas.microsoft.com/office/drawing/2014/main" xmlns="" id="{4084F88F-310F-4939-89AE-ABB1BEA6E22B}"/>
              </a:ext>
            </a:extLst>
          </p:cNvPr>
          <p:cNvGraphicFramePr>
            <a:graphicFrameLocks noGrp="1"/>
          </p:cNvGraphicFramePr>
          <p:nvPr>
            <p:extLst>
              <p:ext uri="{D42A27DB-BD31-4B8C-83A1-F6EECF244321}">
                <p14:modId xmlns:p14="http://schemas.microsoft.com/office/powerpoint/2010/main" val="3763798465"/>
              </p:ext>
            </p:extLst>
          </p:nvPr>
        </p:nvGraphicFramePr>
        <p:xfrm>
          <a:off x="3908697" y="1929638"/>
          <a:ext cx="8229600" cy="4308533"/>
        </p:xfrm>
        <a:graphic>
          <a:graphicData uri="http://schemas.openxmlformats.org/drawingml/2006/table">
            <a:tbl>
              <a:tblPr firstRow="1" bandRow="1">
                <a:tableStyleId>{17292A2E-F333-43FB-9621-5CBBE7FDCDCB}</a:tableStyleId>
              </a:tblPr>
              <a:tblGrid>
                <a:gridCol w="8229600">
                  <a:extLst>
                    <a:ext uri="{9D8B030D-6E8A-4147-A177-3AD203B41FA5}">
                      <a16:colId xmlns:a16="http://schemas.microsoft.com/office/drawing/2014/main" xmlns="" val="20000"/>
                    </a:ext>
                  </a:extLst>
                </a:gridCol>
              </a:tblGrid>
              <a:tr h="488550">
                <a:tc>
                  <a:txBody>
                    <a:bodyPr/>
                    <a:lstStyle/>
                    <a:p>
                      <a:pPr marL="91440">
                        <a:lnSpc>
                          <a:spcPct val="100000"/>
                        </a:lnSpc>
                        <a:spcBef>
                          <a:spcPts val="745"/>
                        </a:spcBef>
                      </a:pPr>
                      <a:r>
                        <a:rPr lang="en-GB" sz="2400" b="1" dirty="0">
                          <a:solidFill>
                            <a:srgbClr val="FFFFFF"/>
                          </a:solidFill>
                          <a:latin typeface="+mj-lt"/>
                        </a:rPr>
                        <a:t>Situación de la empresa: </a:t>
                      </a:r>
                      <a:r>
                        <a:rPr lang="en-GB" sz="2400" b="1" u="sng" dirty="0">
                          <a:solidFill>
                            <a:srgbClr val="FFFFFF"/>
                          </a:solidFill>
                          <a:latin typeface="+mj-lt"/>
                        </a:rPr>
                        <a:t>Circunstancias internas</a:t>
                      </a:r>
                      <a:endParaRPr lang="en-GB" sz="2400" u="sng" dirty="0">
                        <a:latin typeface="+mj-lt"/>
                        <a:cs typeface="Arial"/>
                      </a:endParaRPr>
                    </a:p>
                  </a:txBody>
                  <a:tcPr marL="0" marR="0" marT="94615" marB="0"/>
                </a:tc>
                <a:extLst>
                  <a:ext uri="{0D108BD9-81ED-4DB2-BD59-A6C34878D82A}">
                    <a16:rowId xmlns:a16="http://schemas.microsoft.com/office/drawing/2014/main" xmlns="" val="10000"/>
                  </a:ext>
                </a:extLst>
              </a:tr>
              <a:tr h="670383">
                <a:tc>
                  <a:txBody>
                    <a:bodyPr/>
                    <a:lstStyle/>
                    <a:p>
                      <a:pPr marL="91440">
                        <a:lnSpc>
                          <a:spcPct val="100000"/>
                        </a:lnSpc>
                        <a:spcBef>
                          <a:spcPts val="800"/>
                        </a:spcBef>
                      </a:pPr>
                      <a:r>
                        <a:rPr lang="en-GB" sz="2000" b="0" spc="-10" dirty="0">
                          <a:solidFill>
                            <a:srgbClr val="245473"/>
                          </a:solidFill>
                          <a:latin typeface="+mj-lt"/>
                        </a:rPr>
                        <a:t>La misión principal o los negocios principales y su rentabilidad, los productos principales con sus características y capacidades principales</a:t>
                      </a:r>
                    </a:p>
                  </a:txBody>
                  <a:tcPr marL="0" marR="0" marT="101600" marB="0" anchor="ctr"/>
                </a:tc>
                <a:extLst>
                  <a:ext uri="{0D108BD9-81ED-4DB2-BD59-A6C34878D82A}">
                    <a16:rowId xmlns:a16="http://schemas.microsoft.com/office/drawing/2014/main" xmlns="" val="10001"/>
                  </a:ext>
                </a:extLst>
              </a:tr>
              <a:tr h="670383">
                <a:tc>
                  <a:txBody>
                    <a:bodyPr/>
                    <a:lstStyle/>
                    <a:p>
                      <a:pPr marL="91440">
                        <a:lnSpc>
                          <a:spcPct val="100000"/>
                        </a:lnSpc>
                        <a:spcBef>
                          <a:spcPts val="800"/>
                        </a:spcBef>
                      </a:pPr>
                      <a:r>
                        <a:rPr lang="en-GB" sz="2000" b="0" kern="1200" spc="-10" dirty="0">
                          <a:solidFill>
                            <a:srgbClr val="245473"/>
                          </a:solidFill>
                          <a:latin typeface="+mj-lt"/>
                          <a:ea typeface="+mn-ea"/>
                          <a:cs typeface="+mn-cs"/>
                        </a:rPr>
                        <a:t>Estos factores de influencia deben presentarse teniendo en cuenta la relación con los clientes y los competidores</a:t>
                      </a:r>
                    </a:p>
                  </a:txBody>
                  <a:tcPr marL="0" marR="0" marT="6985" marB="0" anchor="ctr"/>
                </a:tc>
                <a:extLst>
                  <a:ext uri="{0D108BD9-81ED-4DB2-BD59-A6C34878D82A}">
                    <a16:rowId xmlns:a16="http://schemas.microsoft.com/office/drawing/2014/main" xmlns="" val="10002"/>
                  </a:ext>
                </a:extLst>
              </a:tr>
              <a:tr h="670383">
                <a:tc>
                  <a:txBody>
                    <a:bodyPr/>
                    <a:lstStyle/>
                    <a:p>
                      <a:pPr marL="91440">
                        <a:lnSpc>
                          <a:spcPct val="100000"/>
                        </a:lnSpc>
                        <a:spcBef>
                          <a:spcPts val="800"/>
                        </a:spcBef>
                      </a:pPr>
                      <a:r>
                        <a:rPr lang="en-GB" sz="2000" b="0" kern="1200" spc="-10" dirty="0">
                          <a:solidFill>
                            <a:srgbClr val="245473"/>
                          </a:solidFill>
                          <a:latin typeface="+mj-lt"/>
                          <a:ea typeface="+mn-ea"/>
                          <a:cs typeface="+mn-cs"/>
                        </a:rPr>
                        <a:t>Hay que tener en cuenta los intereses y las oportunidades de las partes interesadas, así como los recursos y las competencias pertinentes para la competencia</a:t>
                      </a:r>
                    </a:p>
                  </a:txBody>
                  <a:tcPr marL="0" marR="0" marT="101600" marB="0" anchor="ctr"/>
                </a:tc>
                <a:extLst>
                  <a:ext uri="{0D108BD9-81ED-4DB2-BD59-A6C34878D82A}">
                    <a16:rowId xmlns:a16="http://schemas.microsoft.com/office/drawing/2014/main" xmlns="" val="10003"/>
                  </a:ext>
                </a:extLst>
              </a:tr>
              <a:tr h="670383">
                <a:tc>
                  <a:txBody>
                    <a:bodyPr/>
                    <a:lstStyle/>
                    <a:p>
                      <a:pPr marL="91440">
                        <a:lnSpc>
                          <a:spcPct val="100000"/>
                        </a:lnSpc>
                        <a:spcBef>
                          <a:spcPts val="800"/>
                        </a:spcBef>
                      </a:pPr>
                      <a:r>
                        <a:rPr lang="en-GB" sz="2000" b="0" kern="1200" spc="-10" dirty="0">
                          <a:solidFill>
                            <a:srgbClr val="245473"/>
                          </a:solidFill>
                          <a:latin typeface="+mj-lt"/>
                          <a:ea typeface="+mn-ea"/>
                          <a:cs typeface="+mn-cs"/>
                        </a:rPr>
                        <a:t>Hay que tener en cuenta la calidad y la utilidad del potencial existente en las subáreas operativas (por ejemplo, gestión, mano de obra, compras, producción, ventas, tecnología, financiación)</a:t>
                      </a:r>
                    </a:p>
                  </a:txBody>
                  <a:tcPr marL="0" marR="0" marT="101600" marB="0" anchor="ctr"/>
                </a:tc>
                <a:extLst>
                  <a:ext uri="{0D108BD9-81ED-4DB2-BD59-A6C34878D82A}">
                    <a16:rowId xmlns:a16="http://schemas.microsoft.com/office/drawing/2014/main" xmlns="" val="2813156787"/>
                  </a:ext>
                </a:extLst>
              </a:tr>
              <a:tr h="603331">
                <a:tc>
                  <a:txBody>
                    <a:bodyPr/>
                    <a:lstStyle/>
                    <a:p>
                      <a:pPr marL="91440">
                        <a:lnSpc>
                          <a:spcPct val="100000"/>
                        </a:lnSpc>
                        <a:spcBef>
                          <a:spcPts val="800"/>
                        </a:spcBef>
                      </a:pPr>
                      <a:r>
                        <a:rPr lang="en-GB" sz="2000" b="0" kern="1200" spc="-10" dirty="0">
                          <a:solidFill>
                            <a:srgbClr val="245473"/>
                          </a:solidFill>
                          <a:latin typeface="+mj-lt"/>
                          <a:ea typeface="+mn-ea"/>
                          <a:cs typeface="+mn-cs"/>
                        </a:rPr>
                        <a:t>Sobre esta base, hay que evaluar la orientación estratégica anterior e identificar los potenciales de reducción de costes y mejora de la eficiencia</a:t>
                      </a:r>
                    </a:p>
                  </a:txBody>
                  <a:tcPr marL="0" marR="0" marT="101600" marB="0" anchor="ctr"/>
                </a:tc>
                <a:extLst>
                  <a:ext uri="{0D108BD9-81ED-4DB2-BD59-A6C34878D82A}">
                    <a16:rowId xmlns:a16="http://schemas.microsoft.com/office/drawing/2014/main" xmlns="" val="2158273121"/>
                  </a:ext>
                </a:extLst>
              </a:tr>
            </a:tbl>
          </a:graphicData>
        </a:graphic>
      </p:graphicFrame>
    </p:spTree>
    <p:extLst>
      <p:ext uri="{BB962C8B-B14F-4D97-AF65-F5344CB8AC3E}">
        <p14:creationId xmlns:p14="http://schemas.microsoft.com/office/powerpoint/2010/main" val="15583404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27072" y="502054"/>
            <a:ext cx="9192275" cy="881568"/>
          </a:xfrm>
        </p:spPr>
        <p:txBody>
          <a:bodyPr>
            <a:normAutofit fontScale="92500" lnSpcReduction="20000"/>
          </a:bodyPr>
          <a:lstStyle/>
          <a:p>
            <a:r>
              <a:rPr lang="en-GB" dirty="0"/>
              <a:t>Contenido de los conceptos de reestructuración: Importancia de una nueva declaración de mis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7505" y="1843478"/>
            <a:ext cx="2855839"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Un concepto global de reestructuración también incluye la futura declaración de objetivos de la empresa reestructurada.</a:t>
            </a:r>
            <a:endParaRPr lang="en-US" sz="1800" dirty="0">
              <a:solidFill>
                <a:srgbClr val="245473"/>
              </a:solidFill>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n ella se muestran los procedimientos y las potencialidades que hacen que la empresa sea competitiva y que, por tanto, se abra la posibilidad de alcanzar un ratio de rentabilidad de las ventas y de los fondos propios sostenible y habitual en el sector, con el fin de volver a ser atractiva para los proveedores de capital social y de deuda</a:t>
            </a: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7" name="Arc 24">
            <a:extLst>
              <a:ext uri="{FF2B5EF4-FFF2-40B4-BE49-F238E27FC236}">
                <a16:creationId xmlns:a16="http://schemas.microsoft.com/office/drawing/2014/main" xmlns="" id="{50CA720C-4BA6-44FB-BEA6-F8DB2D677F55}"/>
              </a:ext>
            </a:extLst>
          </p:cNvPr>
          <p:cNvSpPr/>
          <p:nvPr/>
        </p:nvSpPr>
        <p:spPr>
          <a:xfrm rot="10800000">
            <a:off x="5614569" y="1951437"/>
            <a:ext cx="3429893" cy="3661770"/>
          </a:xfrm>
          <a:prstGeom prst="arc">
            <a:avLst>
              <a:gd name="adj1" fmla="val 13616883"/>
              <a:gd name="adj2" fmla="val 18757689"/>
            </a:avLst>
          </a:prstGeom>
          <a:ln w="444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mj-lt"/>
            </a:endParaRPr>
          </a:p>
        </p:txBody>
      </p:sp>
      <p:sp>
        <p:nvSpPr>
          <p:cNvPr id="8" name="Arc 23">
            <a:extLst>
              <a:ext uri="{FF2B5EF4-FFF2-40B4-BE49-F238E27FC236}">
                <a16:creationId xmlns:a16="http://schemas.microsoft.com/office/drawing/2014/main" xmlns="" id="{DAE4797C-1501-4323-8DF0-26A4E54F369B}"/>
              </a:ext>
            </a:extLst>
          </p:cNvPr>
          <p:cNvSpPr/>
          <p:nvPr/>
        </p:nvSpPr>
        <p:spPr>
          <a:xfrm>
            <a:off x="5611603" y="2119695"/>
            <a:ext cx="3429893" cy="3661770"/>
          </a:xfrm>
          <a:prstGeom prst="arc">
            <a:avLst>
              <a:gd name="adj1" fmla="val 13616883"/>
              <a:gd name="adj2" fmla="val 18757689"/>
            </a:avLst>
          </a:prstGeom>
          <a:ln w="4445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mj-lt"/>
            </a:endParaRPr>
          </a:p>
        </p:txBody>
      </p:sp>
      <p:sp>
        <p:nvSpPr>
          <p:cNvPr id="10" name="Freeform 1">
            <a:extLst>
              <a:ext uri="{FF2B5EF4-FFF2-40B4-BE49-F238E27FC236}">
                <a16:creationId xmlns:a16="http://schemas.microsoft.com/office/drawing/2014/main" xmlns="" id="{7B5E45DC-8EFB-4828-93D8-06E42AB0C3E9}"/>
              </a:ext>
            </a:extLst>
          </p:cNvPr>
          <p:cNvSpPr>
            <a:spLocks noChangeArrowheads="1"/>
          </p:cNvSpPr>
          <p:nvPr/>
        </p:nvSpPr>
        <p:spPr bwMode="auto">
          <a:xfrm>
            <a:off x="6119865" y="2653116"/>
            <a:ext cx="2403226" cy="2403226"/>
          </a:xfrm>
          <a:custGeom>
            <a:avLst/>
            <a:gdLst>
              <a:gd name="connsiteX0" fmla="*/ 4140761 w 8280215"/>
              <a:gd name="connsiteY0" fmla="*/ 3562934 h 8280217"/>
              <a:gd name="connsiteX1" fmla="*/ 4737444 w 8280215"/>
              <a:gd name="connsiteY1" fmla="*/ 4160270 h 8280217"/>
              <a:gd name="connsiteX2" fmla="*/ 4140761 w 8280215"/>
              <a:gd name="connsiteY2" fmla="*/ 4757606 h 8280217"/>
              <a:gd name="connsiteX3" fmla="*/ 3542772 w 8280215"/>
              <a:gd name="connsiteY3" fmla="*/ 4160270 h 8280217"/>
              <a:gd name="connsiteX4" fmla="*/ 4140761 w 8280215"/>
              <a:gd name="connsiteY4" fmla="*/ 3562934 h 8280217"/>
              <a:gd name="connsiteX5" fmla="*/ 4140761 w 8280215"/>
              <a:gd name="connsiteY5" fmla="*/ 2949871 h 8280217"/>
              <a:gd name="connsiteX6" fmla="*/ 2952207 w 8280215"/>
              <a:gd name="connsiteY6" fmla="*/ 4137555 h 8280217"/>
              <a:gd name="connsiteX7" fmla="*/ 4140761 w 8280215"/>
              <a:gd name="connsiteY7" fmla="*/ 5325238 h 8280217"/>
              <a:gd name="connsiteX8" fmla="*/ 5328009 w 8280215"/>
              <a:gd name="connsiteY8" fmla="*/ 4137555 h 8280217"/>
              <a:gd name="connsiteX9" fmla="*/ 4140761 w 8280215"/>
              <a:gd name="connsiteY9" fmla="*/ 2949871 h 8280217"/>
              <a:gd name="connsiteX10" fmla="*/ 4140761 w 8280215"/>
              <a:gd name="connsiteY10" fmla="*/ 2358968 h 8280217"/>
              <a:gd name="connsiteX11" fmla="*/ 5918368 w 8280215"/>
              <a:gd name="connsiteY11" fmla="*/ 4137555 h 8280217"/>
              <a:gd name="connsiteX12" fmla="*/ 4140761 w 8280215"/>
              <a:gd name="connsiteY12" fmla="*/ 5915488 h 8280217"/>
              <a:gd name="connsiteX13" fmla="*/ 2361848 w 8280215"/>
              <a:gd name="connsiteY13" fmla="*/ 4137555 h 8280217"/>
              <a:gd name="connsiteX14" fmla="*/ 4140761 w 8280215"/>
              <a:gd name="connsiteY14" fmla="*/ 2358968 h 8280217"/>
              <a:gd name="connsiteX15" fmla="*/ 4140434 w 8280215"/>
              <a:gd name="connsiteY15" fmla="*/ 1770736 h 8280217"/>
              <a:gd name="connsiteX16" fmla="*/ 1771259 w 8280215"/>
              <a:gd name="connsiteY16" fmla="*/ 4140435 h 8280217"/>
              <a:gd name="connsiteX17" fmla="*/ 4140434 w 8280215"/>
              <a:gd name="connsiteY17" fmla="*/ 6509481 h 8280217"/>
              <a:gd name="connsiteX18" fmla="*/ 6508304 w 8280215"/>
              <a:gd name="connsiteY18" fmla="*/ 4140435 h 8280217"/>
              <a:gd name="connsiteX19" fmla="*/ 4140434 w 8280215"/>
              <a:gd name="connsiteY19" fmla="*/ 1770736 h 8280217"/>
              <a:gd name="connsiteX20" fmla="*/ 4140434 w 8280215"/>
              <a:gd name="connsiteY20" fmla="*/ 1180924 h 8280217"/>
              <a:gd name="connsiteX21" fmla="*/ 7099292 w 8280215"/>
              <a:gd name="connsiteY21" fmla="*/ 4140435 h 8280217"/>
              <a:gd name="connsiteX22" fmla="*/ 4140434 w 8280215"/>
              <a:gd name="connsiteY22" fmla="*/ 7099293 h 8280217"/>
              <a:gd name="connsiteX23" fmla="*/ 1180924 w 8280215"/>
              <a:gd name="connsiteY23" fmla="*/ 4140435 h 8280217"/>
              <a:gd name="connsiteX24" fmla="*/ 4140434 w 8280215"/>
              <a:gd name="connsiteY24" fmla="*/ 1180924 h 8280217"/>
              <a:gd name="connsiteX25" fmla="*/ 4140760 w 8280215"/>
              <a:gd name="connsiteY25" fmla="*/ 590418 h 8280217"/>
              <a:gd name="connsiteX26" fmla="*/ 589764 w 8280215"/>
              <a:gd name="connsiteY26" fmla="*/ 4140109 h 8280217"/>
              <a:gd name="connsiteX27" fmla="*/ 4140760 w 8280215"/>
              <a:gd name="connsiteY27" fmla="*/ 7689799 h 8280217"/>
              <a:gd name="connsiteX28" fmla="*/ 7689798 w 8280215"/>
              <a:gd name="connsiteY28" fmla="*/ 4140109 h 8280217"/>
              <a:gd name="connsiteX29" fmla="*/ 4140760 w 8280215"/>
              <a:gd name="connsiteY29" fmla="*/ 590418 h 8280217"/>
              <a:gd name="connsiteX30" fmla="*/ 4140760 w 8280215"/>
              <a:gd name="connsiteY30" fmla="*/ 0 h 8280217"/>
              <a:gd name="connsiteX31" fmla="*/ 8280215 w 8280215"/>
              <a:gd name="connsiteY31" fmla="*/ 4140109 h 8280217"/>
              <a:gd name="connsiteX32" fmla="*/ 4140760 w 8280215"/>
              <a:gd name="connsiteY32" fmla="*/ 8280217 h 8280217"/>
              <a:gd name="connsiteX33" fmla="*/ 0 w 8280215"/>
              <a:gd name="connsiteY33" fmla="*/ 4140109 h 8280217"/>
              <a:gd name="connsiteX34" fmla="*/ 4140760 w 8280215"/>
              <a:gd name="connsiteY34" fmla="*/ 0 h 828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80215" h="8280217">
                <a:moveTo>
                  <a:pt x="4140761" y="3562934"/>
                </a:moveTo>
                <a:cubicBezTo>
                  <a:pt x="4469785" y="3562934"/>
                  <a:pt x="4737444" y="3830593"/>
                  <a:pt x="4737444" y="4160270"/>
                </a:cubicBezTo>
                <a:cubicBezTo>
                  <a:pt x="4737444" y="4489948"/>
                  <a:pt x="4469785" y="4757606"/>
                  <a:pt x="4140761" y="4757606"/>
                </a:cubicBezTo>
                <a:cubicBezTo>
                  <a:pt x="3810431" y="4757606"/>
                  <a:pt x="3542772" y="4489948"/>
                  <a:pt x="3542772" y="4160270"/>
                </a:cubicBezTo>
                <a:cubicBezTo>
                  <a:pt x="3542772" y="3830593"/>
                  <a:pt x="3810431" y="3562934"/>
                  <a:pt x="4140761" y="3562934"/>
                </a:cubicBezTo>
                <a:close/>
                <a:moveTo>
                  <a:pt x="4140761" y="2949871"/>
                </a:moveTo>
                <a:cubicBezTo>
                  <a:pt x="3485097" y="2949871"/>
                  <a:pt x="2952207" y="3482011"/>
                  <a:pt x="2952207" y="4137555"/>
                </a:cubicBezTo>
                <a:cubicBezTo>
                  <a:pt x="2952207" y="4791792"/>
                  <a:pt x="3485097" y="5325238"/>
                  <a:pt x="4140761" y="5325238"/>
                </a:cubicBezTo>
                <a:cubicBezTo>
                  <a:pt x="4795119" y="5325238"/>
                  <a:pt x="5328009" y="4791792"/>
                  <a:pt x="5328009" y="4137555"/>
                </a:cubicBezTo>
                <a:cubicBezTo>
                  <a:pt x="5328009" y="3482011"/>
                  <a:pt x="4795119" y="2949871"/>
                  <a:pt x="4140761" y="2949871"/>
                </a:cubicBezTo>
                <a:close/>
                <a:moveTo>
                  <a:pt x="4140761" y="2358968"/>
                </a:moveTo>
                <a:cubicBezTo>
                  <a:pt x="5120339" y="2358968"/>
                  <a:pt x="5918368" y="3156851"/>
                  <a:pt x="5918368" y="4137555"/>
                </a:cubicBezTo>
                <a:cubicBezTo>
                  <a:pt x="5918368" y="5117605"/>
                  <a:pt x="5120339" y="5915488"/>
                  <a:pt x="4140761" y="5915488"/>
                </a:cubicBezTo>
                <a:cubicBezTo>
                  <a:pt x="3159877" y="5915488"/>
                  <a:pt x="2361848" y="5117605"/>
                  <a:pt x="2361848" y="4137555"/>
                </a:cubicBezTo>
                <a:cubicBezTo>
                  <a:pt x="2361848" y="3156851"/>
                  <a:pt x="3159877" y="2358968"/>
                  <a:pt x="4140761" y="2358968"/>
                </a:cubicBezTo>
                <a:close/>
                <a:moveTo>
                  <a:pt x="4140434" y="1770736"/>
                </a:moveTo>
                <a:cubicBezTo>
                  <a:pt x="2833731" y="1770736"/>
                  <a:pt x="1771259" y="2834096"/>
                  <a:pt x="1771259" y="4140435"/>
                </a:cubicBezTo>
                <a:cubicBezTo>
                  <a:pt x="1771259" y="5446774"/>
                  <a:pt x="2833731" y="6509481"/>
                  <a:pt x="4140434" y="6509481"/>
                </a:cubicBezTo>
                <a:cubicBezTo>
                  <a:pt x="5445832" y="6509481"/>
                  <a:pt x="6508304" y="5446774"/>
                  <a:pt x="6508304" y="4140435"/>
                </a:cubicBezTo>
                <a:cubicBezTo>
                  <a:pt x="6508304" y="2834096"/>
                  <a:pt x="5445832" y="1770736"/>
                  <a:pt x="4140434" y="1770736"/>
                </a:cubicBezTo>
                <a:close/>
                <a:moveTo>
                  <a:pt x="4140434" y="1180924"/>
                </a:moveTo>
                <a:cubicBezTo>
                  <a:pt x="5771692" y="1180924"/>
                  <a:pt x="7099292" y="2508164"/>
                  <a:pt x="7099292" y="4140435"/>
                </a:cubicBezTo>
                <a:cubicBezTo>
                  <a:pt x="7099292" y="5772053"/>
                  <a:pt x="5771692" y="7099293"/>
                  <a:pt x="4140434" y="7099293"/>
                </a:cubicBezTo>
                <a:cubicBezTo>
                  <a:pt x="2508524" y="7099293"/>
                  <a:pt x="1180924" y="5772053"/>
                  <a:pt x="1180924" y="4140435"/>
                </a:cubicBezTo>
                <a:cubicBezTo>
                  <a:pt x="1180924" y="2508164"/>
                  <a:pt x="2508524" y="1180924"/>
                  <a:pt x="4140434" y="1180924"/>
                </a:cubicBezTo>
                <a:close/>
                <a:moveTo>
                  <a:pt x="4140760" y="590418"/>
                </a:moveTo>
                <a:cubicBezTo>
                  <a:pt x="2183370" y="590418"/>
                  <a:pt x="589764" y="2182717"/>
                  <a:pt x="589764" y="4140109"/>
                </a:cubicBezTo>
                <a:cubicBezTo>
                  <a:pt x="589764" y="6096847"/>
                  <a:pt x="2183370" y="7689799"/>
                  <a:pt x="4140760" y="7689799"/>
                </a:cubicBezTo>
                <a:cubicBezTo>
                  <a:pt x="6097498" y="7689799"/>
                  <a:pt x="7689798" y="6096847"/>
                  <a:pt x="7689798" y="4140109"/>
                </a:cubicBezTo>
                <a:cubicBezTo>
                  <a:pt x="7689798" y="2182717"/>
                  <a:pt x="6097498" y="590418"/>
                  <a:pt x="4140760" y="590418"/>
                </a:cubicBezTo>
                <a:close/>
                <a:moveTo>
                  <a:pt x="4140760" y="0"/>
                </a:moveTo>
                <a:cubicBezTo>
                  <a:pt x="6423404" y="0"/>
                  <a:pt x="8280215" y="1856811"/>
                  <a:pt x="8280215" y="4140109"/>
                </a:cubicBezTo>
                <a:cubicBezTo>
                  <a:pt x="8280215" y="6422752"/>
                  <a:pt x="6423404" y="8280217"/>
                  <a:pt x="4140760" y="8280217"/>
                </a:cubicBezTo>
                <a:cubicBezTo>
                  <a:pt x="1857464" y="8280217"/>
                  <a:pt x="0" y="6422752"/>
                  <a:pt x="0" y="4140109"/>
                </a:cubicBezTo>
                <a:cubicBezTo>
                  <a:pt x="0" y="1856811"/>
                  <a:pt x="1857464" y="0"/>
                  <a:pt x="4140760" y="0"/>
                </a:cubicBezTo>
                <a:close/>
              </a:path>
            </a:pathLst>
          </a:custGeom>
          <a:solidFill>
            <a:schemeClr val="accent5"/>
          </a:solidFill>
          <a:ln>
            <a:noFill/>
          </a:ln>
          <a:effectLst/>
        </p:spPr>
        <p:txBody>
          <a:bodyPr wrap="square" anchor="ctr">
            <a:noAutofit/>
          </a:bodyPr>
          <a:lstStyle/>
          <a:p>
            <a:endParaRPr lang="en-GB" sz="5400" dirty="0">
              <a:latin typeface="+mj-lt"/>
            </a:endParaRPr>
          </a:p>
        </p:txBody>
      </p:sp>
      <p:sp>
        <p:nvSpPr>
          <p:cNvPr id="11" name="Freeform 1">
            <a:extLst>
              <a:ext uri="{FF2B5EF4-FFF2-40B4-BE49-F238E27FC236}">
                <a16:creationId xmlns:a16="http://schemas.microsoft.com/office/drawing/2014/main" xmlns="" id="{313744A0-4F91-4640-BE1C-B7C25355ED29}"/>
              </a:ext>
            </a:extLst>
          </p:cNvPr>
          <p:cNvSpPr>
            <a:spLocks noChangeArrowheads="1"/>
          </p:cNvSpPr>
          <p:nvPr/>
        </p:nvSpPr>
        <p:spPr bwMode="auto">
          <a:xfrm>
            <a:off x="5543045" y="2663984"/>
            <a:ext cx="562608" cy="1087598"/>
          </a:xfrm>
          <a:custGeom>
            <a:avLst/>
            <a:gdLst>
              <a:gd name="T0" fmla="*/ 347 w 2969"/>
              <a:gd name="T1" fmla="*/ 5566 h 5736"/>
              <a:gd name="T2" fmla="*/ 347 w 2969"/>
              <a:gd name="T3" fmla="*/ 5566 h 5736"/>
              <a:gd name="T4" fmla="*/ 793 w 2969"/>
              <a:gd name="T5" fmla="*/ 5735 h 5736"/>
              <a:gd name="T6" fmla="*/ 793 w 2969"/>
              <a:gd name="T7" fmla="*/ 5735 h 5736"/>
              <a:gd name="T8" fmla="*/ 2968 w 2969"/>
              <a:gd name="T9" fmla="*/ 556 h 5736"/>
              <a:gd name="T10" fmla="*/ 2968 w 2969"/>
              <a:gd name="T11" fmla="*/ 556 h 5736"/>
              <a:gd name="T12" fmla="*/ 2390 w 2969"/>
              <a:gd name="T13" fmla="*/ 0 h 5736"/>
              <a:gd name="T14" fmla="*/ 2390 w 2969"/>
              <a:gd name="T15" fmla="*/ 0 h 5736"/>
              <a:gd name="T16" fmla="*/ 0 w 2969"/>
              <a:gd name="T17" fmla="*/ 5665 h 5736"/>
              <a:gd name="T18" fmla="*/ 0 w 2969"/>
              <a:gd name="T19" fmla="*/ 5665 h 5736"/>
              <a:gd name="T20" fmla="*/ 347 w 2969"/>
              <a:gd name="T21" fmla="*/ 5566 h 5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69" h="5736">
                <a:moveTo>
                  <a:pt x="347" y="5566"/>
                </a:moveTo>
                <a:lnTo>
                  <a:pt x="347" y="5566"/>
                </a:lnTo>
                <a:cubicBezTo>
                  <a:pt x="517" y="5566"/>
                  <a:pt x="672" y="5631"/>
                  <a:pt x="793" y="5735"/>
                </a:cubicBezTo>
                <a:lnTo>
                  <a:pt x="793" y="5735"/>
                </a:lnTo>
                <a:cubicBezTo>
                  <a:pt x="923" y="3754"/>
                  <a:pt x="1723" y="1953"/>
                  <a:pt x="2968" y="556"/>
                </a:cubicBezTo>
                <a:lnTo>
                  <a:pt x="2968" y="556"/>
                </a:lnTo>
                <a:cubicBezTo>
                  <a:pt x="2678" y="514"/>
                  <a:pt x="2442" y="287"/>
                  <a:pt x="2390" y="0"/>
                </a:cubicBezTo>
                <a:lnTo>
                  <a:pt x="2390" y="0"/>
                </a:lnTo>
                <a:cubicBezTo>
                  <a:pt x="974" y="1577"/>
                  <a:pt x="141" y="3553"/>
                  <a:pt x="0" y="5665"/>
                </a:cubicBezTo>
                <a:lnTo>
                  <a:pt x="0" y="5665"/>
                </a:lnTo>
                <a:cubicBezTo>
                  <a:pt x="102" y="5602"/>
                  <a:pt x="221" y="5566"/>
                  <a:pt x="347" y="5566"/>
                </a:cubicBezTo>
              </a:path>
            </a:pathLst>
          </a:custGeom>
          <a:solidFill>
            <a:schemeClr val="accent1"/>
          </a:solidFill>
          <a:ln>
            <a:noFill/>
          </a:ln>
          <a:effectLst/>
        </p:spPr>
        <p:txBody>
          <a:bodyPr wrap="none" anchor="ctr"/>
          <a:lstStyle/>
          <a:p>
            <a:endParaRPr lang="en-GB" sz="5400" dirty="0">
              <a:latin typeface="+mj-lt"/>
            </a:endParaRPr>
          </a:p>
        </p:txBody>
      </p:sp>
      <p:sp>
        <p:nvSpPr>
          <p:cNvPr id="12" name="Freeform 4">
            <a:extLst>
              <a:ext uri="{FF2B5EF4-FFF2-40B4-BE49-F238E27FC236}">
                <a16:creationId xmlns:a16="http://schemas.microsoft.com/office/drawing/2014/main" xmlns="" id="{5D96A987-C64F-456A-80C6-A16400CFF6F5}"/>
              </a:ext>
            </a:extLst>
          </p:cNvPr>
          <p:cNvSpPr>
            <a:spLocks noChangeArrowheads="1"/>
          </p:cNvSpPr>
          <p:nvPr/>
        </p:nvSpPr>
        <p:spPr bwMode="auto">
          <a:xfrm>
            <a:off x="8561736" y="2670672"/>
            <a:ext cx="556756" cy="1086762"/>
          </a:xfrm>
          <a:custGeom>
            <a:avLst/>
            <a:gdLst>
              <a:gd name="T0" fmla="*/ 2582 w 2939"/>
              <a:gd name="T1" fmla="*/ 5567 h 5731"/>
              <a:gd name="T2" fmla="*/ 2582 w 2939"/>
              <a:gd name="T3" fmla="*/ 5567 h 5731"/>
              <a:gd name="T4" fmla="*/ 2938 w 2939"/>
              <a:gd name="T5" fmla="*/ 5671 h 5731"/>
              <a:gd name="T6" fmla="*/ 2938 w 2939"/>
              <a:gd name="T7" fmla="*/ 5671 h 5731"/>
              <a:gd name="T8" fmla="*/ 576 w 2939"/>
              <a:gd name="T9" fmla="*/ 0 h 5731"/>
              <a:gd name="T10" fmla="*/ 576 w 2939"/>
              <a:gd name="T11" fmla="*/ 0 h 5731"/>
              <a:gd name="T12" fmla="*/ 0 w 2939"/>
              <a:gd name="T13" fmla="*/ 557 h 5731"/>
              <a:gd name="T14" fmla="*/ 0 w 2939"/>
              <a:gd name="T15" fmla="*/ 557 h 5731"/>
              <a:gd name="T16" fmla="*/ 2145 w 2939"/>
              <a:gd name="T17" fmla="*/ 5730 h 5731"/>
              <a:gd name="T18" fmla="*/ 2145 w 2939"/>
              <a:gd name="T19" fmla="*/ 5730 h 5731"/>
              <a:gd name="T20" fmla="*/ 2582 w 2939"/>
              <a:gd name="T21" fmla="*/ 5567 h 5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39" h="5731">
                <a:moveTo>
                  <a:pt x="2582" y="5567"/>
                </a:moveTo>
                <a:lnTo>
                  <a:pt x="2582" y="5567"/>
                </a:lnTo>
                <a:cubicBezTo>
                  <a:pt x="2712" y="5567"/>
                  <a:pt x="2834" y="5606"/>
                  <a:pt x="2938" y="5671"/>
                </a:cubicBezTo>
                <a:lnTo>
                  <a:pt x="2938" y="5671"/>
                </a:lnTo>
                <a:cubicBezTo>
                  <a:pt x="2807" y="3560"/>
                  <a:pt x="1983" y="1581"/>
                  <a:pt x="576" y="0"/>
                </a:cubicBezTo>
                <a:lnTo>
                  <a:pt x="576" y="0"/>
                </a:lnTo>
                <a:cubicBezTo>
                  <a:pt x="524" y="287"/>
                  <a:pt x="289" y="514"/>
                  <a:pt x="0" y="557"/>
                </a:cubicBezTo>
                <a:lnTo>
                  <a:pt x="0" y="557"/>
                </a:lnTo>
                <a:cubicBezTo>
                  <a:pt x="1233" y="1956"/>
                  <a:pt x="2022" y="3753"/>
                  <a:pt x="2145" y="5730"/>
                </a:cubicBezTo>
                <a:lnTo>
                  <a:pt x="2145" y="5730"/>
                </a:lnTo>
                <a:cubicBezTo>
                  <a:pt x="2264" y="5629"/>
                  <a:pt x="2417" y="5567"/>
                  <a:pt x="2582" y="5567"/>
                </a:cubicBezTo>
              </a:path>
            </a:pathLst>
          </a:custGeom>
          <a:solidFill>
            <a:schemeClr val="accent3"/>
          </a:solidFill>
          <a:ln>
            <a:noFill/>
          </a:ln>
          <a:effectLst/>
        </p:spPr>
        <p:txBody>
          <a:bodyPr wrap="none" anchor="ctr"/>
          <a:lstStyle/>
          <a:p>
            <a:endParaRPr lang="en-GB" sz="5400" dirty="0">
              <a:latin typeface="+mj-lt"/>
            </a:endParaRPr>
          </a:p>
        </p:txBody>
      </p:sp>
      <p:sp>
        <p:nvSpPr>
          <p:cNvPr id="13" name="Freeform 5">
            <a:extLst>
              <a:ext uri="{FF2B5EF4-FFF2-40B4-BE49-F238E27FC236}">
                <a16:creationId xmlns:a16="http://schemas.microsoft.com/office/drawing/2014/main" xmlns="" id="{85D466B1-E1DD-4B3D-9957-ED8AFFDD5602}"/>
              </a:ext>
            </a:extLst>
          </p:cNvPr>
          <p:cNvSpPr>
            <a:spLocks noChangeArrowheads="1"/>
          </p:cNvSpPr>
          <p:nvPr/>
        </p:nvSpPr>
        <p:spPr bwMode="auto">
          <a:xfrm>
            <a:off x="8558393" y="3953886"/>
            <a:ext cx="560937" cy="1090106"/>
          </a:xfrm>
          <a:custGeom>
            <a:avLst/>
            <a:gdLst>
              <a:gd name="T0" fmla="*/ 0 w 2959"/>
              <a:gd name="T1" fmla="*/ 5238 h 5750"/>
              <a:gd name="T2" fmla="*/ 0 w 2959"/>
              <a:gd name="T3" fmla="*/ 5238 h 5750"/>
              <a:gd name="T4" fmla="*/ 617 w 2959"/>
              <a:gd name="T5" fmla="*/ 5749 h 5750"/>
              <a:gd name="T6" fmla="*/ 617 w 2959"/>
              <a:gd name="T7" fmla="*/ 5749 h 5750"/>
              <a:gd name="T8" fmla="*/ 2958 w 2959"/>
              <a:gd name="T9" fmla="*/ 54 h 5750"/>
              <a:gd name="T10" fmla="*/ 2958 w 2959"/>
              <a:gd name="T11" fmla="*/ 54 h 5750"/>
              <a:gd name="T12" fmla="*/ 2598 w 2959"/>
              <a:gd name="T13" fmla="*/ 160 h 5750"/>
              <a:gd name="T14" fmla="*/ 2598 w 2959"/>
              <a:gd name="T15" fmla="*/ 160 h 5750"/>
              <a:gd name="T16" fmla="*/ 2164 w 2959"/>
              <a:gd name="T17" fmla="*/ 0 h 5750"/>
              <a:gd name="T18" fmla="*/ 2164 w 2959"/>
              <a:gd name="T19" fmla="*/ 0 h 5750"/>
              <a:gd name="T20" fmla="*/ 0 w 2959"/>
              <a:gd name="T21" fmla="*/ 5238 h 5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59" h="5750">
                <a:moveTo>
                  <a:pt x="0" y="5238"/>
                </a:moveTo>
                <a:lnTo>
                  <a:pt x="0" y="5238"/>
                </a:lnTo>
                <a:cubicBezTo>
                  <a:pt x="295" y="5256"/>
                  <a:pt x="543" y="5470"/>
                  <a:pt x="617" y="5749"/>
                </a:cubicBezTo>
                <a:lnTo>
                  <a:pt x="617" y="5749"/>
                </a:lnTo>
                <a:cubicBezTo>
                  <a:pt x="2020" y="4159"/>
                  <a:pt x="2836" y="2173"/>
                  <a:pt x="2958" y="54"/>
                </a:cubicBezTo>
                <a:lnTo>
                  <a:pt x="2958" y="54"/>
                </a:lnTo>
                <a:cubicBezTo>
                  <a:pt x="2853" y="121"/>
                  <a:pt x="2729" y="160"/>
                  <a:pt x="2598" y="160"/>
                </a:cubicBezTo>
                <a:lnTo>
                  <a:pt x="2598" y="160"/>
                </a:lnTo>
                <a:cubicBezTo>
                  <a:pt x="2434" y="160"/>
                  <a:pt x="2282" y="99"/>
                  <a:pt x="2164" y="0"/>
                </a:cubicBezTo>
                <a:lnTo>
                  <a:pt x="2164" y="0"/>
                </a:lnTo>
                <a:cubicBezTo>
                  <a:pt x="2049" y="2003"/>
                  <a:pt x="1251" y="3825"/>
                  <a:pt x="0" y="5238"/>
                </a:cubicBezTo>
              </a:path>
            </a:pathLst>
          </a:custGeom>
          <a:solidFill>
            <a:schemeClr val="accent2"/>
          </a:solidFill>
          <a:ln>
            <a:noFill/>
          </a:ln>
          <a:effectLst/>
        </p:spPr>
        <p:txBody>
          <a:bodyPr wrap="none" anchor="ctr"/>
          <a:lstStyle/>
          <a:p>
            <a:endParaRPr lang="en-GB" sz="5400" dirty="0">
              <a:latin typeface="+mj-lt"/>
            </a:endParaRPr>
          </a:p>
        </p:txBody>
      </p:sp>
      <p:sp>
        <p:nvSpPr>
          <p:cNvPr id="14" name="Freeform 9">
            <a:extLst>
              <a:ext uri="{FF2B5EF4-FFF2-40B4-BE49-F238E27FC236}">
                <a16:creationId xmlns:a16="http://schemas.microsoft.com/office/drawing/2014/main" xmlns="" id="{D4517951-9D42-454E-90E5-8013AEEAABBA}"/>
              </a:ext>
            </a:extLst>
          </p:cNvPr>
          <p:cNvSpPr>
            <a:spLocks noChangeArrowheads="1"/>
          </p:cNvSpPr>
          <p:nvPr/>
        </p:nvSpPr>
        <p:spPr bwMode="auto">
          <a:xfrm>
            <a:off x="5981930" y="2511002"/>
            <a:ext cx="269182" cy="269182"/>
          </a:xfrm>
          <a:custGeom>
            <a:avLst/>
            <a:gdLst>
              <a:gd name="T0" fmla="*/ 0 w 1421"/>
              <a:gd name="T1" fmla="*/ 709 h 1421"/>
              <a:gd name="T2" fmla="*/ 710 w 1421"/>
              <a:gd name="T3" fmla="*/ 0 h 1421"/>
              <a:gd name="T4" fmla="*/ 710 w 1421"/>
              <a:gd name="T5" fmla="*/ 0 h 1421"/>
              <a:gd name="T6" fmla="*/ 710 w 1421"/>
              <a:gd name="T7" fmla="*/ 0 h 1421"/>
              <a:gd name="T8" fmla="*/ 1420 w 1421"/>
              <a:gd name="T9" fmla="*/ 709 h 1421"/>
              <a:gd name="T10" fmla="*/ 1420 w 1421"/>
              <a:gd name="T11" fmla="*/ 709 h 1421"/>
              <a:gd name="T12" fmla="*/ 1420 w 1421"/>
              <a:gd name="T13" fmla="*/ 709 h 1421"/>
              <a:gd name="T14" fmla="*/ 710 w 1421"/>
              <a:gd name="T15" fmla="*/ 1420 h 1421"/>
              <a:gd name="T16" fmla="*/ 710 w 1421"/>
              <a:gd name="T17" fmla="*/ 1420 h 1421"/>
              <a:gd name="T18" fmla="*/ 710 w 1421"/>
              <a:gd name="T19" fmla="*/ 1420 h 1421"/>
              <a:gd name="T20" fmla="*/ 0 w 1421"/>
              <a:gd name="T21" fmla="*/ 709 h 1421"/>
              <a:gd name="T22" fmla="*/ 0 w 1421"/>
              <a:gd name="T23" fmla="*/ 70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1">
                <a:moveTo>
                  <a:pt x="0" y="709"/>
                </a:moveTo>
                <a:cubicBezTo>
                  <a:pt x="0" y="318"/>
                  <a:pt x="318" y="0"/>
                  <a:pt x="710" y="0"/>
                </a:cubicBezTo>
                <a:lnTo>
                  <a:pt x="710" y="0"/>
                </a:lnTo>
                <a:lnTo>
                  <a:pt x="710" y="0"/>
                </a:lnTo>
                <a:cubicBezTo>
                  <a:pt x="1102" y="0"/>
                  <a:pt x="1420" y="318"/>
                  <a:pt x="1420" y="709"/>
                </a:cubicBezTo>
                <a:lnTo>
                  <a:pt x="1420" y="709"/>
                </a:lnTo>
                <a:lnTo>
                  <a:pt x="1420" y="709"/>
                </a:lnTo>
                <a:cubicBezTo>
                  <a:pt x="1420" y="1102"/>
                  <a:pt x="1102" y="1420"/>
                  <a:pt x="710" y="1420"/>
                </a:cubicBezTo>
                <a:lnTo>
                  <a:pt x="710" y="1420"/>
                </a:lnTo>
                <a:lnTo>
                  <a:pt x="710" y="1420"/>
                </a:lnTo>
                <a:cubicBezTo>
                  <a:pt x="318" y="1420"/>
                  <a:pt x="0" y="1102"/>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5" name="Freeform 10">
            <a:extLst>
              <a:ext uri="{FF2B5EF4-FFF2-40B4-BE49-F238E27FC236}">
                <a16:creationId xmlns:a16="http://schemas.microsoft.com/office/drawing/2014/main" xmlns="" id="{99837C0B-0C0A-482F-80D7-3D9036F343BF}"/>
              </a:ext>
            </a:extLst>
          </p:cNvPr>
          <p:cNvSpPr>
            <a:spLocks noChangeArrowheads="1"/>
          </p:cNvSpPr>
          <p:nvPr/>
        </p:nvSpPr>
        <p:spPr bwMode="auto">
          <a:xfrm>
            <a:off x="5473660" y="3718980"/>
            <a:ext cx="269182" cy="269182"/>
          </a:xfrm>
          <a:custGeom>
            <a:avLst/>
            <a:gdLst>
              <a:gd name="T0" fmla="*/ 0 w 1422"/>
              <a:gd name="T1" fmla="*/ 711 h 1421"/>
              <a:gd name="T2" fmla="*/ 710 w 1422"/>
              <a:gd name="T3" fmla="*/ 0 h 1421"/>
              <a:gd name="T4" fmla="*/ 710 w 1422"/>
              <a:gd name="T5" fmla="*/ 0 h 1421"/>
              <a:gd name="T6" fmla="*/ 710 w 1422"/>
              <a:gd name="T7" fmla="*/ 0 h 1421"/>
              <a:gd name="T8" fmla="*/ 1421 w 1422"/>
              <a:gd name="T9" fmla="*/ 711 h 1421"/>
              <a:gd name="T10" fmla="*/ 1421 w 1422"/>
              <a:gd name="T11" fmla="*/ 711 h 1421"/>
              <a:gd name="T12" fmla="*/ 1421 w 1422"/>
              <a:gd name="T13" fmla="*/ 711 h 1421"/>
              <a:gd name="T14" fmla="*/ 710 w 1422"/>
              <a:gd name="T15" fmla="*/ 1420 h 1421"/>
              <a:gd name="T16" fmla="*/ 710 w 1422"/>
              <a:gd name="T17" fmla="*/ 1420 h 1421"/>
              <a:gd name="T18" fmla="*/ 710 w 1422"/>
              <a:gd name="T19" fmla="*/ 1420 h 1421"/>
              <a:gd name="T20" fmla="*/ 0 w 1422"/>
              <a:gd name="T21" fmla="*/ 711 h 1421"/>
              <a:gd name="T22" fmla="*/ 0 w 1422"/>
              <a:gd name="T23" fmla="*/ 71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1">
                <a:moveTo>
                  <a:pt x="0" y="711"/>
                </a:moveTo>
                <a:cubicBezTo>
                  <a:pt x="0" y="319"/>
                  <a:pt x="318" y="0"/>
                  <a:pt x="710" y="0"/>
                </a:cubicBezTo>
                <a:lnTo>
                  <a:pt x="710" y="0"/>
                </a:lnTo>
                <a:lnTo>
                  <a:pt x="710" y="0"/>
                </a:lnTo>
                <a:cubicBezTo>
                  <a:pt x="1103" y="0"/>
                  <a:pt x="1421" y="319"/>
                  <a:pt x="1421" y="711"/>
                </a:cubicBezTo>
                <a:lnTo>
                  <a:pt x="1421" y="711"/>
                </a:lnTo>
                <a:lnTo>
                  <a:pt x="1421" y="711"/>
                </a:lnTo>
                <a:cubicBezTo>
                  <a:pt x="1421" y="1102"/>
                  <a:pt x="1103" y="1420"/>
                  <a:pt x="710" y="1420"/>
                </a:cubicBezTo>
                <a:lnTo>
                  <a:pt x="710" y="1420"/>
                </a:lnTo>
                <a:lnTo>
                  <a:pt x="710" y="1420"/>
                </a:lnTo>
                <a:cubicBezTo>
                  <a:pt x="318" y="1420"/>
                  <a:pt x="0" y="1102"/>
                  <a:pt x="0" y="711"/>
                </a:cubicBezTo>
                <a:lnTo>
                  <a:pt x="0" y="711"/>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6" name="Freeform 11">
            <a:extLst>
              <a:ext uri="{FF2B5EF4-FFF2-40B4-BE49-F238E27FC236}">
                <a16:creationId xmlns:a16="http://schemas.microsoft.com/office/drawing/2014/main" xmlns="" id="{A537081B-F661-4F86-9E01-EE41B5934D66}"/>
              </a:ext>
            </a:extLst>
          </p:cNvPr>
          <p:cNvSpPr>
            <a:spLocks noChangeArrowheads="1"/>
          </p:cNvSpPr>
          <p:nvPr/>
        </p:nvSpPr>
        <p:spPr bwMode="auto">
          <a:xfrm>
            <a:off x="5981930" y="4938661"/>
            <a:ext cx="269182" cy="269182"/>
          </a:xfrm>
          <a:custGeom>
            <a:avLst/>
            <a:gdLst>
              <a:gd name="T0" fmla="*/ 0 w 1421"/>
              <a:gd name="T1" fmla="*/ 710 h 1422"/>
              <a:gd name="T2" fmla="*/ 710 w 1421"/>
              <a:gd name="T3" fmla="*/ 0 h 1422"/>
              <a:gd name="T4" fmla="*/ 710 w 1421"/>
              <a:gd name="T5" fmla="*/ 0 h 1422"/>
              <a:gd name="T6" fmla="*/ 710 w 1421"/>
              <a:gd name="T7" fmla="*/ 0 h 1422"/>
              <a:gd name="T8" fmla="*/ 1420 w 1421"/>
              <a:gd name="T9" fmla="*/ 710 h 1422"/>
              <a:gd name="T10" fmla="*/ 1420 w 1421"/>
              <a:gd name="T11" fmla="*/ 710 h 1422"/>
              <a:gd name="T12" fmla="*/ 1420 w 1421"/>
              <a:gd name="T13" fmla="*/ 710 h 1422"/>
              <a:gd name="T14" fmla="*/ 710 w 1421"/>
              <a:gd name="T15" fmla="*/ 1421 h 1422"/>
              <a:gd name="T16" fmla="*/ 710 w 1421"/>
              <a:gd name="T17" fmla="*/ 1421 h 1422"/>
              <a:gd name="T18" fmla="*/ 710 w 1421"/>
              <a:gd name="T19" fmla="*/ 1421 h 1422"/>
              <a:gd name="T20" fmla="*/ 0 w 1421"/>
              <a:gd name="T21" fmla="*/ 710 h 1422"/>
              <a:gd name="T22" fmla="*/ 0 w 1421"/>
              <a:gd name="T23" fmla="*/ 71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2">
                <a:moveTo>
                  <a:pt x="0" y="710"/>
                </a:moveTo>
                <a:cubicBezTo>
                  <a:pt x="0" y="318"/>
                  <a:pt x="318" y="0"/>
                  <a:pt x="710" y="0"/>
                </a:cubicBezTo>
                <a:lnTo>
                  <a:pt x="710" y="0"/>
                </a:lnTo>
                <a:lnTo>
                  <a:pt x="710" y="0"/>
                </a:lnTo>
                <a:cubicBezTo>
                  <a:pt x="1102" y="0"/>
                  <a:pt x="1420" y="318"/>
                  <a:pt x="1420" y="710"/>
                </a:cubicBezTo>
                <a:lnTo>
                  <a:pt x="1420" y="710"/>
                </a:lnTo>
                <a:lnTo>
                  <a:pt x="1420" y="710"/>
                </a:lnTo>
                <a:cubicBezTo>
                  <a:pt x="1420" y="1102"/>
                  <a:pt x="1102" y="1421"/>
                  <a:pt x="710" y="1421"/>
                </a:cubicBezTo>
                <a:lnTo>
                  <a:pt x="710" y="1421"/>
                </a:lnTo>
                <a:lnTo>
                  <a:pt x="710" y="1421"/>
                </a:lnTo>
                <a:cubicBezTo>
                  <a:pt x="318" y="1421"/>
                  <a:pt x="0" y="1102"/>
                  <a:pt x="0" y="710"/>
                </a:cubicBezTo>
                <a:lnTo>
                  <a:pt x="0" y="710"/>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7" name="Freeform 13">
            <a:extLst>
              <a:ext uri="{FF2B5EF4-FFF2-40B4-BE49-F238E27FC236}">
                <a16:creationId xmlns:a16="http://schemas.microsoft.com/office/drawing/2014/main" xmlns="" id="{77FD1867-2832-493C-AB6C-D1BC0D43F430}"/>
              </a:ext>
            </a:extLst>
          </p:cNvPr>
          <p:cNvSpPr>
            <a:spLocks noChangeArrowheads="1"/>
          </p:cNvSpPr>
          <p:nvPr/>
        </p:nvSpPr>
        <p:spPr bwMode="auto">
          <a:xfrm>
            <a:off x="8409590" y="4938661"/>
            <a:ext cx="269182" cy="269182"/>
          </a:xfrm>
          <a:custGeom>
            <a:avLst/>
            <a:gdLst>
              <a:gd name="T0" fmla="*/ 0 w 1422"/>
              <a:gd name="T1" fmla="*/ 710 h 1422"/>
              <a:gd name="T2" fmla="*/ 711 w 1422"/>
              <a:gd name="T3" fmla="*/ 0 h 1422"/>
              <a:gd name="T4" fmla="*/ 711 w 1422"/>
              <a:gd name="T5" fmla="*/ 0 h 1422"/>
              <a:gd name="T6" fmla="*/ 711 w 1422"/>
              <a:gd name="T7" fmla="*/ 0 h 1422"/>
              <a:gd name="T8" fmla="*/ 1421 w 1422"/>
              <a:gd name="T9" fmla="*/ 710 h 1422"/>
              <a:gd name="T10" fmla="*/ 1421 w 1422"/>
              <a:gd name="T11" fmla="*/ 710 h 1422"/>
              <a:gd name="T12" fmla="*/ 1421 w 1422"/>
              <a:gd name="T13" fmla="*/ 710 h 1422"/>
              <a:gd name="T14" fmla="*/ 711 w 1422"/>
              <a:gd name="T15" fmla="*/ 1421 h 1422"/>
              <a:gd name="T16" fmla="*/ 711 w 1422"/>
              <a:gd name="T17" fmla="*/ 1421 h 1422"/>
              <a:gd name="T18" fmla="*/ 711 w 1422"/>
              <a:gd name="T19" fmla="*/ 1421 h 1422"/>
              <a:gd name="T20" fmla="*/ 0 w 1422"/>
              <a:gd name="T21" fmla="*/ 710 h 1422"/>
              <a:gd name="T22" fmla="*/ 0 w 1422"/>
              <a:gd name="T23" fmla="*/ 71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2">
                <a:moveTo>
                  <a:pt x="0" y="710"/>
                </a:moveTo>
                <a:cubicBezTo>
                  <a:pt x="0" y="318"/>
                  <a:pt x="318" y="0"/>
                  <a:pt x="711" y="0"/>
                </a:cubicBezTo>
                <a:lnTo>
                  <a:pt x="711" y="0"/>
                </a:lnTo>
                <a:lnTo>
                  <a:pt x="711" y="0"/>
                </a:lnTo>
                <a:cubicBezTo>
                  <a:pt x="1103" y="0"/>
                  <a:pt x="1421" y="318"/>
                  <a:pt x="1421" y="710"/>
                </a:cubicBezTo>
                <a:lnTo>
                  <a:pt x="1421" y="710"/>
                </a:lnTo>
                <a:lnTo>
                  <a:pt x="1421" y="710"/>
                </a:lnTo>
                <a:cubicBezTo>
                  <a:pt x="1421" y="1102"/>
                  <a:pt x="1103" y="1421"/>
                  <a:pt x="711" y="1421"/>
                </a:cubicBezTo>
                <a:lnTo>
                  <a:pt x="711" y="1421"/>
                </a:lnTo>
                <a:lnTo>
                  <a:pt x="711" y="1421"/>
                </a:lnTo>
                <a:cubicBezTo>
                  <a:pt x="318" y="1421"/>
                  <a:pt x="0" y="1102"/>
                  <a:pt x="0" y="710"/>
                </a:cubicBezTo>
                <a:lnTo>
                  <a:pt x="0" y="710"/>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8" name="Freeform 14">
            <a:extLst>
              <a:ext uri="{FF2B5EF4-FFF2-40B4-BE49-F238E27FC236}">
                <a16:creationId xmlns:a16="http://schemas.microsoft.com/office/drawing/2014/main" xmlns="" id="{50DC0271-71D1-4088-B5ED-7A1AEEB75770}"/>
              </a:ext>
            </a:extLst>
          </p:cNvPr>
          <p:cNvSpPr>
            <a:spLocks noChangeArrowheads="1"/>
          </p:cNvSpPr>
          <p:nvPr/>
        </p:nvSpPr>
        <p:spPr bwMode="auto">
          <a:xfrm>
            <a:off x="8912844" y="3724831"/>
            <a:ext cx="269182" cy="269182"/>
          </a:xfrm>
          <a:custGeom>
            <a:avLst/>
            <a:gdLst>
              <a:gd name="T0" fmla="*/ 0 w 1421"/>
              <a:gd name="T1" fmla="*/ 709 h 1420"/>
              <a:gd name="T2" fmla="*/ 710 w 1421"/>
              <a:gd name="T3" fmla="*/ 0 h 1420"/>
              <a:gd name="T4" fmla="*/ 710 w 1421"/>
              <a:gd name="T5" fmla="*/ 0 h 1420"/>
              <a:gd name="T6" fmla="*/ 710 w 1421"/>
              <a:gd name="T7" fmla="*/ 0 h 1420"/>
              <a:gd name="T8" fmla="*/ 1420 w 1421"/>
              <a:gd name="T9" fmla="*/ 709 h 1420"/>
              <a:gd name="T10" fmla="*/ 1420 w 1421"/>
              <a:gd name="T11" fmla="*/ 709 h 1420"/>
              <a:gd name="T12" fmla="*/ 1420 w 1421"/>
              <a:gd name="T13" fmla="*/ 709 h 1420"/>
              <a:gd name="T14" fmla="*/ 710 w 1421"/>
              <a:gd name="T15" fmla="*/ 1419 h 1420"/>
              <a:gd name="T16" fmla="*/ 710 w 1421"/>
              <a:gd name="T17" fmla="*/ 1419 h 1420"/>
              <a:gd name="T18" fmla="*/ 710 w 1421"/>
              <a:gd name="T19" fmla="*/ 1419 h 1420"/>
              <a:gd name="T20" fmla="*/ 0 w 1421"/>
              <a:gd name="T21" fmla="*/ 709 h 1420"/>
              <a:gd name="T22" fmla="*/ 0 w 1421"/>
              <a:gd name="T23" fmla="*/ 709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0">
                <a:moveTo>
                  <a:pt x="0" y="709"/>
                </a:moveTo>
                <a:cubicBezTo>
                  <a:pt x="0" y="318"/>
                  <a:pt x="318" y="0"/>
                  <a:pt x="710" y="0"/>
                </a:cubicBezTo>
                <a:lnTo>
                  <a:pt x="710" y="0"/>
                </a:lnTo>
                <a:lnTo>
                  <a:pt x="710" y="0"/>
                </a:lnTo>
                <a:cubicBezTo>
                  <a:pt x="1102" y="0"/>
                  <a:pt x="1420" y="318"/>
                  <a:pt x="1420" y="709"/>
                </a:cubicBezTo>
                <a:lnTo>
                  <a:pt x="1420" y="709"/>
                </a:lnTo>
                <a:lnTo>
                  <a:pt x="1420" y="709"/>
                </a:lnTo>
                <a:cubicBezTo>
                  <a:pt x="1420" y="1101"/>
                  <a:pt x="1102" y="1419"/>
                  <a:pt x="710" y="1419"/>
                </a:cubicBezTo>
                <a:lnTo>
                  <a:pt x="710" y="1419"/>
                </a:lnTo>
                <a:lnTo>
                  <a:pt x="710" y="1419"/>
                </a:lnTo>
                <a:cubicBezTo>
                  <a:pt x="318" y="1419"/>
                  <a:pt x="0" y="1101"/>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9" name="Freeform 15">
            <a:extLst>
              <a:ext uri="{FF2B5EF4-FFF2-40B4-BE49-F238E27FC236}">
                <a16:creationId xmlns:a16="http://schemas.microsoft.com/office/drawing/2014/main" xmlns="" id="{7C2A37BA-6C5F-431C-99EF-10CB6B2B3E0E}"/>
              </a:ext>
            </a:extLst>
          </p:cNvPr>
          <p:cNvSpPr>
            <a:spLocks noChangeArrowheads="1"/>
          </p:cNvSpPr>
          <p:nvPr/>
        </p:nvSpPr>
        <p:spPr bwMode="auto">
          <a:xfrm>
            <a:off x="8409590" y="2511002"/>
            <a:ext cx="269182" cy="269182"/>
          </a:xfrm>
          <a:custGeom>
            <a:avLst/>
            <a:gdLst>
              <a:gd name="T0" fmla="*/ 0 w 1422"/>
              <a:gd name="T1" fmla="*/ 709 h 1421"/>
              <a:gd name="T2" fmla="*/ 711 w 1422"/>
              <a:gd name="T3" fmla="*/ 0 h 1421"/>
              <a:gd name="T4" fmla="*/ 711 w 1422"/>
              <a:gd name="T5" fmla="*/ 0 h 1421"/>
              <a:gd name="T6" fmla="*/ 711 w 1422"/>
              <a:gd name="T7" fmla="*/ 0 h 1421"/>
              <a:gd name="T8" fmla="*/ 1421 w 1422"/>
              <a:gd name="T9" fmla="*/ 709 h 1421"/>
              <a:gd name="T10" fmla="*/ 1421 w 1422"/>
              <a:gd name="T11" fmla="*/ 709 h 1421"/>
              <a:gd name="T12" fmla="*/ 1421 w 1422"/>
              <a:gd name="T13" fmla="*/ 709 h 1421"/>
              <a:gd name="T14" fmla="*/ 711 w 1422"/>
              <a:gd name="T15" fmla="*/ 1420 h 1421"/>
              <a:gd name="T16" fmla="*/ 711 w 1422"/>
              <a:gd name="T17" fmla="*/ 1420 h 1421"/>
              <a:gd name="T18" fmla="*/ 711 w 1422"/>
              <a:gd name="T19" fmla="*/ 1420 h 1421"/>
              <a:gd name="T20" fmla="*/ 0 w 1422"/>
              <a:gd name="T21" fmla="*/ 709 h 1421"/>
              <a:gd name="T22" fmla="*/ 0 w 1422"/>
              <a:gd name="T23" fmla="*/ 70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1">
                <a:moveTo>
                  <a:pt x="0" y="709"/>
                </a:moveTo>
                <a:cubicBezTo>
                  <a:pt x="0" y="318"/>
                  <a:pt x="318" y="0"/>
                  <a:pt x="711" y="0"/>
                </a:cubicBezTo>
                <a:lnTo>
                  <a:pt x="711" y="0"/>
                </a:lnTo>
                <a:lnTo>
                  <a:pt x="711" y="0"/>
                </a:lnTo>
                <a:cubicBezTo>
                  <a:pt x="1103" y="0"/>
                  <a:pt x="1421" y="318"/>
                  <a:pt x="1421" y="709"/>
                </a:cubicBezTo>
                <a:lnTo>
                  <a:pt x="1421" y="709"/>
                </a:lnTo>
                <a:lnTo>
                  <a:pt x="1421" y="709"/>
                </a:lnTo>
                <a:cubicBezTo>
                  <a:pt x="1421" y="1102"/>
                  <a:pt x="1103" y="1420"/>
                  <a:pt x="711" y="1420"/>
                </a:cubicBezTo>
                <a:lnTo>
                  <a:pt x="711" y="1420"/>
                </a:lnTo>
                <a:lnTo>
                  <a:pt x="711" y="1420"/>
                </a:lnTo>
                <a:cubicBezTo>
                  <a:pt x="318" y="1420"/>
                  <a:pt x="0" y="1102"/>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20" name="Freeform 23">
            <a:extLst>
              <a:ext uri="{FF2B5EF4-FFF2-40B4-BE49-F238E27FC236}">
                <a16:creationId xmlns:a16="http://schemas.microsoft.com/office/drawing/2014/main" xmlns="" id="{68A154F5-E8FE-432D-A1A4-74B76FD71934}"/>
              </a:ext>
            </a:extLst>
          </p:cNvPr>
          <p:cNvSpPr>
            <a:spLocks noChangeArrowheads="1"/>
          </p:cNvSpPr>
          <p:nvPr/>
        </p:nvSpPr>
        <p:spPr bwMode="auto">
          <a:xfrm>
            <a:off x="5853191" y="3813445"/>
            <a:ext cx="1476324" cy="1289903"/>
          </a:xfrm>
          <a:custGeom>
            <a:avLst/>
            <a:gdLst>
              <a:gd name="T0" fmla="*/ 7786 w 7787"/>
              <a:gd name="T1" fmla="*/ 279 h 6805"/>
              <a:gd name="T2" fmla="*/ 7557 w 7787"/>
              <a:gd name="T3" fmla="*/ 0 h 6805"/>
              <a:gd name="T4" fmla="*/ 2908 w 7787"/>
              <a:gd name="T5" fmla="*/ 3829 h 6805"/>
              <a:gd name="T6" fmla="*/ 2250 w 7787"/>
              <a:gd name="T7" fmla="*/ 3551 h 6805"/>
              <a:gd name="T8" fmla="*/ 0 w 7787"/>
              <a:gd name="T9" fmla="*/ 4953 h 6805"/>
              <a:gd name="T10" fmla="*/ 1459 w 7787"/>
              <a:gd name="T11" fmla="*/ 5022 h 6805"/>
              <a:gd name="T12" fmla="*/ 1441 w 7787"/>
              <a:gd name="T13" fmla="*/ 5038 h 6805"/>
              <a:gd name="T14" fmla="*/ 1441 w 7787"/>
              <a:gd name="T15" fmla="*/ 5038 h 6805"/>
              <a:gd name="T16" fmla="*/ 1414 w 7787"/>
              <a:gd name="T17" fmla="*/ 5066 h 6805"/>
              <a:gd name="T18" fmla="*/ 1414 w 7787"/>
              <a:gd name="T19" fmla="*/ 5066 h 6805"/>
              <a:gd name="T20" fmla="*/ 1410 w 7787"/>
              <a:gd name="T21" fmla="*/ 5071 h 6805"/>
              <a:gd name="T22" fmla="*/ 1410 w 7787"/>
              <a:gd name="T23" fmla="*/ 5071 h 6805"/>
              <a:gd name="T24" fmla="*/ 1393 w 7787"/>
              <a:gd name="T25" fmla="*/ 5098 h 6805"/>
              <a:gd name="T26" fmla="*/ 1393 w 7787"/>
              <a:gd name="T27" fmla="*/ 5098 h 6805"/>
              <a:gd name="T28" fmla="*/ 1392 w 7787"/>
              <a:gd name="T29" fmla="*/ 5101 h 6805"/>
              <a:gd name="T30" fmla="*/ 1392 w 7787"/>
              <a:gd name="T31" fmla="*/ 5101 h 6805"/>
              <a:gd name="T32" fmla="*/ 1380 w 7787"/>
              <a:gd name="T33" fmla="*/ 5134 h 6805"/>
              <a:gd name="T34" fmla="*/ 1380 w 7787"/>
              <a:gd name="T35" fmla="*/ 5134 h 6805"/>
              <a:gd name="T36" fmla="*/ 1380 w 7787"/>
              <a:gd name="T37" fmla="*/ 5134 h 6805"/>
              <a:gd name="T38" fmla="*/ 1380 w 7787"/>
              <a:gd name="T39" fmla="*/ 5134 h 6805"/>
              <a:gd name="T40" fmla="*/ 1375 w 7787"/>
              <a:gd name="T41" fmla="*/ 5172 h 6805"/>
              <a:gd name="T42" fmla="*/ 1375 w 7787"/>
              <a:gd name="T43" fmla="*/ 5172 h 6805"/>
              <a:gd name="T44" fmla="*/ 1375 w 7787"/>
              <a:gd name="T45" fmla="*/ 5172 h 6805"/>
              <a:gd name="T46" fmla="*/ 1415 w 7787"/>
              <a:gd name="T47" fmla="*/ 5292 h 6805"/>
              <a:gd name="T48" fmla="*/ 1415 w 7787"/>
              <a:gd name="T49" fmla="*/ 5292 h 6805"/>
              <a:gd name="T50" fmla="*/ 1554 w 7787"/>
              <a:gd name="T51" fmla="*/ 5357 h 6805"/>
              <a:gd name="T52" fmla="*/ 1322 w 7787"/>
              <a:gd name="T53" fmla="*/ 6804 h 6805"/>
              <a:gd name="T54" fmla="*/ 3143 w 7787"/>
              <a:gd name="T55" fmla="*/ 4878 h 6805"/>
              <a:gd name="T56" fmla="*/ 3009 w 7787"/>
              <a:gd name="T57" fmla="*/ 4215 h 6805"/>
              <a:gd name="T58" fmla="*/ 7786 w 7787"/>
              <a:gd name="T59" fmla="*/ 279 h 6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787" h="6805">
                <a:moveTo>
                  <a:pt x="7786" y="279"/>
                </a:moveTo>
                <a:lnTo>
                  <a:pt x="7557" y="0"/>
                </a:lnTo>
                <a:lnTo>
                  <a:pt x="2908" y="3829"/>
                </a:lnTo>
                <a:lnTo>
                  <a:pt x="2250" y="3551"/>
                </a:lnTo>
                <a:lnTo>
                  <a:pt x="0" y="4953"/>
                </a:lnTo>
                <a:lnTo>
                  <a:pt x="1459" y="5022"/>
                </a:lnTo>
                <a:lnTo>
                  <a:pt x="1441" y="5038"/>
                </a:lnTo>
                <a:lnTo>
                  <a:pt x="1441" y="5038"/>
                </a:lnTo>
                <a:cubicBezTo>
                  <a:pt x="1430" y="5046"/>
                  <a:pt x="1421" y="5055"/>
                  <a:pt x="1414" y="5066"/>
                </a:cubicBezTo>
                <a:lnTo>
                  <a:pt x="1414" y="5066"/>
                </a:lnTo>
                <a:cubicBezTo>
                  <a:pt x="1412" y="5067"/>
                  <a:pt x="1411" y="5069"/>
                  <a:pt x="1410" y="5071"/>
                </a:cubicBezTo>
                <a:lnTo>
                  <a:pt x="1410" y="5071"/>
                </a:lnTo>
                <a:cubicBezTo>
                  <a:pt x="1404" y="5080"/>
                  <a:pt x="1397" y="5088"/>
                  <a:pt x="1393" y="5098"/>
                </a:cubicBezTo>
                <a:lnTo>
                  <a:pt x="1393" y="5098"/>
                </a:lnTo>
                <a:cubicBezTo>
                  <a:pt x="1393" y="5100"/>
                  <a:pt x="1392" y="5100"/>
                  <a:pt x="1392" y="5101"/>
                </a:cubicBezTo>
                <a:lnTo>
                  <a:pt x="1392" y="5101"/>
                </a:lnTo>
                <a:cubicBezTo>
                  <a:pt x="1387" y="5112"/>
                  <a:pt x="1383" y="5124"/>
                  <a:pt x="1380" y="5134"/>
                </a:cubicBezTo>
                <a:lnTo>
                  <a:pt x="1380" y="5134"/>
                </a:lnTo>
                <a:lnTo>
                  <a:pt x="1380" y="5134"/>
                </a:lnTo>
                <a:lnTo>
                  <a:pt x="1380" y="5134"/>
                </a:lnTo>
                <a:cubicBezTo>
                  <a:pt x="1377" y="5148"/>
                  <a:pt x="1375" y="5159"/>
                  <a:pt x="1375" y="5172"/>
                </a:cubicBezTo>
                <a:lnTo>
                  <a:pt x="1375" y="5172"/>
                </a:lnTo>
                <a:lnTo>
                  <a:pt x="1375" y="5172"/>
                </a:lnTo>
                <a:cubicBezTo>
                  <a:pt x="1373" y="5214"/>
                  <a:pt x="1387" y="5257"/>
                  <a:pt x="1415" y="5292"/>
                </a:cubicBezTo>
                <a:lnTo>
                  <a:pt x="1415" y="5292"/>
                </a:lnTo>
                <a:cubicBezTo>
                  <a:pt x="1451" y="5336"/>
                  <a:pt x="1502" y="5357"/>
                  <a:pt x="1554" y="5357"/>
                </a:cubicBezTo>
                <a:lnTo>
                  <a:pt x="1322" y="6804"/>
                </a:lnTo>
                <a:lnTo>
                  <a:pt x="3143" y="4878"/>
                </a:lnTo>
                <a:lnTo>
                  <a:pt x="3009" y="4215"/>
                </a:lnTo>
                <a:lnTo>
                  <a:pt x="7786" y="279"/>
                </a:lnTo>
              </a:path>
            </a:pathLst>
          </a:custGeom>
          <a:solidFill>
            <a:schemeClr val="accent6">
              <a:alpha val="60000"/>
            </a:schemeClr>
          </a:solidFill>
          <a:ln>
            <a:noFill/>
          </a:ln>
          <a:effectLst/>
        </p:spPr>
        <p:txBody>
          <a:bodyPr wrap="none" anchor="ctr"/>
          <a:lstStyle/>
          <a:p>
            <a:endParaRPr lang="en-GB" sz="5400" dirty="0">
              <a:latin typeface="+mj-lt"/>
            </a:endParaRPr>
          </a:p>
        </p:txBody>
      </p:sp>
      <p:sp>
        <p:nvSpPr>
          <p:cNvPr id="21" name="Freeform 24">
            <a:extLst>
              <a:ext uri="{FF2B5EF4-FFF2-40B4-BE49-F238E27FC236}">
                <a16:creationId xmlns:a16="http://schemas.microsoft.com/office/drawing/2014/main" xmlns="" id="{A2552EE8-9B9E-4878-9C63-E0BDB9102157}"/>
              </a:ext>
            </a:extLst>
          </p:cNvPr>
          <p:cNvSpPr>
            <a:spLocks noChangeArrowheads="1"/>
          </p:cNvSpPr>
          <p:nvPr/>
        </p:nvSpPr>
        <p:spPr bwMode="auto">
          <a:xfrm>
            <a:off x="6123210" y="2859601"/>
            <a:ext cx="1225533" cy="1019884"/>
          </a:xfrm>
          <a:custGeom>
            <a:avLst/>
            <a:gdLst>
              <a:gd name="T0" fmla="*/ 6432 w 6463"/>
              <a:gd name="T1" fmla="*/ 5101 h 5380"/>
              <a:gd name="T2" fmla="*/ 318 w 6463"/>
              <a:gd name="T3" fmla="*/ 62 h 5380"/>
              <a:gd name="T4" fmla="*/ 318 w 6463"/>
              <a:gd name="T5" fmla="*/ 62 h 5380"/>
              <a:gd name="T6" fmla="*/ 63 w 6463"/>
              <a:gd name="T7" fmla="*/ 88 h 5380"/>
              <a:gd name="T8" fmla="*/ 63 w 6463"/>
              <a:gd name="T9" fmla="*/ 88 h 5380"/>
              <a:gd name="T10" fmla="*/ 89 w 6463"/>
              <a:gd name="T11" fmla="*/ 342 h 5380"/>
              <a:gd name="T12" fmla="*/ 6205 w 6463"/>
              <a:gd name="T13" fmla="*/ 5379 h 5380"/>
              <a:gd name="T14" fmla="*/ 6205 w 6463"/>
              <a:gd name="T15" fmla="*/ 5379 h 5380"/>
              <a:gd name="T16" fmla="*/ 6384 w 6463"/>
              <a:gd name="T17" fmla="*/ 5280 h 5380"/>
              <a:gd name="T18" fmla="*/ 6384 w 6463"/>
              <a:gd name="T19" fmla="*/ 5280 h 5380"/>
              <a:gd name="T20" fmla="*/ 6432 w 6463"/>
              <a:gd name="T21" fmla="*/ 5101 h 5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63" h="5380">
                <a:moveTo>
                  <a:pt x="6432" y="5101"/>
                </a:moveTo>
                <a:lnTo>
                  <a:pt x="318" y="62"/>
                </a:lnTo>
                <a:lnTo>
                  <a:pt x="318" y="62"/>
                </a:lnTo>
                <a:cubicBezTo>
                  <a:pt x="240" y="0"/>
                  <a:pt x="126" y="10"/>
                  <a:pt x="63" y="88"/>
                </a:cubicBezTo>
                <a:lnTo>
                  <a:pt x="63" y="88"/>
                </a:lnTo>
                <a:cubicBezTo>
                  <a:pt x="0" y="165"/>
                  <a:pt x="11" y="279"/>
                  <a:pt x="89" y="342"/>
                </a:cubicBezTo>
                <a:lnTo>
                  <a:pt x="6205" y="5379"/>
                </a:lnTo>
                <a:lnTo>
                  <a:pt x="6205" y="5379"/>
                </a:lnTo>
                <a:cubicBezTo>
                  <a:pt x="6205" y="5379"/>
                  <a:pt x="6306" y="5376"/>
                  <a:pt x="6384" y="5280"/>
                </a:cubicBezTo>
                <a:lnTo>
                  <a:pt x="6384" y="5280"/>
                </a:lnTo>
                <a:cubicBezTo>
                  <a:pt x="6462" y="5184"/>
                  <a:pt x="6432" y="5101"/>
                  <a:pt x="6432" y="5101"/>
                </a:cubicBezTo>
              </a:path>
            </a:pathLst>
          </a:custGeom>
          <a:solidFill>
            <a:srgbClr val="A67C5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5400" dirty="0">
              <a:latin typeface="+mj-lt"/>
            </a:endParaRPr>
          </a:p>
        </p:txBody>
      </p:sp>
      <p:sp>
        <p:nvSpPr>
          <p:cNvPr id="22" name="Freeform 19">
            <a:extLst>
              <a:ext uri="{FF2B5EF4-FFF2-40B4-BE49-F238E27FC236}">
                <a16:creationId xmlns:a16="http://schemas.microsoft.com/office/drawing/2014/main" xmlns="" id="{256BA2B1-C5FC-452D-863E-CB6D8110E81A}"/>
              </a:ext>
            </a:extLst>
          </p:cNvPr>
          <p:cNvSpPr>
            <a:spLocks noChangeArrowheads="1"/>
          </p:cNvSpPr>
          <p:nvPr/>
        </p:nvSpPr>
        <p:spPr bwMode="auto">
          <a:xfrm>
            <a:off x="5867403" y="2603789"/>
            <a:ext cx="622609" cy="602550"/>
          </a:xfrm>
          <a:custGeom>
            <a:avLst/>
            <a:gdLst>
              <a:gd name="connsiteX0" fmla="*/ 951939 w 2145172"/>
              <a:gd name="connsiteY0" fmla="*/ 1114692 h 2076060"/>
              <a:gd name="connsiteX1" fmla="*/ 1903226 w 2145172"/>
              <a:gd name="connsiteY1" fmla="*/ 1891885 h 2076060"/>
              <a:gd name="connsiteX2" fmla="*/ 1467737 w 2145172"/>
              <a:gd name="connsiteY2" fmla="*/ 2076060 h 2076060"/>
              <a:gd name="connsiteX3" fmla="*/ 0 w 2145172"/>
              <a:gd name="connsiteY3" fmla="*/ 1159756 h 2076060"/>
              <a:gd name="connsiteX4" fmla="*/ 956260 w 2145172"/>
              <a:gd name="connsiteY4" fmla="*/ 0 h 2076060"/>
              <a:gd name="connsiteX5" fmla="*/ 2145172 w 2145172"/>
              <a:gd name="connsiteY5" fmla="*/ 1258315 h 2076060"/>
              <a:gd name="connsiteX6" fmla="*/ 2051207 w 2145172"/>
              <a:gd name="connsiteY6" fmla="*/ 1721768 h 2076060"/>
              <a:gd name="connsiteX7" fmla="*/ 1101122 w 2145172"/>
              <a:gd name="connsiteY7" fmla="*/ 943246 h 207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172" h="2076060">
                <a:moveTo>
                  <a:pt x="951939" y="1114692"/>
                </a:moveTo>
                <a:lnTo>
                  <a:pt x="1903226" y="1891885"/>
                </a:lnTo>
                <a:lnTo>
                  <a:pt x="1467737" y="2076060"/>
                </a:lnTo>
                <a:lnTo>
                  <a:pt x="0" y="1159756"/>
                </a:lnTo>
                <a:close/>
                <a:moveTo>
                  <a:pt x="956260" y="0"/>
                </a:moveTo>
                <a:lnTo>
                  <a:pt x="2145172" y="1258315"/>
                </a:lnTo>
                <a:lnTo>
                  <a:pt x="2051207" y="1721768"/>
                </a:lnTo>
                <a:lnTo>
                  <a:pt x="1101122" y="943246"/>
                </a:lnTo>
                <a:close/>
              </a:path>
            </a:pathLst>
          </a:custGeom>
          <a:solidFill>
            <a:schemeClr val="accent5">
              <a:lumMod val="60000"/>
              <a:lumOff val="40000"/>
            </a:schemeClr>
          </a:solidFill>
          <a:ln>
            <a:noFill/>
          </a:ln>
          <a:effectLst/>
        </p:spPr>
        <p:txBody>
          <a:bodyPr wrap="square" anchor="ctr">
            <a:noAutofit/>
          </a:bodyPr>
          <a:lstStyle/>
          <a:p>
            <a:endParaRPr lang="en-GB" sz="5400" dirty="0">
              <a:latin typeface="+mj-lt"/>
            </a:endParaRPr>
          </a:p>
        </p:txBody>
      </p:sp>
      <p:sp>
        <p:nvSpPr>
          <p:cNvPr id="28" name="Subtitle 2">
            <a:extLst>
              <a:ext uri="{FF2B5EF4-FFF2-40B4-BE49-F238E27FC236}">
                <a16:creationId xmlns:a16="http://schemas.microsoft.com/office/drawing/2014/main" xmlns="" id="{0DE3AD2B-9117-4DBA-9198-3C73FFF53E49}"/>
              </a:ext>
            </a:extLst>
          </p:cNvPr>
          <p:cNvSpPr txBox="1">
            <a:spLocks/>
          </p:cNvSpPr>
          <p:nvPr/>
        </p:nvSpPr>
        <p:spPr>
          <a:xfrm>
            <a:off x="9392603" y="2120059"/>
            <a:ext cx="2309539" cy="340636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La declaración de la misión está orientada al futuro y, por lo tanto, debe comprobarse su coherencia en cuanto al contenido y seguir desarrollándose con las partes interesadas en el curso del proceso de reestructuración sobre la base de los conocimientos adquiridos</a:t>
            </a:r>
            <a:endParaRPr lang="en-US" sz="2800" dirty="0">
              <a:solidFill>
                <a:srgbClr val="245473"/>
              </a:solidFill>
            </a:endParaRPr>
          </a:p>
        </p:txBody>
      </p:sp>
      <p:sp>
        <p:nvSpPr>
          <p:cNvPr id="30" name="Subtitle 2">
            <a:extLst>
              <a:ext uri="{FF2B5EF4-FFF2-40B4-BE49-F238E27FC236}">
                <a16:creationId xmlns:a16="http://schemas.microsoft.com/office/drawing/2014/main" xmlns="" id="{2C82B87E-962C-4EE5-93AA-C26A29CCA8E9}"/>
              </a:ext>
            </a:extLst>
          </p:cNvPr>
          <p:cNvSpPr txBox="1">
            <a:spLocks/>
          </p:cNvSpPr>
          <p:nvPr/>
        </p:nvSpPr>
        <p:spPr>
          <a:xfrm>
            <a:off x="3238690" y="4915796"/>
            <a:ext cx="2090722" cy="146737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or tanto, la declaración de intenciones también incluye un modelo de negocio viable y sostenible</a:t>
            </a:r>
            <a:endParaRPr lang="en-US" sz="2800" dirty="0">
              <a:solidFill>
                <a:srgbClr val="245473"/>
              </a:solidFill>
            </a:endParaRPr>
          </a:p>
        </p:txBody>
      </p:sp>
      <p:sp>
        <p:nvSpPr>
          <p:cNvPr id="33" name="Subtitle 2">
            <a:extLst>
              <a:ext uri="{FF2B5EF4-FFF2-40B4-BE49-F238E27FC236}">
                <a16:creationId xmlns:a16="http://schemas.microsoft.com/office/drawing/2014/main" xmlns="" id="{4E47BE71-C20B-4078-BE15-0711F414BD88}"/>
              </a:ext>
            </a:extLst>
          </p:cNvPr>
          <p:cNvSpPr txBox="1">
            <a:spLocks/>
          </p:cNvSpPr>
          <p:nvPr/>
        </p:nvSpPr>
        <p:spPr>
          <a:xfrm>
            <a:off x="3183693" y="1843478"/>
            <a:ext cx="2090722" cy="285236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La declaración de misión sirve para identificar las medidas de reestructuración necesarias para posicionar con éxito la empresa con su gama de servicios en la competencia</a:t>
            </a:r>
            <a:endParaRPr lang="en-US" sz="2800" dirty="0">
              <a:solidFill>
                <a:srgbClr val="245473"/>
              </a:solidFill>
            </a:endParaRPr>
          </a:p>
        </p:txBody>
      </p:sp>
    </p:spTree>
    <p:extLst>
      <p:ext uri="{BB962C8B-B14F-4D97-AF65-F5344CB8AC3E}">
        <p14:creationId xmlns:p14="http://schemas.microsoft.com/office/powerpoint/2010/main" val="10864664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92472" y="604981"/>
            <a:ext cx="8852375" cy="697353"/>
          </a:xfrm>
        </p:spPr>
        <p:txBody>
          <a:bodyPr>
            <a:normAutofit fontScale="92500"/>
          </a:bodyPr>
          <a:lstStyle/>
          <a:p>
            <a:r>
              <a:rPr lang="en-GB" sz="3200" dirty="0"/>
              <a:t>Contenido de los conceptos de reestructuración: Declaración de la mis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520436"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Una descripción general de la empresa y la nueva declaración de misión constituyen </a:t>
            </a:r>
            <a:br>
              <a:rPr lang="en-US" sz="2200" dirty="0">
                <a:solidFill>
                  <a:srgbClr val="245473"/>
                </a:solidFill>
                <a:latin typeface="+mj-lt"/>
                <a:ea typeface="Open Sans Light" panose="020B0306030504020204" pitchFamily="34" charset="0"/>
                <a:cs typeface="Open Sans Light" panose="020B0306030504020204" pitchFamily="34" charset="0"/>
              </a:rPr>
            </a:br>
            <a:r>
              <a:rPr lang="en-US" sz="2200" dirty="0">
                <a:solidFill>
                  <a:srgbClr val="245473"/>
                </a:solidFill>
                <a:latin typeface="+mj-lt"/>
                <a:ea typeface="Open Sans Light" panose="020B0306030504020204" pitchFamily="34" charset="0"/>
                <a:cs typeface="Open Sans Light" panose="020B0306030504020204" pitchFamily="34" charset="0"/>
              </a:rPr>
              <a:t>la base </a:t>
            </a:r>
            <a:br>
              <a:rPr lang="en-US" sz="2200" dirty="0">
                <a:solidFill>
                  <a:srgbClr val="245473"/>
                </a:solidFill>
                <a:latin typeface="+mj-lt"/>
                <a:ea typeface="Open Sans Light" panose="020B0306030504020204" pitchFamily="34" charset="0"/>
                <a:cs typeface="Open Sans Light" panose="020B0306030504020204" pitchFamily="34" charset="0"/>
              </a:rPr>
            </a:br>
            <a:r>
              <a:rPr lang="en-US" sz="2200" dirty="0">
                <a:solidFill>
                  <a:srgbClr val="245473"/>
                </a:solidFill>
                <a:latin typeface="+mj-lt"/>
                <a:ea typeface="Open Sans Light" panose="020B0306030504020204" pitchFamily="34" charset="0"/>
                <a:cs typeface="Open Sans Light" panose="020B0306030504020204" pitchFamily="34" charset="0"/>
              </a:rPr>
              <a:t>del concepto de reestructuración. </a:t>
            </a:r>
            <a:br>
              <a:rPr lang="en-US" sz="2200" dirty="0">
                <a:solidFill>
                  <a:srgbClr val="245473"/>
                </a:solidFill>
                <a:latin typeface="+mj-lt"/>
                <a:ea typeface="Open Sans Light" panose="020B0306030504020204" pitchFamily="34" charset="0"/>
                <a:cs typeface="Open Sans Light" panose="020B0306030504020204" pitchFamily="34" charset="0"/>
              </a:rPr>
            </a:br>
            <a:r>
              <a:rPr lang="en-US" sz="2200" dirty="0">
                <a:solidFill>
                  <a:srgbClr val="245473"/>
                </a:solidFill>
                <a:latin typeface="+mj-lt"/>
                <a:ea typeface="Open Sans Light" panose="020B0306030504020204" pitchFamily="34" charset="0"/>
                <a:cs typeface="Open Sans Light" panose="020B0306030504020204" pitchFamily="34" charset="0"/>
              </a:rPr>
              <a:t>Deben incluirse los siguientes elementos básicos </a:t>
            </a:r>
            <a:br>
              <a:rPr lang="en-US" sz="2200" dirty="0">
                <a:solidFill>
                  <a:srgbClr val="245473"/>
                </a:solidFill>
                <a:latin typeface="+mj-lt"/>
                <a:ea typeface="Open Sans Light" panose="020B0306030504020204" pitchFamily="34" charset="0"/>
                <a:cs typeface="Open Sans Light" panose="020B0306030504020204" pitchFamily="34" charset="0"/>
              </a:rPr>
            </a:br>
            <a:r>
              <a:rPr lang="en-US" sz="2200" dirty="0">
                <a:solidFill>
                  <a:srgbClr val="245473"/>
                </a:solidFill>
                <a:latin typeface="+mj-lt"/>
                <a:ea typeface="Open Sans Light" panose="020B0306030504020204" pitchFamily="34" charset="0"/>
                <a:cs typeface="Open Sans Light" panose="020B0306030504020204" pitchFamily="34" charset="0"/>
              </a:rPr>
              <a:t>incluir los siguientes elementos básicos:</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sp>
        <p:nvSpPr>
          <p:cNvPr id="123" name="Subtitle 2">
            <a:extLst>
              <a:ext uri="{FF2B5EF4-FFF2-40B4-BE49-F238E27FC236}">
                <a16:creationId xmlns:a16="http://schemas.microsoft.com/office/drawing/2014/main" xmlns="" id="{3D655CBB-E809-4EE7-A175-CBFD4507899E}"/>
              </a:ext>
            </a:extLst>
          </p:cNvPr>
          <p:cNvSpPr txBox="1">
            <a:spLocks/>
          </p:cNvSpPr>
          <p:nvPr/>
        </p:nvSpPr>
        <p:spPr>
          <a:xfrm>
            <a:off x="3372214" y="2655316"/>
            <a:ext cx="2366104" cy="39126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las principales áreas de negocio de la empresa con</a:t>
            </a:r>
            <a:endParaRPr lang="en-US" sz="3200" dirty="0">
              <a:solidFill>
                <a:srgbClr val="245473"/>
              </a:solidFill>
            </a:endParaRPr>
          </a:p>
          <a:p>
            <a:pPr marL="356870" lvl="1" indent="-1778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sus combinaciones de productos y mercados</a:t>
            </a:r>
          </a:p>
          <a:p>
            <a:pPr marL="356870" lvl="1" indent="-1778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la correspondiente estructura de volumen de negocios/costes</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los procesos y sistemas necesarios para ello</a:t>
            </a:r>
          </a:p>
        </p:txBody>
      </p:sp>
      <p:sp>
        <p:nvSpPr>
          <p:cNvPr id="125" name="Subtitle 2">
            <a:extLst>
              <a:ext uri="{FF2B5EF4-FFF2-40B4-BE49-F238E27FC236}">
                <a16:creationId xmlns:a16="http://schemas.microsoft.com/office/drawing/2014/main" xmlns="" id="{262C86DE-342F-4BDE-8FD0-9AD6359F3184}"/>
              </a:ext>
            </a:extLst>
          </p:cNvPr>
          <p:cNvSpPr txBox="1">
            <a:spLocks/>
          </p:cNvSpPr>
          <p:nvPr/>
        </p:nvSpPr>
        <p:spPr>
          <a:xfrm>
            <a:off x="8801829" y="2655157"/>
            <a:ext cx="3128914" cy="37464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2720" indent="-17272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os objetivos a largo plazo y las estrategias básicas de la empresa</a:t>
            </a:r>
            <a:endParaRPr lang="en-US" sz="2800" dirty="0">
              <a:solidFill>
                <a:srgbClr val="245473"/>
              </a:solidFill>
            </a:endParaRPr>
          </a:p>
          <a:p>
            <a:pPr marL="172720" indent="-17272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a posición competitiva deseada, las ventajas competitivas deseadas para el cliente</a:t>
            </a:r>
          </a:p>
          <a:p>
            <a:pPr marL="172720" indent="-17272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os valores comunes, las normas básicas y los </a:t>
            </a:r>
            <a:r>
              <a:rPr lang="en-GB" sz="1800" dirty="0" err="1">
                <a:solidFill>
                  <a:srgbClr val="245473"/>
                </a:solidFill>
                <a:latin typeface="+mj-lt"/>
                <a:ea typeface="Lato Light" panose="020F0502020204030203" pitchFamily="34" charset="0"/>
                <a:cs typeface="Mukta ExtraLight" panose="020B0000000000000000" pitchFamily="34" charset="77"/>
              </a:rPr>
              <a:t>comportamientos </a:t>
            </a:r>
            <a:r>
              <a:rPr lang="en-GB" sz="1800" dirty="0">
                <a:solidFill>
                  <a:srgbClr val="245473"/>
                </a:solidFill>
                <a:latin typeface="+mj-lt"/>
                <a:ea typeface="Lato Light" panose="020F0502020204030203" pitchFamily="34" charset="0"/>
                <a:cs typeface="Mukta ExtraLight" panose="020B0000000000000000" pitchFamily="34" charset="77"/>
              </a:rPr>
              <a:t>que, en su conjunto, constituyen el núcleo de la cultura empresarial y conforman la cooperación interna y la apariencia externa</a:t>
            </a:r>
          </a:p>
        </p:txBody>
      </p:sp>
      <p:grpSp>
        <p:nvGrpSpPr>
          <p:cNvPr id="3" name="Gruppieren 2">
            <a:extLst>
              <a:ext uri="{FF2B5EF4-FFF2-40B4-BE49-F238E27FC236}">
                <a16:creationId xmlns:a16="http://schemas.microsoft.com/office/drawing/2014/main" xmlns="" id="{FD0D4522-7BF4-40F1-BA5E-B6AB2221ABE3}"/>
              </a:ext>
            </a:extLst>
          </p:cNvPr>
          <p:cNvGrpSpPr>
            <a:grpSpLocks noChangeAspect="1"/>
          </p:cNvGrpSpPr>
          <p:nvPr/>
        </p:nvGrpSpPr>
        <p:grpSpPr>
          <a:xfrm>
            <a:off x="5835151" y="3249163"/>
            <a:ext cx="2809130" cy="2487270"/>
            <a:chOff x="5175184" y="2365771"/>
            <a:chExt cx="3626644" cy="3211117"/>
          </a:xfrm>
        </p:grpSpPr>
        <p:sp>
          <p:nvSpPr>
            <p:cNvPr id="122" name="Freeform 2">
              <a:extLst>
                <a:ext uri="{FF2B5EF4-FFF2-40B4-BE49-F238E27FC236}">
                  <a16:creationId xmlns:a16="http://schemas.microsoft.com/office/drawing/2014/main" xmlns="" id="{BC62CAB1-435C-4059-961E-6BB10117AFDF}"/>
                </a:ext>
              </a:extLst>
            </p:cNvPr>
            <p:cNvSpPr>
              <a:spLocks/>
            </p:cNvSpPr>
            <p:nvPr/>
          </p:nvSpPr>
          <p:spPr bwMode="auto">
            <a:xfrm>
              <a:off x="5359731" y="2365771"/>
              <a:ext cx="3442097" cy="2126457"/>
            </a:xfrm>
            <a:custGeom>
              <a:avLst/>
              <a:gdLst>
                <a:gd name="T0" fmla="*/ 4117 w 4961"/>
                <a:gd name="T1" fmla="*/ 2584 h 3065"/>
                <a:gd name="T2" fmla="*/ 2794 w 4961"/>
                <a:gd name="T3" fmla="*/ 2938 h 3065"/>
                <a:gd name="T4" fmla="*/ 594 w 4961"/>
                <a:gd name="T5" fmla="*/ 995 h 3065"/>
                <a:gd name="T6" fmla="*/ 419 w 4961"/>
                <a:gd name="T7" fmla="*/ 1529 h 3065"/>
                <a:gd name="T8" fmla="*/ 0 w 4961"/>
                <a:gd name="T9" fmla="*/ 1115 h 3065"/>
                <a:gd name="T10" fmla="*/ 273 w 4961"/>
                <a:gd name="T11" fmla="*/ 281 h 3065"/>
                <a:gd name="T12" fmla="*/ 1104 w 4961"/>
                <a:gd name="T13" fmla="*/ 0 h 3065"/>
                <a:gd name="T14" fmla="*/ 1523 w 4961"/>
                <a:gd name="T15" fmla="*/ 415 h 3065"/>
                <a:gd name="T16" fmla="*/ 988 w 4961"/>
                <a:gd name="T17" fmla="*/ 596 h 3065"/>
                <a:gd name="T18" fmla="*/ 2654 w 4961"/>
                <a:gd name="T19" fmla="*/ 2210 h 3065"/>
                <a:gd name="T20" fmla="*/ 3148 w 4961"/>
                <a:gd name="T21" fmla="*/ 2377 h 3065"/>
                <a:gd name="T22" fmla="*/ 3910 w 4961"/>
                <a:gd name="T23" fmla="*/ 1615 h 3065"/>
                <a:gd name="T24" fmla="*/ 3148 w 4961"/>
                <a:gd name="T25" fmla="*/ 853 h 3065"/>
                <a:gd name="T26" fmla="*/ 2386 w 4961"/>
                <a:gd name="T27" fmla="*/ 1602 h 3065"/>
                <a:gd name="T28" fmla="*/ 1861 w 4961"/>
                <a:gd name="T29" fmla="*/ 1142 h 3065"/>
                <a:gd name="T30" fmla="*/ 3148 w 4961"/>
                <a:gd name="T31" fmla="*/ 245 h 3065"/>
                <a:gd name="T32" fmla="*/ 4117 w 4961"/>
                <a:gd name="T33" fmla="*/ 2584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1" h="3065">
                  <a:moveTo>
                    <a:pt x="4117" y="2584"/>
                  </a:moveTo>
                  <a:cubicBezTo>
                    <a:pt x="3769" y="2931"/>
                    <a:pt x="3266" y="3065"/>
                    <a:pt x="2794" y="2938"/>
                  </a:cubicBezTo>
                  <a:cubicBezTo>
                    <a:pt x="2318" y="2811"/>
                    <a:pt x="1067" y="1477"/>
                    <a:pt x="594" y="995"/>
                  </a:cubicBezTo>
                  <a:cubicBezTo>
                    <a:pt x="419" y="1529"/>
                    <a:pt x="419" y="1529"/>
                    <a:pt x="419" y="1529"/>
                  </a:cubicBezTo>
                  <a:cubicBezTo>
                    <a:pt x="0" y="1115"/>
                    <a:pt x="0" y="1115"/>
                    <a:pt x="0" y="1115"/>
                  </a:cubicBezTo>
                  <a:cubicBezTo>
                    <a:pt x="273" y="281"/>
                    <a:pt x="273" y="281"/>
                    <a:pt x="273" y="281"/>
                  </a:cubicBezTo>
                  <a:cubicBezTo>
                    <a:pt x="1104" y="0"/>
                    <a:pt x="1104" y="0"/>
                    <a:pt x="1104" y="0"/>
                  </a:cubicBezTo>
                  <a:cubicBezTo>
                    <a:pt x="1523" y="415"/>
                    <a:pt x="1523" y="415"/>
                    <a:pt x="1523" y="415"/>
                  </a:cubicBezTo>
                  <a:cubicBezTo>
                    <a:pt x="988" y="596"/>
                    <a:pt x="988" y="596"/>
                    <a:pt x="988" y="596"/>
                  </a:cubicBezTo>
                  <a:cubicBezTo>
                    <a:pt x="2654" y="2210"/>
                    <a:pt x="2654" y="2210"/>
                    <a:pt x="2654" y="2210"/>
                  </a:cubicBezTo>
                  <a:cubicBezTo>
                    <a:pt x="2771" y="2314"/>
                    <a:pt x="2926" y="2377"/>
                    <a:pt x="3148" y="2377"/>
                  </a:cubicBezTo>
                  <a:cubicBezTo>
                    <a:pt x="3502" y="2377"/>
                    <a:pt x="3910" y="2036"/>
                    <a:pt x="3910" y="1615"/>
                  </a:cubicBezTo>
                  <a:cubicBezTo>
                    <a:pt x="3910" y="1194"/>
                    <a:pt x="3569" y="853"/>
                    <a:pt x="3148" y="853"/>
                  </a:cubicBezTo>
                  <a:cubicBezTo>
                    <a:pt x="2731" y="853"/>
                    <a:pt x="2393" y="1187"/>
                    <a:pt x="2386" y="1602"/>
                  </a:cubicBezTo>
                  <a:cubicBezTo>
                    <a:pt x="1861" y="1142"/>
                    <a:pt x="1861" y="1142"/>
                    <a:pt x="1861" y="1142"/>
                  </a:cubicBezTo>
                  <a:cubicBezTo>
                    <a:pt x="2058" y="607"/>
                    <a:pt x="2570" y="245"/>
                    <a:pt x="3148" y="245"/>
                  </a:cubicBezTo>
                  <a:cubicBezTo>
                    <a:pt x="4389" y="245"/>
                    <a:pt x="4961" y="1739"/>
                    <a:pt x="4117" y="258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24" name="Freeform 3">
              <a:extLst>
                <a:ext uri="{FF2B5EF4-FFF2-40B4-BE49-F238E27FC236}">
                  <a16:creationId xmlns:a16="http://schemas.microsoft.com/office/drawing/2014/main" xmlns="" id="{7764EC5B-9185-4F3C-8C02-A22E01B409C6}"/>
                </a:ext>
              </a:extLst>
            </p:cNvPr>
            <p:cNvSpPr>
              <a:spLocks/>
            </p:cNvSpPr>
            <p:nvPr/>
          </p:nvSpPr>
          <p:spPr bwMode="auto">
            <a:xfrm>
              <a:off x="5175184" y="3450431"/>
              <a:ext cx="3442097" cy="2126457"/>
            </a:xfrm>
            <a:custGeom>
              <a:avLst/>
              <a:gdLst>
                <a:gd name="T0" fmla="*/ 845 w 4962"/>
                <a:gd name="T1" fmla="*/ 481 h 3065"/>
                <a:gd name="T2" fmla="*/ 2168 w 4962"/>
                <a:gd name="T3" fmla="*/ 126 h 3065"/>
                <a:gd name="T4" fmla="*/ 4368 w 4962"/>
                <a:gd name="T5" fmla="*/ 2070 h 3065"/>
                <a:gd name="T6" fmla="*/ 4542 w 4962"/>
                <a:gd name="T7" fmla="*/ 1535 h 3065"/>
                <a:gd name="T8" fmla="*/ 4962 w 4962"/>
                <a:gd name="T9" fmla="*/ 1950 h 3065"/>
                <a:gd name="T10" fmla="*/ 4689 w 4962"/>
                <a:gd name="T11" fmla="*/ 2783 h 3065"/>
                <a:gd name="T12" fmla="*/ 3858 w 4962"/>
                <a:gd name="T13" fmla="*/ 3065 h 3065"/>
                <a:gd name="T14" fmla="*/ 3439 w 4962"/>
                <a:gd name="T15" fmla="*/ 2650 h 3065"/>
                <a:gd name="T16" fmla="*/ 3974 w 4962"/>
                <a:gd name="T17" fmla="*/ 2469 h 3065"/>
                <a:gd name="T18" fmla="*/ 2307 w 4962"/>
                <a:gd name="T19" fmla="*/ 855 h 3065"/>
                <a:gd name="T20" fmla="*/ 1814 w 4962"/>
                <a:gd name="T21" fmla="*/ 688 h 3065"/>
                <a:gd name="T22" fmla="*/ 1052 w 4962"/>
                <a:gd name="T23" fmla="*/ 1450 h 3065"/>
                <a:gd name="T24" fmla="*/ 1814 w 4962"/>
                <a:gd name="T25" fmla="*/ 2212 h 3065"/>
                <a:gd name="T26" fmla="*/ 2576 w 4962"/>
                <a:gd name="T27" fmla="*/ 1462 h 3065"/>
                <a:gd name="T28" fmla="*/ 3100 w 4962"/>
                <a:gd name="T29" fmla="*/ 1922 h 3065"/>
                <a:gd name="T30" fmla="*/ 1814 w 4962"/>
                <a:gd name="T31" fmla="*/ 2820 h 3065"/>
                <a:gd name="T32" fmla="*/ 845 w 4962"/>
                <a:gd name="T33" fmla="*/ 481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2" h="3065">
                  <a:moveTo>
                    <a:pt x="845" y="481"/>
                  </a:moveTo>
                  <a:cubicBezTo>
                    <a:pt x="1192" y="133"/>
                    <a:pt x="1696" y="0"/>
                    <a:pt x="2168" y="126"/>
                  </a:cubicBezTo>
                  <a:cubicBezTo>
                    <a:pt x="2644" y="254"/>
                    <a:pt x="3895" y="1588"/>
                    <a:pt x="4368" y="2070"/>
                  </a:cubicBezTo>
                  <a:cubicBezTo>
                    <a:pt x="4542" y="1535"/>
                    <a:pt x="4542" y="1535"/>
                    <a:pt x="4542" y="1535"/>
                  </a:cubicBezTo>
                  <a:cubicBezTo>
                    <a:pt x="4962" y="1950"/>
                    <a:pt x="4962" y="1950"/>
                    <a:pt x="4962" y="1950"/>
                  </a:cubicBezTo>
                  <a:cubicBezTo>
                    <a:pt x="4689" y="2783"/>
                    <a:pt x="4689" y="2783"/>
                    <a:pt x="4689" y="2783"/>
                  </a:cubicBezTo>
                  <a:cubicBezTo>
                    <a:pt x="3858" y="3065"/>
                    <a:pt x="3858" y="3065"/>
                    <a:pt x="3858" y="3065"/>
                  </a:cubicBezTo>
                  <a:cubicBezTo>
                    <a:pt x="3439" y="2650"/>
                    <a:pt x="3439" y="2650"/>
                    <a:pt x="3439" y="2650"/>
                  </a:cubicBezTo>
                  <a:cubicBezTo>
                    <a:pt x="3974" y="2469"/>
                    <a:pt x="3974" y="2469"/>
                    <a:pt x="3974" y="2469"/>
                  </a:cubicBezTo>
                  <a:cubicBezTo>
                    <a:pt x="2307" y="855"/>
                    <a:pt x="2307" y="855"/>
                    <a:pt x="2307" y="855"/>
                  </a:cubicBezTo>
                  <a:cubicBezTo>
                    <a:pt x="2191" y="750"/>
                    <a:pt x="2035" y="688"/>
                    <a:pt x="1814" y="688"/>
                  </a:cubicBezTo>
                  <a:cubicBezTo>
                    <a:pt x="1459" y="688"/>
                    <a:pt x="1052" y="1029"/>
                    <a:pt x="1052" y="1450"/>
                  </a:cubicBezTo>
                  <a:cubicBezTo>
                    <a:pt x="1052" y="1871"/>
                    <a:pt x="1393" y="2212"/>
                    <a:pt x="1814" y="2212"/>
                  </a:cubicBezTo>
                  <a:cubicBezTo>
                    <a:pt x="2230" y="2212"/>
                    <a:pt x="2569" y="1877"/>
                    <a:pt x="2576" y="1462"/>
                  </a:cubicBezTo>
                  <a:cubicBezTo>
                    <a:pt x="3100" y="1922"/>
                    <a:pt x="3100" y="1922"/>
                    <a:pt x="3100" y="1922"/>
                  </a:cubicBezTo>
                  <a:cubicBezTo>
                    <a:pt x="2904" y="2458"/>
                    <a:pt x="2392" y="2820"/>
                    <a:pt x="1814" y="2820"/>
                  </a:cubicBezTo>
                  <a:cubicBezTo>
                    <a:pt x="573" y="2820"/>
                    <a:pt x="0" y="1325"/>
                    <a:pt x="845" y="4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sp>
        <p:nvSpPr>
          <p:cNvPr id="128" name="TextBox 18">
            <a:extLst>
              <a:ext uri="{FF2B5EF4-FFF2-40B4-BE49-F238E27FC236}">
                <a16:creationId xmlns:a16="http://schemas.microsoft.com/office/drawing/2014/main" xmlns="" id="{BB11CE60-292A-4FF1-8DC3-1B06FC17E4E7}"/>
              </a:ext>
            </a:extLst>
          </p:cNvPr>
          <p:cNvSpPr txBox="1"/>
          <p:nvPr/>
        </p:nvSpPr>
        <p:spPr>
          <a:xfrm>
            <a:off x="7959757" y="1881136"/>
            <a:ext cx="3884397" cy="707886"/>
          </a:xfrm>
          <a:prstGeom prst="rect">
            <a:avLst/>
          </a:prstGeom>
          <a:noFill/>
        </p:spPr>
        <p:txBody>
          <a:bodyPr wrap="none" lIns="91440" tIns="45720" rIns="91440" bIns="45720" rtlCol="0" anchor="ctr" anchorCtr="0">
            <a:spAutoFit/>
          </a:bodyPr>
          <a:lstStyle/>
          <a:p>
            <a:pPr lvl="0"/>
            <a:r>
              <a:rPr lang="en-GB" sz="2000" b="1" spc="113" dirty="0">
                <a:solidFill>
                  <a:schemeClr val="accent1"/>
                </a:solidFill>
                <a:latin typeface="+mj-lt"/>
                <a:ea typeface="League Spartan" charset="0"/>
                <a:cs typeface="Poppins" pitchFamily="2" charset="77"/>
              </a:rPr>
              <a:t>Para la declaración de la misión</a:t>
            </a:r>
            <a:r>
              <a:rPr lang="en-GB" sz="2000" b="1" spc="113" dirty="0">
                <a:latin typeface="+mj-lt"/>
                <a:ea typeface="League Spartan" charset="0"/>
                <a:cs typeface="Poppins" pitchFamily="2" charset="77"/>
              </a:rPr>
              <a:t/>
            </a:r>
            <a:br>
              <a:rPr lang="en-GB" sz="2000" b="1" spc="113" dirty="0">
                <a:latin typeface="+mj-lt"/>
                <a:ea typeface="League Spartan" charset="0"/>
                <a:cs typeface="Poppins" pitchFamily="2" charset="77"/>
              </a:rPr>
            </a:br>
            <a:r>
              <a:rPr lang="en-GB" sz="2000" b="1" spc="113" dirty="0">
                <a:solidFill>
                  <a:schemeClr val="accent1"/>
                </a:solidFill>
                <a:latin typeface="+mj-lt"/>
                <a:ea typeface="League Spartan" charset="0"/>
                <a:cs typeface="Poppins" pitchFamily="2" charset="77"/>
              </a:rPr>
              <a:t>se añade información adicional:</a:t>
            </a:r>
          </a:p>
        </p:txBody>
      </p:sp>
      <p:sp>
        <p:nvSpPr>
          <p:cNvPr id="129" name="TextBox 20">
            <a:extLst>
              <a:ext uri="{FF2B5EF4-FFF2-40B4-BE49-F238E27FC236}">
                <a16:creationId xmlns:a16="http://schemas.microsoft.com/office/drawing/2014/main" xmlns="" id="{F7A12BFB-4CBB-42C0-AF3D-8C6DECC14714}"/>
              </a:ext>
            </a:extLst>
          </p:cNvPr>
          <p:cNvSpPr txBox="1"/>
          <p:nvPr/>
        </p:nvSpPr>
        <p:spPr>
          <a:xfrm>
            <a:off x="3325096" y="1975139"/>
            <a:ext cx="4242765" cy="646331"/>
          </a:xfrm>
          <a:prstGeom prst="rect">
            <a:avLst/>
          </a:prstGeom>
          <a:noFill/>
        </p:spPr>
        <p:txBody>
          <a:bodyPr wrap="none" lIns="91440" tIns="45720" rIns="91440" bIns="45720" rtlCol="0" anchor="ctr" anchorCtr="0">
            <a:spAutoFit/>
          </a:bodyPr>
          <a:lstStyle/>
          <a:p>
            <a:pPr lvl="0"/>
            <a:r>
              <a:rPr lang="en-GB" b="1" spc="113" dirty="0">
                <a:solidFill>
                  <a:schemeClr val="accent2"/>
                </a:solidFill>
                <a:latin typeface="+mj-lt"/>
                <a:ea typeface="League Spartan" charset="0"/>
                <a:cs typeface="Poppins" pitchFamily="2" charset="77"/>
              </a:rPr>
              <a:t>Como datos clave para la descripción de </a:t>
            </a:r>
            <a:r>
              <a:rPr lang="en-GB" b="1" spc="113" dirty="0">
                <a:latin typeface="+mj-lt"/>
                <a:ea typeface="League Spartan" charset="0"/>
                <a:cs typeface="Poppins" pitchFamily="2" charset="77"/>
              </a:rPr>
              <a:t/>
            </a:r>
            <a:br>
              <a:rPr lang="en-GB" b="1" spc="113" dirty="0">
                <a:latin typeface="+mj-lt"/>
                <a:ea typeface="League Spartan" charset="0"/>
                <a:cs typeface="Poppins" pitchFamily="2" charset="77"/>
              </a:rPr>
            </a:br>
            <a:r>
              <a:rPr lang="en-GB" b="1" spc="113" dirty="0">
                <a:solidFill>
                  <a:schemeClr val="accent2"/>
                </a:solidFill>
                <a:latin typeface="+mj-lt"/>
                <a:ea typeface="League Spartan" charset="0"/>
                <a:cs typeface="Poppins" pitchFamily="2" charset="77"/>
              </a:rPr>
              <a:t>el modelo de negocio se puede considerar:</a:t>
            </a:r>
          </a:p>
        </p:txBody>
      </p:sp>
    </p:spTree>
    <p:extLst>
      <p:ext uri="{BB962C8B-B14F-4D97-AF65-F5344CB8AC3E}">
        <p14:creationId xmlns:p14="http://schemas.microsoft.com/office/powerpoint/2010/main" val="2788202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77314" y="788610"/>
            <a:ext cx="8852375" cy="697353"/>
          </a:xfrm>
        </p:spPr>
        <p:txBody>
          <a:bodyPr>
            <a:normAutofit fontScale="77500" lnSpcReduction="20000"/>
          </a:bodyPr>
          <a:lstStyle/>
          <a:p>
            <a:r>
              <a:rPr lang="en-GB" dirty="0"/>
              <a:t>Contenido de los conceptos de reestructuración: Declaración de la mis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9729" y="1817090"/>
            <a:ext cx="4701690" cy="532996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9070" indent="-17907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El objetivo es lograr una rentabilidad media sostenible sobre las ventas y el coeficiente de fondos propios en línea con los estándares del sector, por lo que un "cero negro" no es suficiente.</a:t>
            </a:r>
            <a:endParaRPr lang="en-US" sz="3200" dirty="0">
              <a:solidFill>
                <a:srgbClr val="245473"/>
              </a:solidFill>
            </a:endParaRPr>
          </a:p>
          <a:p>
            <a:pPr marL="179070" indent="-17907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La declaración de intenciones perfila una empresa atractiva para los proveedores de capital y deuda en el futuro</a:t>
            </a:r>
          </a:p>
          <a:p>
            <a:pPr marL="179070" indent="-17907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También sirve para identificar las medidas correctoras adecuadas</a:t>
            </a:r>
          </a:p>
          <a:p>
            <a:pPr marL="179070" indent="-17907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Contribuye a la orientación de las distintas divisiones de la empresa y a la coordinación de los responsables de la acción</a:t>
            </a:r>
          </a:p>
          <a:p>
            <a:pPr marL="179070" indent="-17907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Tiene un efecto integrador y motivador a través de la imagen positiva del futuro</a:t>
            </a:r>
          </a:p>
          <a:p>
            <a:pPr marL="179070" indent="-179070" algn="l">
              <a:lnSpc>
                <a:spcPct val="100000"/>
              </a:lnSpc>
              <a:spcBef>
                <a:spcPts val="600"/>
              </a:spcBef>
              <a:buFont typeface="Arial" panose="020B0604020202020204" pitchFamily="34" charset="0"/>
              <a:buChar char="•"/>
            </a:pPr>
            <a:endParaRPr lang="en-GB" sz="1600" dirty="0">
              <a:latin typeface="+mj-lt"/>
              <a:ea typeface="Open Sans Light" panose="020B0306030504020204" pitchFamily="34" charset="0"/>
              <a:cs typeface="Open Sans Light" panose="020B0306030504020204" pitchFamily="34" charset="0"/>
            </a:endParaRPr>
          </a:p>
        </p:txBody>
      </p:sp>
      <p:grpSp>
        <p:nvGrpSpPr>
          <p:cNvPr id="6" name="Gruppieren 5">
            <a:extLst>
              <a:ext uri="{FF2B5EF4-FFF2-40B4-BE49-F238E27FC236}">
                <a16:creationId xmlns:a16="http://schemas.microsoft.com/office/drawing/2014/main" xmlns="" id="{B8A35022-020A-48C5-BE00-CDE4BA786E94}"/>
              </a:ext>
            </a:extLst>
          </p:cNvPr>
          <p:cNvGrpSpPr>
            <a:grpSpLocks noChangeAspect="1"/>
          </p:cNvGrpSpPr>
          <p:nvPr/>
        </p:nvGrpSpPr>
        <p:grpSpPr>
          <a:xfrm>
            <a:off x="5884397" y="2183889"/>
            <a:ext cx="3880222" cy="3941556"/>
            <a:chOff x="5276112" y="2173806"/>
            <a:chExt cx="3650714" cy="3687762"/>
          </a:xfrm>
        </p:grpSpPr>
        <p:sp>
          <p:nvSpPr>
            <p:cNvPr id="11" name="Freeform 53">
              <a:extLst>
                <a:ext uri="{FF2B5EF4-FFF2-40B4-BE49-F238E27FC236}">
                  <a16:creationId xmlns:a16="http://schemas.microsoft.com/office/drawing/2014/main" xmlns="" id="{741D24DD-AF06-497C-9A06-9F5592A4D2F5}"/>
                </a:ext>
              </a:extLst>
            </p:cNvPr>
            <p:cNvSpPr/>
            <p:nvPr/>
          </p:nvSpPr>
          <p:spPr>
            <a:xfrm>
              <a:off x="6810038" y="2284228"/>
              <a:ext cx="1917320" cy="1486415"/>
            </a:xfrm>
            <a:custGeom>
              <a:avLst/>
              <a:gdLst>
                <a:gd name="connsiteX0" fmla="*/ 1068123 w 5111523"/>
                <a:gd name="connsiteY0" fmla="*/ 0 h 3962742"/>
                <a:gd name="connsiteX1" fmla="*/ 4598550 w 5111523"/>
                <a:gd name="connsiteY1" fmla="*/ 1664939 h 3962742"/>
                <a:gd name="connsiteX2" fmla="*/ 4670437 w 5111523"/>
                <a:gd name="connsiteY2" fmla="*/ 1756416 h 3962742"/>
                <a:gd name="connsiteX3" fmla="*/ 5111523 w 5111523"/>
                <a:gd name="connsiteY3" fmla="*/ 1436197 h 3962742"/>
                <a:gd name="connsiteX4" fmla="*/ 4424950 w 5111523"/>
                <a:gd name="connsiteY4" fmla="*/ 3962742 h 3962742"/>
                <a:gd name="connsiteX5" fmla="*/ 1809996 w 5111523"/>
                <a:gd name="connsiteY5" fmla="*/ 3833035 h 3962742"/>
                <a:gd name="connsiteX6" fmla="*/ 2294796 w 5111523"/>
                <a:gd name="connsiteY6" fmla="*/ 3481081 h 3962742"/>
                <a:gd name="connsiteX7" fmla="*/ 2231672 w 5111523"/>
                <a:gd name="connsiteY7" fmla="*/ 3411626 h 3962742"/>
                <a:gd name="connsiteX8" fmla="*/ 1068123 w 5111523"/>
                <a:gd name="connsiteY8" fmla="*/ 2929668 h 3962742"/>
                <a:gd name="connsiteX9" fmla="*/ 899880 w 5111523"/>
                <a:gd name="connsiteY9" fmla="*/ 2938164 h 3962742"/>
                <a:gd name="connsiteX10" fmla="*/ 859090 w 5111523"/>
                <a:gd name="connsiteY10" fmla="*/ 2944389 h 3962742"/>
                <a:gd name="connsiteX11" fmla="*/ 1546598 w 5111523"/>
                <a:gd name="connsiteY11" fmla="*/ 1140048 h 3962742"/>
                <a:gd name="connsiteX12" fmla="*/ 0 w 5111523"/>
                <a:gd name="connsiteY12" fmla="*/ 127160 h 3962742"/>
                <a:gd name="connsiteX13" fmla="*/ 202033 w 5111523"/>
                <a:gd name="connsiteY13" fmla="*/ 81864 h 3962742"/>
                <a:gd name="connsiteX14" fmla="*/ 1068123 w 5111523"/>
                <a:gd name="connsiteY14" fmla="*/ 0 h 396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11523" h="3962742">
                  <a:moveTo>
                    <a:pt x="1068123" y="0"/>
                  </a:moveTo>
                  <a:cubicBezTo>
                    <a:pt x="2489447" y="0"/>
                    <a:pt x="3759396" y="648119"/>
                    <a:pt x="4598550" y="1664939"/>
                  </a:cubicBezTo>
                  <a:lnTo>
                    <a:pt x="4670437" y="1756416"/>
                  </a:lnTo>
                  <a:lnTo>
                    <a:pt x="5111523" y="1436197"/>
                  </a:lnTo>
                  <a:lnTo>
                    <a:pt x="4424950" y="3962742"/>
                  </a:lnTo>
                  <a:lnTo>
                    <a:pt x="1809996" y="3833035"/>
                  </a:lnTo>
                  <a:lnTo>
                    <a:pt x="2294796" y="3481081"/>
                  </a:lnTo>
                  <a:lnTo>
                    <a:pt x="2231672" y="3411626"/>
                  </a:lnTo>
                  <a:cubicBezTo>
                    <a:pt x="1933894" y="3113848"/>
                    <a:pt x="1522517" y="2929668"/>
                    <a:pt x="1068123" y="2929668"/>
                  </a:cubicBezTo>
                  <a:cubicBezTo>
                    <a:pt x="1011324" y="2929668"/>
                    <a:pt x="955197" y="2932546"/>
                    <a:pt x="899880" y="2938164"/>
                  </a:cubicBezTo>
                  <a:lnTo>
                    <a:pt x="859090" y="2944389"/>
                  </a:lnTo>
                  <a:lnTo>
                    <a:pt x="1546598" y="1140048"/>
                  </a:lnTo>
                  <a:lnTo>
                    <a:pt x="0" y="127160"/>
                  </a:lnTo>
                  <a:lnTo>
                    <a:pt x="202033" y="81864"/>
                  </a:lnTo>
                  <a:cubicBezTo>
                    <a:pt x="482475" y="28130"/>
                    <a:pt x="772014" y="0"/>
                    <a:pt x="106812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2" name="Freeform 52">
              <a:extLst>
                <a:ext uri="{FF2B5EF4-FFF2-40B4-BE49-F238E27FC236}">
                  <a16:creationId xmlns:a16="http://schemas.microsoft.com/office/drawing/2014/main" xmlns="" id="{D3ECA16D-9FD4-493A-BDA4-8389C8FC007C}"/>
                </a:ext>
              </a:extLst>
            </p:cNvPr>
            <p:cNvSpPr/>
            <p:nvPr/>
          </p:nvSpPr>
          <p:spPr>
            <a:xfrm>
              <a:off x="5500613" y="2173806"/>
              <a:ext cx="1889551" cy="1712944"/>
            </a:xfrm>
            <a:custGeom>
              <a:avLst/>
              <a:gdLst>
                <a:gd name="connsiteX0" fmla="*/ 2847233 w 5037490"/>
                <a:gd name="connsiteY0" fmla="*/ 0 h 4566661"/>
                <a:gd name="connsiteX1" fmla="*/ 5037490 w 5037490"/>
                <a:gd name="connsiteY1" fmla="*/ 1434429 h 4566661"/>
                <a:gd name="connsiteX2" fmla="*/ 4105269 w 5037490"/>
                <a:gd name="connsiteY2" fmla="*/ 3881012 h 4566661"/>
                <a:gd name="connsiteX3" fmla="*/ 3932563 w 5037490"/>
                <a:gd name="connsiteY3" fmla="*/ 3348218 h 4566661"/>
                <a:gd name="connsiteX4" fmla="*/ 3918510 w 5037490"/>
                <a:gd name="connsiteY4" fmla="*/ 3353361 h 4566661"/>
                <a:gd name="connsiteX5" fmla="*/ 2960359 w 5037490"/>
                <a:gd name="connsiteY5" fmla="*/ 4478083 h 4566661"/>
                <a:gd name="connsiteX6" fmla="*/ 2941952 w 5037490"/>
                <a:gd name="connsiteY6" fmla="*/ 4566661 h 4566661"/>
                <a:gd name="connsiteX7" fmla="*/ 1441393 w 5037490"/>
                <a:gd name="connsiteY7" fmla="*/ 3359382 h 4566661"/>
                <a:gd name="connsiteX8" fmla="*/ 0 w 5037490"/>
                <a:gd name="connsiteY8" fmla="*/ 4519059 h 4566661"/>
                <a:gd name="connsiteX9" fmla="*/ 20598 w 5037490"/>
                <a:gd name="connsiteY9" fmla="*/ 4286846 h 4566661"/>
                <a:gd name="connsiteX10" fmla="*/ 2985917 w 5037490"/>
                <a:gd name="connsiteY10" fmla="*/ 572001 h 4566661"/>
                <a:gd name="connsiteX11" fmla="*/ 3028029 w 5037490"/>
                <a:gd name="connsiteY11" fmla="*/ 557752 h 45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7490" h="4566661">
                  <a:moveTo>
                    <a:pt x="2847233" y="0"/>
                  </a:moveTo>
                  <a:lnTo>
                    <a:pt x="5037490" y="1434429"/>
                  </a:lnTo>
                  <a:lnTo>
                    <a:pt x="4105269" y="3881012"/>
                  </a:lnTo>
                  <a:lnTo>
                    <a:pt x="3932563" y="3348218"/>
                  </a:lnTo>
                  <a:lnTo>
                    <a:pt x="3918510" y="3353361"/>
                  </a:lnTo>
                  <a:cubicBezTo>
                    <a:pt x="3444802" y="3553723"/>
                    <a:pt x="3084445" y="3969604"/>
                    <a:pt x="2960359" y="4478083"/>
                  </a:cubicBezTo>
                  <a:lnTo>
                    <a:pt x="2941952" y="4566661"/>
                  </a:lnTo>
                  <a:lnTo>
                    <a:pt x="1441393" y="3359382"/>
                  </a:lnTo>
                  <a:lnTo>
                    <a:pt x="0" y="4519059"/>
                  </a:lnTo>
                  <a:lnTo>
                    <a:pt x="20598" y="4286846"/>
                  </a:lnTo>
                  <a:cubicBezTo>
                    <a:pt x="238902" y="2569490"/>
                    <a:pt x="1409254" y="1149295"/>
                    <a:pt x="2985917" y="572001"/>
                  </a:cubicBezTo>
                  <a:lnTo>
                    <a:pt x="3028029" y="5577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3" name="Freeform 54">
              <a:extLst>
                <a:ext uri="{FF2B5EF4-FFF2-40B4-BE49-F238E27FC236}">
                  <a16:creationId xmlns:a16="http://schemas.microsoft.com/office/drawing/2014/main" xmlns="" id="{2F3FC650-4D6E-448E-862E-1D4F79F18B7A}"/>
                </a:ext>
              </a:extLst>
            </p:cNvPr>
            <p:cNvSpPr/>
            <p:nvPr/>
          </p:nvSpPr>
          <p:spPr>
            <a:xfrm>
              <a:off x="7560077" y="3079258"/>
              <a:ext cx="1366749" cy="2057570"/>
            </a:xfrm>
            <a:custGeom>
              <a:avLst/>
              <a:gdLst>
                <a:gd name="connsiteX0" fmla="*/ 2926251 w 3643716"/>
                <a:gd name="connsiteY0" fmla="*/ 0 h 5485425"/>
                <a:gd name="connsiteX1" fmla="*/ 3037558 w 3643716"/>
                <a:gd name="connsiteY1" fmla="*/ 178321 h 5485425"/>
                <a:gd name="connsiteX2" fmla="*/ 3643716 w 3643716"/>
                <a:gd name="connsiteY2" fmla="*/ 2455646 h 5485425"/>
                <a:gd name="connsiteX3" fmla="*/ 2862348 w 3643716"/>
                <a:gd name="connsiteY3" fmla="*/ 5013670 h 5485425"/>
                <a:gd name="connsiteX4" fmla="*/ 2851281 w 3643716"/>
                <a:gd name="connsiteY4" fmla="*/ 5029233 h 5485425"/>
                <a:gd name="connsiteX5" fmla="*/ 3301276 w 3643716"/>
                <a:gd name="connsiteY5" fmla="*/ 5355992 h 5485425"/>
                <a:gd name="connsiteX6" fmla="*/ 686308 w 3643716"/>
                <a:gd name="connsiteY6" fmla="*/ 5485425 h 5485425"/>
                <a:gd name="connsiteX7" fmla="*/ 0 w 3643716"/>
                <a:gd name="connsiteY7" fmla="*/ 2958809 h 5485425"/>
                <a:gd name="connsiteX8" fmla="*/ 476197 w 3643716"/>
                <a:gd name="connsiteY8" fmla="*/ 3304594 h 5485425"/>
                <a:gd name="connsiteX9" fmla="*/ 515444 w 3643716"/>
                <a:gd name="connsiteY9" fmla="*/ 3239992 h 5485425"/>
                <a:gd name="connsiteX10" fmla="*/ 714048 w 3643716"/>
                <a:gd name="connsiteY10" fmla="*/ 2455646 h 5485425"/>
                <a:gd name="connsiteX11" fmla="*/ 599910 w 3643716"/>
                <a:gd name="connsiteY11" fmla="*/ 1852281 h 5485425"/>
                <a:gd name="connsiteX12" fmla="*/ 552317 w 3643716"/>
                <a:gd name="connsiteY12" fmla="*/ 1750306 h 5485425"/>
                <a:gd name="connsiteX13" fmla="*/ 2425369 w 3643716"/>
                <a:gd name="connsiteY13" fmla="*/ 1843213 h 548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43716" h="5485425">
                  <a:moveTo>
                    <a:pt x="2926251" y="0"/>
                  </a:moveTo>
                  <a:lnTo>
                    <a:pt x="3037558" y="178321"/>
                  </a:lnTo>
                  <a:cubicBezTo>
                    <a:pt x="3423175" y="848945"/>
                    <a:pt x="3643716" y="1626541"/>
                    <a:pt x="3643716" y="2455646"/>
                  </a:cubicBezTo>
                  <a:cubicBezTo>
                    <a:pt x="3643716" y="3403196"/>
                    <a:pt x="3355663" y="4283467"/>
                    <a:pt x="2862348" y="5013670"/>
                  </a:cubicBezTo>
                  <a:lnTo>
                    <a:pt x="2851281" y="5029233"/>
                  </a:lnTo>
                  <a:lnTo>
                    <a:pt x="3301276" y="5355992"/>
                  </a:lnTo>
                  <a:lnTo>
                    <a:pt x="686308" y="5485425"/>
                  </a:lnTo>
                  <a:lnTo>
                    <a:pt x="0" y="2958809"/>
                  </a:lnTo>
                  <a:lnTo>
                    <a:pt x="476197" y="3304594"/>
                  </a:lnTo>
                  <a:lnTo>
                    <a:pt x="515444" y="3239992"/>
                  </a:lnTo>
                  <a:cubicBezTo>
                    <a:pt x="642103" y="3006835"/>
                    <a:pt x="714048" y="2739642"/>
                    <a:pt x="714048" y="2455646"/>
                  </a:cubicBezTo>
                  <a:cubicBezTo>
                    <a:pt x="714048" y="2242649"/>
                    <a:pt x="673579" y="2039104"/>
                    <a:pt x="599910" y="1852281"/>
                  </a:cubicBezTo>
                  <a:lnTo>
                    <a:pt x="552317" y="1750306"/>
                  </a:lnTo>
                  <a:lnTo>
                    <a:pt x="2425369" y="18432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4" name="Freeform 56">
              <a:extLst>
                <a:ext uri="{FF2B5EF4-FFF2-40B4-BE49-F238E27FC236}">
                  <a16:creationId xmlns:a16="http://schemas.microsoft.com/office/drawing/2014/main" xmlns="" id="{F2635004-C131-4824-9B41-E1C9319D504E}"/>
                </a:ext>
              </a:extLst>
            </p:cNvPr>
            <p:cNvSpPr/>
            <p:nvPr/>
          </p:nvSpPr>
          <p:spPr>
            <a:xfrm>
              <a:off x="5276112" y="3433902"/>
              <a:ext cx="1654421" cy="2159336"/>
            </a:xfrm>
            <a:custGeom>
              <a:avLst/>
              <a:gdLst>
                <a:gd name="connsiteX0" fmla="*/ 2039909 w 4410641"/>
                <a:gd name="connsiteY0" fmla="*/ 0 h 5756729"/>
                <a:gd name="connsiteX1" fmla="*/ 4079818 w 4410641"/>
                <a:gd name="connsiteY1" fmla="*/ 1641214 h 5756729"/>
                <a:gd name="connsiteX2" fmla="*/ 3518641 w 4410641"/>
                <a:gd name="connsiteY2" fmla="*/ 1641214 h 5756729"/>
                <a:gd name="connsiteX3" fmla="*/ 3520520 w 4410641"/>
                <a:gd name="connsiteY3" fmla="*/ 1678416 h 5756729"/>
                <a:gd name="connsiteX4" fmla="*/ 4321306 w 4410641"/>
                <a:gd name="connsiteY4" fmla="*/ 2927662 h 5756729"/>
                <a:gd name="connsiteX5" fmla="*/ 4410641 w 4410641"/>
                <a:gd name="connsiteY5" fmla="*/ 2972715 h 5756729"/>
                <a:gd name="connsiteX6" fmla="*/ 2801332 w 4410641"/>
                <a:gd name="connsiteY6" fmla="*/ 4024712 h 5756729"/>
                <a:gd name="connsiteX7" fmla="*/ 3459590 w 4410641"/>
                <a:gd name="connsiteY7" fmla="*/ 5756729 h 5756729"/>
                <a:gd name="connsiteX8" fmla="*/ 3274680 w 4410641"/>
                <a:gd name="connsiteY8" fmla="*/ 5681192 h 5756729"/>
                <a:gd name="connsiteX9" fmla="*/ 588309 w 4410641"/>
                <a:gd name="connsiteY9" fmla="*/ 1745611 h 5756729"/>
                <a:gd name="connsiteX10" fmla="*/ 585670 w 4410641"/>
                <a:gd name="connsiteY10" fmla="*/ 1641214 h 5756729"/>
                <a:gd name="connsiteX11" fmla="*/ 0 w 4410641"/>
                <a:gd name="connsiteY11" fmla="*/ 1641214 h 57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10641" h="5756729">
                  <a:moveTo>
                    <a:pt x="2039909" y="0"/>
                  </a:moveTo>
                  <a:lnTo>
                    <a:pt x="4079818" y="1641214"/>
                  </a:lnTo>
                  <a:lnTo>
                    <a:pt x="3518641" y="1641214"/>
                  </a:lnTo>
                  <a:lnTo>
                    <a:pt x="3520520" y="1678416"/>
                  </a:lnTo>
                  <a:cubicBezTo>
                    <a:pt x="3574591" y="2210844"/>
                    <a:pt x="3882493" y="2668232"/>
                    <a:pt x="4321306" y="2927662"/>
                  </a:cubicBezTo>
                  <a:lnTo>
                    <a:pt x="4410641" y="2972715"/>
                  </a:lnTo>
                  <a:lnTo>
                    <a:pt x="2801332" y="4024712"/>
                  </a:lnTo>
                  <a:lnTo>
                    <a:pt x="3459590" y="5756729"/>
                  </a:lnTo>
                  <a:lnTo>
                    <a:pt x="3274680" y="5681192"/>
                  </a:lnTo>
                  <a:cubicBezTo>
                    <a:pt x="1754617" y="4993937"/>
                    <a:pt x="677248" y="3500164"/>
                    <a:pt x="588309" y="1745611"/>
                  </a:cubicBezTo>
                  <a:lnTo>
                    <a:pt x="58567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5" name="Freeform 55">
              <a:extLst>
                <a:ext uri="{FF2B5EF4-FFF2-40B4-BE49-F238E27FC236}">
                  <a16:creationId xmlns:a16="http://schemas.microsoft.com/office/drawing/2014/main" xmlns="" id="{8B758FB9-3221-444B-9E81-CB655B7E27BB}"/>
                </a:ext>
              </a:extLst>
            </p:cNvPr>
            <p:cNvSpPr/>
            <p:nvPr/>
          </p:nvSpPr>
          <p:spPr>
            <a:xfrm>
              <a:off x="6326884" y="4406212"/>
              <a:ext cx="2199563" cy="1455356"/>
            </a:xfrm>
            <a:custGeom>
              <a:avLst/>
              <a:gdLst>
                <a:gd name="connsiteX0" fmla="*/ 2191480 w 5863974"/>
                <a:gd name="connsiteY0" fmla="*/ 0 h 3879938"/>
                <a:gd name="connsiteX1" fmla="*/ 2019567 w 5863974"/>
                <a:gd name="connsiteY1" fmla="*/ 528810 h 3879938"/>
                <a:gd name="connsiteX2" fmla="*/ 2024573 w 5863974"/>
                <a:gd name="connsiteY2" fmla="*/ 530097 h 3879938"/>
                <a:gd name="connsiteX3" fmla="*/ 2356200 w 5863974"/>
                <a:gd name="connsiteY3" fmla="*/ 563528 h 3879938"/>
                <a:gd name="connsiteX4" fmla="*/ 3402895 w 5863974"/>
                <a:gd name="connsiteY4" fmla="*/ 187774 h 3879938"/>
                <a:gd name="connsiteX5" fmla="*/ 3477476 w 5863974"/>
                <a:gd name="connsiteY5" fmla="*/ 119991 h 3879938"/>
                <a:gd name="connsiteX6" fmla="*/ 3973966 w 5863974"/>
                <a:gd name="connsiteY6" fmla="*/ 1947801 h 3879938"/>
                <a:gd name="connsiteX7" fmla="*/ 5863974 w 5863974"/>
                <a:gd name="connsiteY7" fmla="*/ 1854251 h 3879938"/>
                <a:gd name="connsiteX8" fmla="*/ 5724305 w 5863974"/>
                <a:gd name="connsiteY8" fmla="*/ 2014522 h 3879938"/>
                <a:gd name="connsiteX9" fmla="*/ 2356200 w 5863974"/>
                <a:gd name="connsiteY9" fmla="*/ 3493196 h 3879938"/>
                <a:gd name="connsiteX10" fmla="*/ 1212793 w 5863974"/>
                <a:gd name="connsiteY10" fmla="*/ 3349157 h 3879938"/>
                <a:gd name="connsiteX11" fmla="*/ 1111993 w 5863974"/>
                <a:gd name="connsiteY11" fmla="*/ 3320533 h 3879938"/>
                <a:gd name="connsiteX12" fmla="*/ 930133 w 5863974"/>
                <a:gd name="connsiteY12" fmla="*/ 3879938 h 3879938"/>
                <a:gd name="connsiteX13" fmla="*/ 0 w 5863974"/>
                <a:gd name="connsiteY13" fmla="*/ 1432559 h 387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3974" h="3879938">
                  <a:moveTo>
                    <a:pt x="2191480" y="0"/>
                  </a:moveTo>
                  <a:lnTo>
                    <a:pt x="2019567" y="528810"/>
                  </a:lnTo>
                  <a:lnTo>
                    <a:pt x="2024573" y="530097"/>
                  </a:lnTo>
                  <a:cubicBezTo>
                    <a:pt x="2131692" y="552017"/>
                    <a:pt x="2242601" y="563528"/>
                    <a:pt x="2356200" y="563528"/>
                  </a:cubicBezTo>
                  <a:cubicBezTo>
                    <a:pt x="2753795" y="563528"/>
                    <a:pt x="3118455" y="422515"/>
                    <a:pt x="3402895" y="187774"/>
                  </a:cubicBezTo>
                  <a:lnTo>
                    <a:pt x="3477476" y="119991"/>
                  </a:lnTo>
                  <a:lnTo>
                    <a:pt x="3973966" y="1947801"/>
                  </a:lnTo>
                  <a:lnTo>
                    <a:pt x="5863974" y="1854251"/>
                  </a:lnTo>
                  <a:lnTo>
                    <a:pt x="5724305" y="2014522"/>
                  </a:lnTo>
                  <a:cubicBezTo>
                    <a:pt x="4888138" y="2923560"/>
                    <a:pt x="3688691" y="3493196"/>
                    <a:pt x="2356200" y="3493196"/>
                  </a:cubicBezTo>
                  <a:cubicBezTo>
                    <a:pt x="1961388" y="3493196"/>
                    <a:pt x="1578256" y="3443187"/>
                    <a:pt x="1212793" y="3349157"/>
                  </a:cubicBezTo>
                  <a:lnTo>
                    <a:pt x="1111993" y="3320533"/>
                  </a:lnTo>
                  <a:lnTo>
                    <a:pt x="930133" y="3879938"/>
                  </a:lnTo>
                  <a:lnTo>
                    <a:pt x="0" y="1432559"/>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grpSp>
      <p:sp>
        <p:nvSpPr>
          <p:cNvPr id="16" name="TextBox 67">
            <a:extLst>
              <a:ext uri="{FF2B5EF4-FFF2-40B4-BE49-F238E27FC236}">
                <a16:creationId xmlns:a16="http://schemas.microsoft.com/office/drawing/2014/main" xmlns="" id="{8B76932D-C135-4443-BF1A-006126A5E79F}"/>
              </a:ext>
            </a:extLst>
          </p:cNvPr>
          <p:cNvSpPr txBox="1"/>
          <p:nvPr/>
        </p:nvSpPr>
        <p:spPr>
          <a:xfrm>
            <a:off x="9350365" y="1903656"/>
            <a:ext cx="2490447" cy="1015663"/>
          </a:xfrm>
          <a:prstGeom prst="rect">
            <a:avLst/>
          </a:prstGeom>
          <a:noFill/>
        </p:spPr>
        <p:txBody>
          <a:bodyPr wrap="square" rtlCol="0" anchor="b" anchorCtr="0">
            <a:spAutoFit/>
          </a:bodyPr>
          <a:lstStyle/>
          <a:p>
            <a:r>
              <a:rPr lang="en-GB" sz="2000" b="1" dirty="0">
                <a:solidFill>
                  <a:srgbClr val="245473"/>
                </a:solidFill>
                <a:latin typeface="+mj-lt"/>
                <a:ea typeface="League Spartan" charset="0"/>
                <a:cs typeface="Poppins" pitchFamily="2" charset="77"/>
              </a:rPr>
              <a:t>Áreas de negocio clave </a:t>
            </a:r>
            <a:br>
              <a:rPr lang="en-GB" sz="2000" b="1" dirty="0">
                <a:solidFill>
                  <a:srgbClr val="245473"/>
                </a:solidFill>
                <a:latin typeface="+mj-lt"/>
                <a:ea typeface="League Spartan" charset="0"/>
                <a:cs typeface="Poppins" pitchFamily="2" charset="77"/>
              </a:rPr>
            </a:br>
            <a:r>
              <a:rPr lang="en-GB" sz="2000" b="1" dirty="0">
                <a:solidFill>
                  <a:srgbClr val="245473"/>
                </a:solidFill>
                <a:latin typeface="+mj-lt"/>
                <a:ea typeface="League Spartan" charset="0"/>
                <a:cs typeface="Poppins" pitchFamily="2" charset="77"/>
              </a:rPr>
              <a:t>(combinaciones de productos y mercados)</a:t>
            </a:r>
          </a:p>
        </p:txBody>
      </p:sp>
      <p:sp>
        <p:nvSpPr>
          <p:cNvPr id="18" name="TextBox 71">
            <a:extLst>
              <a:ext uri="{FF2B5EF4-FFF2-40B4-BE49-F238E27FC236}">
                <a16:creationId xmlns:a16="http://schemas.microsoft.com/office/drawing/2014/main" xmlns="" id="{14640D88-9435-4FAD-80EC-3DCEB5597EF8}"/>
              </a:ext>
            </a:extLst>
          </p:cNvPr>
          <p:cNvSpPr txBox="1"/>
          <p:nvPr/>
        </p:nvSpPr>
        <p:spPr>
          <a:xfrm>
            <a:off x="9797324" y="3511312"/>
            <a:ext cx="2726112" cy="1323439"/>
          </a:xfrm>
          <a:prstGeom prst="rect">
            <a:avLst/>
          </a:prstGeom>
          <a:noFill/>
        </p:spPr>
        <p:txBody>
          <a:bodyPr wrap="square" rtlCol="0" anchor="b" anchorCtr="0">
            <a:spAutoFit/>
          </a:bodyPr>
          <a:lstStyle/>
          <a:p>
            <a:r>
              <a:rPr lang="en-GB" sz="2000" b="1" dirty="0">
                <a:solidFill>
                  <a:srgbClr val="245473"/>
                </a:solidFill>
                <a:latin typeface="+mj-lt"/>
                <a:ea typeface="League Spartan" charset="0"/>
                <a:cs typeface="Poppins" pitchFamily="2" charset="77"/>
              </a:rPr>
              <a:t>Posición competitiva deseada/ - </a:t>
            </a:r>
            <a:br>
              <a:rPr lang="en-GB" sz="2000" b="1" dirty="0">
                <a:solidFill>
                  <a:srgbClr val="245473"/>
                </a:solidFill>
                <a:latin typeface="+mj-lt"/>
                <a:ea typeface="League Spartan" charset="0"/>
                <a:cs typeface="Poppins" pitchFamily="2" charset="77"/>
              </a:rPr>
            </a:br>
            <a:r>
              <a:rPr lang="en-GB" sz="2000" b="1" dirty="0">
                <a:solidFill>
                  <a:srgbClr val="245473"/>
                </a:solidFill>
                <a:latin typeface="+mj-lt"/>
                <a:ea typeface="League Spartan" charset="0"/>
                <a:cs typeface="Poppins" pitchFamily="2" charset="77"/>
              </a:rPr>
              <a:t>ventajas para los clientes</a:t>
            </a:r>
          </a:p>
        </p:txBody>
      </p:sp>
      <p:sp>
        <p:nvSpPr>
          <p:cNvPr id="20" name="TextBox 74">
            <a:extLst>
              <a:ext uri="{FF2B5EF4-FFF2-40B4-BE49-F238E27FC236}">
                <a16:creationId xmlns:a16="http://schemas.microsoft.com/office/drawing/2014/main" xmlns="" id="{FAB51C40-F94A-46DE-8632-4C99C0B8BA1F}"/>
              </a:ext>
            </a:extLst>
          </p:cNvPr>
          <p:cNvSpPr txBox="1"/>
          <p:nvPr/>
        </p:nvSpPr>
        <p:spPr>
          <a:xfrm>
            <a:off x="9653194" y="5229221"/>
            <a:ext cx="2136803" cy="707886"/>
          </a:xfrm>
          <a:prstGeom prst="rect">
            <a:avLst/>
          </a:prstGeom>
          <a:noFill/>
        </p:spPr>
        <p:txBody>
          <a:bodyPr wrap="none" rtlCol="0" anchor="b" anchorCtr="0">
            <a:spAutoFit/>
          </a:bodyPr>
          <a:lstStyle/>
          <a:p>
            <a:r>
              <a:rPr lang="en-GB" sz="2000" b="1" dirty="0">
                <a:solidFill>
                  <a:srgbClr val="245473"/>
                </a:solidFill>
                <a:latin typeface="+mj-lt"/>
                <a:ea typeface="League Spartan" charset="0"/>
                <a:cs typeface="Poppins" pitchFamily="2" charset="77"/>
              </a:rPr>
              <a:t>Recursos necesarios</a:t>
            </a:r>
            <a:br>
              <a:rPr lang="en-GB" sz="2000" b="1" dirty="0">
                <a:solidFill>
                  <a:srgbClr val="245473"/>
                </a:solidFill>
                <a:latin typeface="+mj-lt"/>
                <a:ea typeface="League Spartan" charset="0"/>
                <a:cs typeface="Poppins" pitchFamily="2" charset="77"/>
              </a:rPr>
            </a:br>
            <a:r>
              <a:rPr lang="en-GB" sz="2000" b="1" dirty="0">
                <a:solidFill>
                  <a:srgbClr val="245473"/>
                </a:solidFill>
                <a:latin typeface="+mj-lt"/>
                <a:ea typeface="League Spartan" charset="0"/>
                <a:cs typeface="Poppins" pitchFamily="2" charset="77"/>
              </a:rPr>
              <a:t>y habilidades</a:t>
            </a:r>
          </a:p>
        </p:txBody>
      </p:sp>
      <p:sp>
        <p:nvSpPr>
          <p:cNvPr id="22" name="TextBox 77">
            <a:extLst>
              <a:ext uri="{FF2B5EF4-FFF2-40B4-BE49-F238E27FC236}">
                <a16:creationId xmlns:a16="http://schemas.microsoft.com/office/drawing/2014/main" xmlns="" id="{2AF7CB74-E67E-4A0E-B2B1-C0DDF5128C78}"/>
              </a:ext>
            </a:extLst>
          </p:cNvPr>
          <p:cNvSpPr txBox="1"/>
          <p:nvPr/>
        </p:nvSpPr>
        <p:spPr>
          <a:xfrm>
            <a:off x="4681223" y="2160070"/>
            <a:ext cx="1790555" cy="1015663"/>
          </a:xfrm>
          <a:prstGeom prst="rect">
            <a:avLst/>
          </a:prstGeom>
          <a:noFill/>
        </p:spPr>
        <p:txBody>
          <a:bodyPr wrap="none" rtlCol="0" anchor="b" anchorCtr="0">
            <a:spAutoFit/>
          </a:bodyPr>
          <a:lstStyle/>
          <a:p>
            <a:pPr algn="r"/>
            <a:r>
              <a:rPr lang="en-GB" sz="2000" b="1" dirty="0">
                <a:solidFill>
                  <a:srgbClr val="245473"/>
                </a:solidFill>
                <a:latin typeface="+mj-lt"/>
                <a:ea typeface="League Spartan" charset="0"/>
                <a:cs typeface="Poppins" pitchFamily="2" charset="77"/>
              </a:rPr>
              <a:t>A largo plazo</a:t>
            </a:r>
            <a:br>
              <a:rPr lang="en-GB" sz="2000" b="1" dirty="0">
                <a:solidFill>
                  <a:srgbClr val="245473"/>
                </a:solidFill>
                <a:latin typeface="+mj-lt"/>
                <a:ea typeface="League Spartan" charset="0"/>
                <a:cs typeface="Poppins" pitchFamily="2" charset="77"/>
              </a:rPr>
            </a:br>
            <a:r>
              <a:rPr lang="en-GB" sz="2000" b="1" dirty="0">
                <a:solidFill>
                  <a:srgbClr val="245473"/>
                </a:solidFill>
                <a:latin typeface="+mj-lt"/>
                <a:ea typeface="League Spartan" charset="0"/>
                <a:cs typeface="Poppins" pitchFamily="2" charset="77"/>
              </a:rPr>
              <a:t> objetivos a largo plazo y</a:t>
            </a:r>
            <a:br>
              <a:rPr lang="en-GB" sz="2000" b="1" dirty="0">
                <a:solidFill>
                  <a:srgbClr val="245473"/>
                </a:solidFill>
                <a:latin typeface="+mj-lt"/>
                <a:ea typeface="League Spartan" charset="0"/>
                <a:cs typeface="Poppins" pitchFamily="2" charset="77"/>
              </a:rPr>
            </a:br>
            <a:r>
              <a:rPr lang="en-GB" sz="2000" b="1" dirty="0">
                <a:solidFill>
                  <a:srgbClr val="245473"/>
                </a:solidFill>
                <a:latin typeface="+mj-lt"/>
                <a:ea typeface="League Spartan" charset="0"/>
                <a:cs typeface="Poppins" pitchFamily="2" charset="77"/>
              </a:rPr>
              <a:t> estrategias básicas</a:t>
            </a:r>
          </a:p>
        </p:txBody>
      </p:sp>
      <p:sp>
        <p:nvSpPr>
          <p:cNvPr id="24" name="TextBox 80">
            <a:extLst>
              <a:ext uri="{FF2B5EF4-FFF2-40B4-BE49-F238E27FC236}">
                <a16:creationId xmlns:a16="http://schemas.microsoft.com/office/drawing/2014/main" xmlns="" id="{BCAB0464-046C-44C2-9B02-A34F24F88794}"/>
              </a:ext>
            </a:extLst>
          </p:cNvPr>
          <p:cNvSpPr txBox="1"/>
          <p:nvPr/>
        </p:nvSpPr>
        <p:spPr>
          <a:xfrm>
            <a:off x="4520717" y="5176929"/>
            <a:ext cx="2008341" cy="1323439"/>
          </a:xfrm>
          <a:prstGeom prst="rect">
            <a:avLst/>
          </a:prstGeom>
          <a:noFill/>
        </p:spPr>
        <p:txBody>
          <a:bodyPr wrap="square" rtlCol="0" anchor="b" anchorCtr="0">
            <a:spAutoFit/>
          </a:bodyPr>
          <a:lstStyle/>
          <a:p>
            <a:pPr algn="r"/>
            <a:r>
              <a:rPr lang="en-GB" sz="2000" b="1" dirty="0">
                <a:solidFill>
                  <a:srgbClr val="245473"/>
                </a:solidFill>
                <a:latin typeface="+mj-lt"/>
                <a:ea typeface="League Spartan" charset="0"/>
                <a:cs typeface="Poppins" pitchFamily="2" charset="77"/>
              </a:rPr>
              <a:t>La cultura de la empresa </a:t>
            </a:r>
            <a:br>
              <a:rPr lang="en-GB" sz="2000" b="1" dirty="0">
                <a:solidFill>
                  <a:srgbClr val="245473"/>
                </a:solidFill>
                <a:latin typeface="+mj-lt"/>
                <a:ea typeface="League Spartan" charset="0"/>
                <a:cs typeface="Poppins" pitchFamily="2" charset="77"/>
              </a:rPr>
            </a:br>
            <a:r>
              <a:rPr lang="en-GB" sz="2000" b="1" dirty="0">
                <a:solidFill>
                  <a:srgbClr val="245473"/>
                </a:solidFill>
                <a:latin typeface="+mj-lt"/>
                <a:ea typeface="League Spartan" charset="0"/>
                <a:cs typeface="Poppins" pitchFamily="2" charset="77"/>
              </a:rPr>
              <a:t>(valores, normas básicas y </a:t>
            </a:r>
            <a:br>
              <a:rPr lang="en-GB" sz="2000" b="1" dirty="0">
                <a:solidFill>
                  <a:srgbClr val="245473"/>
                </a:solidFill>
                <a:latin typeface="+mj-lt"/>
                <a:ea typeface="League Spartan" charset="0"/>
                <a:cs typeface="Poppins" pitchFamily="2" charset="77"/>
              </a:rPr>
            </a:br>
            <a:r>
              <a:rPr lang="en-GB" sz="2000" b="1" dirty="0">
                <a:solidFill>
                  <a:srgbClr val="245473"/>
                </a:solidFill>
                <a:latin typeface="+mj-lt"/>
                <a:ea typeface="League Spartan" charset="0"/>
                <a:cs typeface="Poppins" pitchFamily="2" charset="77"/>
              </a:rPr>
              <a:t>comportamiento)</a:t>
            </a:r>
          </a:p>
        </p:txBody>
      </p:sp>
      <p:sp>
        <p:nvSpPr>
          <p:cNvPr id="5" name="Rechteck 4">
            <a:extLst>
              <a:ext uri="{FF2B5EF4-FFF2-40B4-BE49-F238E27FC236}">
                <a16:creationId xmlns:a16="http://schemas.microsoft.com/office/drawing/2014/main" xmlns="" id="{EAAAF5E9-9D28-408A-8433-C6C1F2DDB694}"/>
              </a:ext>
            </a:extLst>
          </p:cNvPr>
          <p:cNvSpPr/>
          <p:nvPr/>
        </p:nvSpPr>
        <p:spPr>
          <a:xfrm>
            <a:off x="7304616" y="3813908"/>
            <a:ext cx="1218539" cy="830997"/>
          </a:xfrm>
          <a:prstGeom prst="rect">
            <a:avLst/>
          </a:prstGeom>
          <a:noFill/>
        </p:spPr>
        <p:txBody>
          <a:bodyPr wrap="none" rtlCol="0" anchor="b" anchorCtr="0">
            <a:spAutoFit/>
          </a:bodyPr>
          <a:lstStyle/>
          <a:p>
            <a:pPr algn="ctr"/>
            <a:r>
              <a:rPr lang="en-GB" sz="1600" b="1">
                <a:solidFill>
                  <a:schemeClr val="tx2"/>
                </a:solidFill>
                <a:latin typeface="+mj-lt"/>
              </a:rPr>
              <a:t>Características principales </a:t>
            </a:r>
            <a:br>
              <a:rPr lang="en-GB" sz="1600" b="1">
                <a:solidFill>
                  <a:schemeClr val="tx2"/>
                </a:solidFill>
                <a:latin typeface="+mj-lt"/>
              </a:rPr>
            </a:br>
            <a:r>
              <a:rPr lang="en-GB" sz="1600" b="1">
                <a:solidFill>
                  <a:schemeClr val="tx2"/>
                </a:solidFill>
                <a:latin typeface="+mj-lt"/>
              </a:rPr>
              <a:t>de la empresa </a:t>
            </a:r>
            <a:br>
              <a:rPr lang="en-GB" sz="1600" b="1">
                <a:solidFill>
                  <a:schemeClr val="tx2"/>
                </a:solidFill>
                <a:latin typeface="+mj-lt"/>
              </a:rPr>
            </a:br>
            <a:r>
              <a:rPr lang="en-GB" sz="1600" b="1">
                <a:solidFill>
                  <a:schemeClr val="tx2"/>
                </a:solidFill>
                <a:latin typeface="+mj-lt"/>
              </a:rPr>
              <a:t>modelo</a:t>
            </a:r>
            <a:endParaRPr lang="en-GB" sz="1600" b="1" dirty="0">
              <a:solidFill>
                <a:schemeClr val="tx2"/>
              </a:solidFill>
              <a:latin typeface="+mj-lt"/>
            </a:endParaRPr>
          </a:p>
        </p:txBody>
      </p:sp>
    </p:spTree>
    <p:extLst>
      <p:ext uri="{BB962C8B-B14F-4D97-AF65-F5344CB8AC3E}">
        <p14:creationId xmlns:p14="http://schemas.microsoft.com/office/powerpoint/2010/main" val="2636251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7470" y="642742"/>
            <a:ext cx="8852375" cy="697353"/>
          </a:xfrm>
        </p:spPr>
        <p:txBody>
          <a:bodyPr>
            <a:normAutofit fontScale="77500" lnSpcReduction="20000"/>
          </a:bodyPr>
          <a:lstStyle/>
          <a:p>
            <a:r>
              <a:rPr lang="en-GB" dirty="0"/>
              <a:t>Contenido de los conceptos de reestructuración: Declaración de la mis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868566" cy="346791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declaración de misión indica el objetivo de desarrollo de la empresa.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Define las estructuras y los potenciales bajo aspectos de eficacia y coherencia, que incluyen los siguientes puntos:</a:t>
            </a:r>
            <a:endParaRPr lang="en-US" dirty="0">
              <a:solidFill>
                <a:srgbClr val="245473"/>
              </a:solidFill>
            </a:endParaRPr>
          </a:p>
        </p:txBody>
      </p:sp>
      <p:sp>
        <p:nvSpPr>
          <p:cNvPr id="17" name="Freeform 39">
            <a:extLst>
              <a:ext uri="{FF2B5EF4-FFF2-40B4-BE49-F238E27FC236}">
                <a16:creationId xmlns:a16="http://schemas.microsoft.com/office/drawing/2014/main" xmlns="" id="{ECEB0251-5E77-4893-BE63-82157A629DCB}"/>
              </a:ext>
            </a:extLst>
          </p:cNvPr>
          <p:cNvSpPr>
            <a:spLocks/>
          </p:cNvSpPr>
          <p:nvPr/>
        </p:nvSpPr>
        <p:spPr bwMode="auto">
          <a:xfrm>
            <a:off x="4037771" y="2005700"/>
            <a:ext cx="3592824" cy="129515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19" name="Freeform 13">
            <a:extLst>
              <a:ext uri="{FF2B5EF4-FFF2-40B4-BE49-F238E27FC236}">
                <a16:creationId xmlns:a16="http://schemas.microsoft.com/office/drawing/2014/main" xmlns="" id="{D4C0B170-39E1-45CD-B11E-1BDE66F82314}"/>
              </a:ext>
            </a:extLst>
          </p:cNvPr>
          <p:cNvSpPr>
            <a:spLocks/>
          </p:cNvSpPr>
          <p:nvPr/>
        </p:nvSpPr>
        <p:spPr bwMode="auto">
          <a:xfrm>
            <a:off x="4426592" y="2128147"/>
            <a:ext cx="331601" cy="1164455"/>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21" name="Freeform 37">
            <a:extLst>
              <a:ext uri="{FF2B5EF4-FFF2-40B4-BE49-F238E27FC236}">
                <a16:creationId xmlns:a16="http://schemas.microsoft.com/office/drawing/2014/main" xmlns="" id="{372084C7-436F-49A0-B770-CD49E24481DA}"/>
              </a:ext>
            </a:extLst>
          </p:cNvPr>
          <p:cNvSpPr>
            <a:spLocks/>
          </p:cNvSpPr>
          <p:nvPr/>
        </p:nvSpPr>
        <p:spPr bwMode="auto">
          <a:xfrm>
            <a:off x="7994012" y="1999004"/>
            <a:ext cx="3759275" cy="1297029"/>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23" name="Freeform 15">
            <a:extLst>
              <a:ext uri="{FF2B5EF4-FFF2-40B4-BE49-F238E27FC236}">
                <a16:creationId xmlns:a16="http://schemas.microsoft.com/office/drawing/2014/main" xmlns="" id="{80407A1B-3379-4379-ADAA-B83C4A6B5122}"/>
              </a:ext>
            </a:extLst>
          </p:cNvPr>
          <p:cNvSpPr>
            <a:spLocks/>
          </p:cNvSpPr>
          <p:nvPr/>
        </p:nvSpPr>
        <p:spPr bwMode="auto">
          <a:xfrm>
            <a:off x="8305546" y="2340416"/>
            <a:ext cx="641861" cy="94611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25" name="Freeform 35">
            <a:extLst>
              <a:ext uri="{FF2B5EF4-FFF2-40B4-BE49-F238E27FC236}">
                <a16:creationId xmlns:a16="http://schemas.microsoft.com/office/drawing/2014/main" xmlns="" id="{570D8E36-E49E-43CE-8EED-26E340F60E24}"/>
              </a:ext>
            </a:extLst>
          </p:cNvPr>
          <p:cNvSpPr>
            <a:spLocks/>
          </p:cNvSpPr>
          <p:nvPr/>
        </p:nvSpPr>
        <p:spPr bwMode="auto">
          <a:xfrm>
            <a:off x="3957435" y="3484239"/>
            <a:ext cx="3672446" cy="125100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26" name="Freeform 16">
            <a:extLst>
              <a:ext uri="{FF2B5EF4-FFF2-40B4-BE49-F238E27FC236}">
                <a16:creationId xmlns:a16="http://schemas.microsoft.com/office/drawing/2014/main" xmlns="" id="{D913C906-D0BA-4E37-A6C9-5D95C7DBE638}"/>
              </a:ext>
            </a:extLst>
          </p:cNvPr>
          <p:cNvSpPr>
            <a:spLocks/>
          </p:cNvSpPr>
          <p:nvPr/>
        </p:nvSpPr>
        <p:spPr bwMode="auto">
          <a:xfrm>
            <a:off x="4301073" y="3818496"/>
            <a:ext cx="579482" cy="921859"/>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27" name="Freeform 16">
            <a:extLst>
              <a:ext uri="{FF2B5EF4-FFF2-40B4-BE49-F238E27FC236}">
                <a16:creationId xmlns:a16="http://schemas.microsoft.com/office/drawing/2014/main" xmlns="" id="{C8F42D1E-78C2-4781-B45F-A9AAD1EF1342}"/>
              </a:ext>
            </a:extLst>
          </p:cNvPr>
          <p:cNvSpPr>
            <a:spLocks noEditPoints="1"/>
          </p:cNvSpPr>
          <p:nvPr/>
        </p:nvSpPr>
        <p:spPr bwMode="auto">
          <a:xfrm>
            <a:off x="7970848" y="3484239"/>
            <a:ext cx="3788619" cy="125100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28" name="Freeform 5">
            <a:extLst>
              <a:ext uri="{FF2B5EF4-FFF2-40B4-BE49-F238E27FC236}">
                <a16:creationId xmlns:a16="http://schemas.microsoft.com/office/drawing/2014/main" xmlns="" id="{25968062-ED97-462D-B304-1041893FBF14}"/>
              </a:ext>
            </a:extLst>
          </p:cNvPr>
          <p:cNvSpPr>
            <a:spLocks/>
          </p:cNvSpPr>
          <p:nvPr/>
        </p:nvSpPr>
        <p:spPr bwMode="auto">
          <a:xfrm>
            <a:off x="8608599" y="3566065"/>
            <a:ext cx="343175" cy="1169177"/>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29" name="Freeform 36">
            <a:extLst>
              <a:ext uri="{FF2B5EF4-FFF2-40B4-BE49-F238E27FC236}">
                <a16:creationId xmlns:a16="http://schemas.microsoft.com/office/drawing/2014/main" xmlns="" id="{1C407B39-9532-4B90-B586-D24A77CA0727}"/>
              </a:ext>
            </a:extLst>
          </p:cNvPr>
          <p:cNvSpPr>
            <a:spLocks/>
          </p:cNvSpPr>
          <p:nvPr/>
        </p:nvSpPr>
        <p:spPr bwMode="auto">
          <a:xfrm>
            <a:off x="3960644" y="4843696"/>
            <a:ext cx="3704871" cy="1256116"/>
          </a:xfrm>
          <a:custGeom>
            <a:avLst/>
            <a:gdLst>
              <a:gd name="T0" fmla="*/ 324 w 1843"/>
              <a:gd name="T1" fmla="*/ 0 h 523"/>
              <a:gd name="T2" fmla="*/ 42 w 1843"/>
              <a:gd name="T3" fmla="*/ 0 h 523"/>
              <a:gd name="T4" fmla="*/ 13 w 1843"/>
              <a:gd name="T5" fmla="*/ 262 h 523"/>
              <a:gd name="T6" fmla="*/ 94 w 1843"/>
              <a:gd name="T7" fmla="*/ 282 h 523"/>
              <a:gd name="T8" fmla="*/ 106 w 1843"/>
              <a:gd name="T9" fmla="*/ 272 h 523"/>
              <a:gd name="T10" fmla="*/ 120 w 1843"/>
              <a:gd name="T11" fmla="*/ 263 h 523"/>
              <a:gd name="T12" fmla="*/ 139 w 1843"/>
              <a:gd name="T13" fmla="*/ 256 h 523"/>
              <a:gd name="T14" fmla="*/ 163 w 1843"/>
              <a:gd name="T15" fmla="*/ 254 h 523"/>
              <a:gd name="T16" fmla="*/ 200 w 1843"/>
              <a:gd name="T17" fmla="*/ 260 h 523"/>
              <a:gd name="T18" fmla="*/ 226 w 1843"/>
              <a:gd name="T19" fmla="*/ 279 h 523"/>
              <a:gd name="T20" fmla="*/ 241 w 1843"/>
              <a:gd name="T21" fmla="*/ 308 h 523"/>
              <a:gd name="T22" fmla="*/ 246 w 1843"/>
              <a:gd name="T23" fmla="*/ 345 h 523"/>
              <a:gd name="T24" fmla="*/ 242 w 1843"/>
              <a:gd name="T25" fmla="*/ 382 h 523"/>
              <a:gd name="T26" fmla="*/ 229 w 1843"/>
              <a:gd name="T27" fmla="*/ 413 h 523"/>
              <a:gd name="T28" fmla="*/ 207 w 1843"/>
              <a:gd name="T29" fmla="*/ 433 h 523"/>
              <a:gd name="T30" fmla="*/ 174 w 1843"/>
              <a:gd name="T31" fmla="*/ 440 h 523"/>
              <a:gd name="T32" fmla="*/ 123 w 1843"/>
              <a:gd name="T33" fmla="*/ 422 h 523"/>
              <a:gd name="T34" fmla="*/ 101 w 1843"/>
              <a:gd name="T35" fmla="*/ 372 h 523"/>
              <a:gd name="T36" fmla="*/ 0 w 1843"/>
              <a:gd name="T37" fmla="*/ 372 h 523"/>
              <a:gd name="T38" fmla="*/ 16 w 1843"/>
              <a:gd name="T39" fmla="*/ 436 h 523"/>
              <a:gd name="T40" fmla="*/ 54 w 1843"/>
              <a:gd name="T41" fmla="*/ 483 h 523"/>
              <a:gd name="T42" fmla="*/ 110 w 1843"/>
              <a:gd name="T43" fmla="*/ 513 h 523"/>
              <a:gd name="T44" fmla="*/ 170 w 1843"/>
              <a:gd name="T45" fmla="*/ 523 h 523"/>
              <a:gd name="T46" fmla="*/ 166 w 1843"/>
              <a:gd name="T47" fmla="*/ 523 h 523"/>
              <a:gd name="T48" fmla="*/ 1843 w 1843"/>
              <a:gd name="T49" fmla="*/ 523 h 523"/>
              <a:gd name="T50" fmla="*/ 1843 w 1843"/>
              <a:gd name="T51" fmla="*/ 0 h 523"/>
              <a:gd name="T52" fmla="*/ 324 w 1843"/>
              <a:gd name="T5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3" h="523">
                <a:moveTo>
                  <a:pt x="324" y="0"/>
                </a:moveTo>
                <a:cubicBezTo>
                  <a:pt x="42" y="0"/>
                  <a:pt x="42" y="0"/>
                  <a:pt x="42" y="0"/>
                </a:cubicBezTo>
                <a:cubicBezTo>
                  <a:pt x="13" y="262"/>
                  <a:pt x="13" y="262"/>
                  <a:pt x="13" y="262"/>
                </a:cubicBezTo>
                <a:cubicBezTo>
                  <a:pt x="94" y="282"/>
                  <a:pt x="94" y="282"/>
                  <a:pt x="94" y="282"/>
                </a:cubicBezTo>
                <a:cubicBezTo>
                  <a:pt x="98" y="279"/>
                  <a:pt x="102" y="275"/>
                  <a:pt x="106" y="272"/>
                </a:cubicBezTo>
                <a:cubicBezTo>
                  <a:pt x="110" y="268"/>
                  <a:pt x="115" y="265"/>
                  <a:pt x="120" y="263"/>
                </a:cubicBezTo>
                <a:cubicBezTo>
                  <a:pt x="125" y="260"/>
                  <a:pt x="132" y="258"/>
                  <a:pt x="139" y="256"/>
                </a:cubicBezTo>
                <a:cubicBezTo>
                  <a:pt x="146" y="255"/>
                  <a:pt x="154" y="254"/>
                  <a:pt x="163" y="254"/>
                </a:cubicBezTo>
                <a:cubicBezTo>
                  <a:pt x="177" y="254"/>
                  <a:pt x="190" y="256"/>
                  <a:pt x="200" y="260"/>
                </a:cubicBezTo>
                <a:cubicBezTo>
                  <a:pt x="211" y="265"/>
                  <a:pt x="219" y="271"/>
                  <a:pt x="226" y="279"/>
                </a:cubicBezTo>
                <a:cubicBezTo>
                  <a:pt x="233" y="287"/>
                  <a:pt x="238" y="296"/>
                  <a:pt x="241" y="308"/>
                </a:cubicBezTo>
                <a:cubicBezTo>
                  <a:pt x="245" y="319"/>
                  <a:pt x="246" y="331"/>
                  <a:pt x="246" y="345"/>
                </a:cubicBezTo>
                <a:cubicBezTo>
                  <a:pt x="246" y="358"/>
                  <a:pt x="245" y="371"/>
                  <a:pt x="242" y="382"/>
                </a:cubicBezTo>
                <a:cubicBezTo>
                  <a:pt x="239" y="394"/>
                  <a:pt x="235" y="404"/>
                  <a:pt x="229" y="413"/>
                </a:cubicBezTo>
                <a:cubicBezTo>
                  <a:pt x="224" y="421"/>
                  <a:pt x="216" y="428"/>
                  <a:pt x="207" y="433"/>
                </a:cubicBezTo>
                <a:cubicBezTo>
                  <a:pt x="198" y="438"/>
                  <a:pt x="187" y="440"/>
                  <a:pt x="174" y="440"/>
                </a:cubicBezTo>
                <a:cubicBezTo>
                  <a:pt x="153" y="440"/>
                  <a:pt x="136" y="434"/>
                  <a:pt x="123" y="422"/>
                </a:cubicBezTo>
                <a:cubicBezTo>
                  <a:pt x="111" y="410"/>
                  <a:pt x="103" y="394"/>
                  <a:pt x="101" y="372"/>
                </a:cubicBezTo>
                <a:cubicBezTo>
                  <a:pt x="0" y="372"/>
                  <a:pt x="0" y="372"/>
                  <a:pt x="0" y="372"/>
                </a:cubicBezTo>
                <a:cubicBezTo>
                  <a:pt x="0" y="396"/>
                  <a:pt x="6" y="417"/>
                  <a:pt x="16" y="436"/>
                </a:cubicBezTo>
                <a:cubicBezTo>
                  <a:pt x="25" y="455"/>
                  <a:pt x="38" y="470"/>
                  <a:pt x="54" y="483"/>
                </a:cubicBezTo>
                <a:cubicBezTo>
                  <a:pt x="71" y="496"/>
                  <a:pt x="89" y="506"/>
                  <a:pt x="110" y="513"/>
                </a:cubicBezTo>
                <a:cubicBezTo>
                  <a:pt x="129" y="519"/>
                  <a:pt x="149" y="522"/>
                  <a:pt x="170" y="523"/>
                </a:cubicBezTo>
                <a:cubicBezTo>
                  <a:pt x="169" y="523"/>
                  <a:pt x="168" y="523"/>
                  <a:pt x="166" y="523"/>
                </a:cubicBezTo>
                <a:cubicBezTo>
                  <a:pt x="1843" y="523"/>
                  <a:pt x="1843" y="523"/>
                  <a:pt x="1843" y="523"/>
                </a:cubicBezTo>
                <a:cubicBezTo>
                  <a:pt x="1843" y="0"/>
                  <a:pt x="1843" y="0"/>
                  <a:pt x="1843" y="0"/>
                </a:cubicBezTo>
                <a:cubicBezTo>
                  <a:pt x="324" y="0"/>
                  <a:pt x="324" y="0"/>
                  <a:pt x="324" y="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30" name="Freeform 14">
            <a:extLst>
              <a:ext uri="{FF2B5EF4-FFF2-40B4-BE49-F238E27FC236}">
                <a16:creationId xmlns:a16="http://schemas.microsoft.com/office/drawing/2014/main" xmlns="" id="{906E69D6-1AD3-493F-BAB3-C51ECFA4BD34}"/>
              </a:ext>
            </a:extLst>
          </p:cNvPr>
          <p:cNvSpPr>
            <a:spLocks/>
          </p:cNvSpPr>
          <p:nvPr/>
        </p:nvSpPr>
        <p:spPr bwMode="auto">
          <a:xfrm>
            <a:off x="4224692" y="4934069"/>
            <a:ext cx="732149" cy="1166475"/>
          </a:xfrm>
          <a:custGeom>
            <a:avLst/>
            <a:gdLst>
              <a:gd name="T0" fmla="*/ 141 w 260"/>
              <a:gd name="T1" fmla="*/ 0 h 338"/>
              <a:gd name="T2" fmla="*/ 141 w 260"/>
              <a:gd name="T3" fmla="*/ 54 h 338"/>
              <a:gd name="T4" fmla="*/ 8 w 260"/>
              <a:gd name="T5" fmla="*/ 54 h 338"/>
              <a:gd name="T6" fmla="*/ 0 w 260"/>
              <a:gd name="T7" fmla="*/ 126 h 338"/>
              <a:gd name="T8" fmla="*/ 8 w 260"/>
              <a:gd name="T9" fmla="*/ 122 h 338"/>
              <a:gd name="T10" fmla="*/ 20 w 260"/>
              <a:gd name="T11" fmla="*/ 118 h 338"/>
              <a:gd name="T12" fmla="*/ 34 w 260"/>
              <a:gd name="T13" fmla="*/ 115 h 338"/>
              <a:gd name="T14" fmla="*/ 50 w 260"/>
              <a:gd name="T15" fmla="*/ 113 h 338"/>
              <a:gd name="T16" fmla="*/ 93 w 260"/>
              <a:gd name="T17" fmla="*/ 121 h 338"/>
              <a:gd name="T18" fmla="*/ 125 w 260"/>
              <a:gd name="T19" fmla="*/ 143 h 338"/>
              <a:gd name="T20" fmla="*/ 145 w 260"/>
              <a:gd name="T21" fmla="*/ 178 h 338"/>
              <a:gd name="T22" fmla="*/ 152 w 260"/>
              <a:gd name="T23" fmla="*/ 226 h 338"/>
              <a:gd name="T24" fmla="*/ 145 w 260"/>
              <a:gd name="T25" fmla="*/ 269 h 338"/>
              <a:gd name="T26" fmla="*/ 124 w 260"/>
              <a:gd name="T27" fmla="*/ 304 h 338"/>
              <a:gd name="T28" fmla="*/ 88 w 260"/>
              <a:gd name="T29" fmla="*/ 329 h 338"/>
              <a:gd name="T30" fmla="*/ 39 w 260"/>
              <a:gd name="T31" fmla="*/ 338 h 338"/>
              <a:gd name="T32" fmla="*/ 260 w 260"/>
              <a:gd name="T33" fmla="*/ 338 h 338"/>
              <a:gd name="T34" fmla="*/ 141 w 260"/>
              <a:gd name="T35"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338">
                <a:moveTo>
                  <a:pt x="141" y="0"/>
                </a:moveTo>
                <a:cubicBezTo>
                  <a:pt x="141" y="54"/>
                  <a:pt x="141" y="54"/>
                  <a:pt x="141" y="54"/>
                </a:cubicBezTo>
                <a:cubicBezTo>
                  <a:pt x="8" y="54"/>
                  <a:pt x="8" y="54"/>
                  <a:pt x="8" y="54"/>
                </a:cubicBezTo>
                <a:cubicBezTo>
                  <a:pt x="0" y="126"/>
                  <a:pt x="0" y="126"/>
                  <a:pt x="0" y="126"/>
                </a:cubicBezTo>
                <a:cubicBezTo>
                  <a:pt x="2" y="124"/>
                  <a:pt x="5" y="123"/>
                  <a:pt x="8" y="122"/>
                </a:cubicBezTo>
                <a:cubicBezTo>
                  <a:pt x="12" y="121"/>
                  <a:pt x="15" y="119"/>
                  <a:pt x="20" y="118"/>
                </a:cubicBezTo>
                <a:cubicBezTo>
                  <a:pt x="24" y="117"/>
                  <a:pt x="29" y="115"/>
                  <a:pt x="34" y="115"/>
                </a:cubicBezTo>
                <a:cubicBezTo>
                  <a:pt x="39" y="113"/>
                  <a:pt x="45" y="113"/>
                  <a:pt x="50" y="113"/>
                </a:cubicBezTo>
                <a:cubicBezTo>
                  <a:pt x="66" y="113"/>
                  <a:pt x="80" y="116"/>
                  <a:pt x="93" y="121"/>
                </a:cubicBezTo>
                <a:cubicBezTo>
                  <a:pt x="105" y="126"/>
                  <a:pt x="116" y="134"/>
                  <a:pt x="125" y="143"/>
                </a:cubicBezTo>
                <a:cubicBezTo>
                  <a:pt x="134" y="153"/>
                  <a:pt x="140" y="165"/>
                  <a:pt x="145" y="178"/>
                </a:cubicBezTo>
                <a:cubicBezTo>
                  <a:pt x="149" y="193"/>
                  <a:pt x="152" y="208"/>
                  <a:pt x="152" y="226"/>
                </a:cubicBezTo>
                <a:cubicBezTo>
                  <a:pt x="152" y="241"/>
                  <a:pt x="149" y="255"/>
                  <a:pt x="145" y="269"/>
                </a:cubicBezTo>
                <a:cubicBezTo>
                  <a:pt x="140" y="282"/>
                  <a:pt x="133" y="294"/>
                  <a:pt x="124" y="304"/>
                </a:cubicBezTo>
                <a:cubicBezTo>
                  <a:pt x="114" y="315"/>
                  <a:pt x="103" y="323"/>
                  <a:pt x="88" y="329"/>
                </a:cubicBezTo>
                <a:cubicBezTo>
                  <a:pt x="74" y="335"/>
                  <a:pt x="58" y="338"/>
                  <a:pt x="39" y="338"/>
                </a:cubicBezTo>
                <a:cubicBezTo>
                  <a:pt x="260" y="338"/>
                  <a:pt x="260" y="338"/>
                  <a:pt x="260" y="338"/>
                </a:cubicBezTo>
                <a:cubicBezTo>
                  <a:pt x="162" y="59"/>
                  <a:pt x="144" y="9"/>
                  <a:pt x="141" y="0"/>
                </a:cubicBezTo>
                <a:close/>
              </a:path>
            </a:pathLst>
          </a:custGeom>
          <a:solidFill>
            <a:schemeClr val="accent5">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31" name="Freeform 40">
            <a:extLst>
              <a:ext uri="{FF2B5EF4-FFF2-40B4-BE49-F238E27FC236}">
                <a16:creationId xmlns:a16="http://schemas.microsoft.com/office/drawing/2014/main" xmlns="" id="{33A1570D-4040-40B2-834F-288C0AB9A346}"/>
              </a:ext>
            </a:extLst>
          </p:cNvPr>
          <p:cNvSpPr>
            <a:spLocks noEditPoints="1"/>
          </p:cNvSpPr>
          <p:nvPr/>
        </p:nvSpPr>
        <p:spPr bwMode="auto">
          <a:xfrm>
            <a:off x="8018240" y="4839942"/>
            <a:ext cx="3740052" cy="1210089"/>
          </a:xfrm>
          <a:custGeom>
            <a:avLst/>
            <a:gdLst>
              <a:gd name="T0" fmla="*/ 261 w 1845"/>
              <a:gd name="T1" fmla="*/ 0 h 523"/>
              <a:gd name="T2" fmla="*/ 260 w 1845"/>
              <a:gd name="T3" fmla="*/ 0 h 523"/>
              <a:gd name="T4" fmla="*/ 150 w 1845"/>
              <a:gd name="T5" fmla="*/ 21 h 523"/>
              <a:gd name="T6" fmla="*/ 69 w 1845"/>
              <a:gd name="T7" fmla="*/ 79 h 523"/>
              <a:gd name="T8" fmla="*/ 18 w 1845"/>
              <a:gd name="T9" fmla="*/ 168 h 523"/>
              <a:gd name="T10" fmla="*/ 0 w 1845"/>
              <a:gd name="T11" fmla="*/ 281 h 523"/>
              <a:gd name="T12" fmla="*/ 0 w 1845"/>
              <a:gd name="T13" fmla="*/ 320 h 523"/>
              <a:gd name="T14" fmla="*/ 13 w 1845"/>
              <a:gd name="T15" fmla="*/ 402 h 523"/>
              <a:gd name="T16" fmla="*/ 49 w 1845"/>
              <a:gd name="T17" fmla="*/ 467 h 523"/>
              <a:gd name="T18" fmla="*/ 106 w 1845"/>
              <a:gd name="T19" fmla="*/ 508 h 523"/>
              <a:gd name="T20" fmla="*/ 177 w 1845"/>
              <a:gd name="T21" fmla="*/ 523 h 523"/>
              <a:gd name="T22" fmla="*/ 172 w 1845"/>
              <a:gd name="T23" fmla="*/ 523 h 523"/>
              <a:gd name="T24" fmla="*/ 1845 w 1845"/>
              <a:gd name="T25" fmla="*/ 523 h 523"/>
              <a:gd name="T26" fmla="*/ 1845 w 1845"/>
              <a:gd name="T27" fmla="*/ 0 h 523"/>
              <a:gd name="T28" fmla="*/ 275 w 1845"/>
              <a:gd name="T29" fmla="*/ 0 h 523"/>
              <a:gd name="T30" fmla="*/ 261 w 1845"/>
              <a:gd name="T31" fmla="*/ 0 h 523"/>
              <a:gd name="T32" fmla="*/ 246 w 1845"/>
              <a:gd name="T33" fmla="*/ 386 h 523"/>
              <a:gd name="T34" fmla="*/ 231 w 1845"/>
              <a:gd name="T35" fmla="*/ 415 h 523"/>
              <a:gd name="T36" fmla="*/ 208 w 1845"/>
              <a:gd name="T37" fmla="*/ 434 h 523"/>
              <a:gd name="T38" fmla="*/ 178 w 1845"/>
              <a:gd name="T39" fmla="*/ 441 h 523"/>
              <a:gd name="T40" fmla="*/ 147 w 1845"/>
              <a:gd name="T41" fmla="*/ 435 h 523"/>
              <a:gd name="T42" fmla="*/ 123 w 1845"/>
              <a:gd name="T43" fmla="*/ 415 h 523"/>
              <a:gd name="T44" fmla="*/ 107 w 1845"/>
              <a:gd name="T45" fmla="*/ 381 h 523"/>
              <a:gd name="T46" fmla="*/ 102 w 1845"/>
              <a:gd name="T47" fmla="*/ 333 h 523"/>
              <a:gd name="T48" fmla="*/ 102 w 1845"/>
              <a:gd name="T49" fmla="*/ 303 h 523"/>
              <a:gd name="T50" fmla="*/ 113 w 1845"/>
              <a:gd name="T51" fmla="*/ 285 h 523"/>
              <a:gd name="T52" fmla="*/ 130 w 1845"/>
              <a:gd name="T53" fmla="*/ 270 h 523"/>
              <a:gd name="T54" fmla="*/ 151 w 1845"/>
              <a:gd name="T55" fmla="*/ 260 h 523"/>
              <a:gd name="T56" fmla="*/ 176 w 1845"/>
              <a:gd name="T57" fmla="*/ 256 h 523"/>
              <a:gd name="T58" fmla="*/ 207 w 1845"/>
              <a:gd name="T59" fmla="*/ 263 h 523"/>
              <a:gd name="T60" fmla="*/ 231 w 1845"/>
              <a:gd name="T61" fmla="*/ 282 h 523"/>
              <a:gd name="T62" fmla="*/ 246 w 1845"/>
              <a:gd name="T63" fmla="*/ 312 h 523"/>
              <a:gd name="T64" fmla="*/ 251 w 1845"/>
              <a:gd name="T65" fmla="*/ 349 h 523"/>
              <a:gd name="T66" fmla="*/ 246 w 1845"/>
              <a:gd name="T67" fmla="*/ 38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5" h="523">
                <a:moveTo>
                  <a:pt x="261" y="0"/>
                </a:moveTo>
                <a:cubicBezTo>
                  <a:pt x="260" y="0"/>
                  <a:pt x="260" y="0"/>
                  <a:pt x="260" y="0"/>
                </a:cubicBezTo>
                <a:cubicBezTo>
                  <a:pt x="219" y="0"/>
                  <a:pt x="183" y="7"/>
                  <a:pt x="150" y="21"/>
                </a:cubicBezTo>
                <a:cubicBezTo>
                  <a:pt x="118" y="35"/>
                  <a:pt x="91" y="54"/>
                  <a:pt x="69" y="79"/>
                </a:cubicBezTo>
                <a:cubicBezTo>
                  <a:pt x="46" y="104"/>
                  <a:pt x="29" y="133"/>
                  <a:pt x="18" y="168"/>
                </a:cubicBezTo>
                <a:cubicBezTo>
                  <a:pt x="6" y="202"/>
                  <a:pt x="0" y="240"/>
                  <a:pt x="0" y="281"/>
                </a:cubicBezTo>
                <a:cubicBezTo>
                  <a:pt x="0" y="320"/>
                  <a:pt x="0" y="320"/>
                  <a:pt x="0" y="320"/>
                </a:cubicBezTo>
                <a:cubicBezTo>
                  <a:pt x="0" y="350"/>
                  <a:pt x="4" y="377"/>
                  <a:pt x="13" y="402"/>
                </a:cubicBezTo>
                <a:cubicBezTo>
                  <a:pt x="22" y="427"/>
                  <a:pt x="34" y="449"/>
                  <a:pt x="49" y="467"/>
                </a:cubicBezTo>
                <a:cubicBezTo>
                  <a:pt x="65" y="484"/>
                  <a:pt x="84" y="498"/>
                  <a:pt x="106" y="508"/>
                </a:cubicBezTo>
                <a:cubicBezTo>
                  <a:pt x="127" y="518"/>
                  <a:pt x="151" y="523"/>
                  <a:pt x="177" y="523"/>
                </a:cubicBezTo>
                <a:cubicBezTo>
                  <a:pt x="176" y="523"/>
                  <a:pt x="174" y="523"/>
                  <a:pt x="172" y="523"/>
                </a:cubicBezTo>
                <a:cubicBezTo>
                  <a:pt x="1845" y="523"/>
                  <a:pt x="1845" y="523"/>
                  <a:pt x="1845" y="523"/>
                </a:cubicBezTo>
                <a:cubicBezTo>
                  <a:pt x="1845" y="0"/>
                  <a:pt x="1845" y="0"/>
                  <a:pt x="1845" y="0"/>
                </a:cubicBezTo>
                <a:cubicBezTo>
                  <a:pt x="275" y="0"/>
                  <a:pt x="275" y="0"/>
                  <a:pt x="275" y="0"/>
                </a:cubicBezTo>
                <a:lnTo>
                  <a:pt x="261" y="0"/>
                </a:lnTo>
                <a:close/>
                <a:moveTo>
                  <a:pt x="246" y="386"/>
                </a:moveTo>
                <a:cubicBezTo>
                  <a:pt x="242" y="397"/>
                  <a:pt x="237" y="407"/>
                  <a:pt x="231" y="415"/>
                </a:cubicBezTo>
                <a:cubicBezTo>
                  <a:pt x="225" y="423"/>
                  <a:pt x="217" y="430"/>
                  <a:pt x="208" y="434"/>
                </a:cubicBezTo>
                <a:cubicBezTo>
                  <a:pt x="199" y="439"/>
                  <a:pt x="189" y="441"/>
                  <a:pt x="178" y="441"/>
                </a:cubicBezTo>
                <a:cubicBezTo>
                  <a:pt x="167" y="441"/>
                  <a:pt x="156" y="439"/>
                  <a:pt x="147" y="435"/>
                </a:cubicBezTo>
                <a:cubicBezTo>
                  <a:pt x="137" y="430"/>
                  <a:pt x="129" y="424"/>
                  <a:pt x="123" y="415"/>
                </a:cubicBezTo>
                <a:cubicBezTo>
                  <a:pt x="116" y="406"/>
                  <a:pt x="111" y="394"/>
                  <a:pt x="107" y="381"/>
                </a:cubicBezTo>
                <a:cubicBezTo>
                  <a:pt x="103" y="367"/>
                  <a:pt x="102" y="351"/>
                  <a:pt x="102" y="333"/>
                </a:cubicBezTo>
                <a:cubicBezTo>
                  <a:pt x="102" y="303"/>
                  <a:pt x="102" y="303"/>
                  <a:pt x="102" y="303"/>
                </a:cubicBezTo>
                <a:cubicBezTo>
                  <a:pt x="104" y="297"/>
                  <a:pt x="108" y="291"/>
                  <a:pt x="113" y="285"/>
                </a:cubicBezTo>
                <a:cubicBezTo>
                  <a:pt x="118" y="279"/>
                  <a:pt x="123" y="274"/>
                  <a:pt x="130" y="270"/>
                </a:cubicBezTo>
                <a:cubicBezTo>
                  <a:pt x="136" y="265"/>
                  <a:pt x="143" y="262"/>
                  <a:pt x="151" y="260"/>
                </a:cubicBezTo>
                <a:cubicBezTo>
                  <a:pt x="158" y="257"/>
                  <a:pt x="167" y="256"/>
                  <a:pt x="176" y="256"/>
                </a:cubicBezTo>
                <a:cubicBezTo>
                  <a:pt x="188" y="256"/>
                  <a:pt x="198" y="258"/>
                  <a:pt x="207" y="263"/>
                </a:cubicBezTo>
                <a:cubicBezTo>
                  <a:pt x="217" y="267"/>
                  <a:pt x="224" y="274"/>
                  <a:pt x="231" y="282"/>
                </a:cubicBezTo>
                <a:cubicBezTo>
                  <a:pt x="238" y="290"/>
                  <a:pt x="242" y="300"/>
                  <a:pt x="246" y="312"/>
                </a:cubicBezTo>
                <a:cubicBezTo>
                  <a:pt x="249" y="323"/>
                  <a:pt x="251" y="335"/>
                  <a:pt x="251" y="349"/>
                </a:cubicBezTo>
                <a:cubicBezTo>
                  <a:pt x="251" y="362"/>
                  <a:pt x="249" y="375"/>
                  <a:pt x="246" y="386"/>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32" name="Freeform 9">
            <a:extLst>
              <a:ext uri="{FF2B5EF4-FFF2-40B4-BE49-F238E27FC236}">
                <a16:creationId xmlns:a16="http://schemas.microsoft.com/office/drawing/2014/main" xmlns="" id="{6270A8B0-B17F-445E-B447-7A1B33859038}"/>
              </a:ext>
            </a:extLst>
          </p:cNvPr>
          <p:cNvSpPr>
            <a:spLocks/>
          </p:cNvSpPr>
          <p:nvPr/>
        </p:nvSpPr>
        <p:spPr bwMode="auto">
          <a:xfrm>
            <a:off x="8253042" y="4880855"/>
            <a:ext cx="656933" cy="1169177"/>
          </a:xfrm>
          <a:custGeom>
            <a:avLst/>
            <a:gdLst>
              <a:gd name="T0" fmla="*/ 113 w 232"/>
              <a:gd name="T1" fmla="*/ 0 h 340"/>
              <a:gd name="T2" fmla="*/ 113 w 232"/>
              <a:gd name="T3" fmla="*/ 0 h 340"/>
              <a:gd name="T4" fmla="*/ 113 w 232"/>
              <a:gd name="T5" fmla="*/ 55 h 340"/>
              <a:gd name="T6" fmla="*/ 109 w 232"/>
              <a:gd name="T7" fmla="*/ 55 h 340"/>
              <a:gd name="T8" fmla="*/ 66 w 232"/>
              <a:gd name="T9" fmla="*/ 61 h 340"/>
              <a:gd name="T10" fmla="*/ 33 w 232"/>
              <a:gd name="T11" fmla="*/ 78 h 340"/>
              <a:gd name="T12" fmla="*/ 12 w 232"/>
              <a:gd name="T13" fmla="*/ 105 h 340"/>
              <a:gd name="T14" fmla="*/ 0 w 232"/>
              <a:gd name="T15" fmla="*/ 140 h 340"/>
              <a:gd name="T16" fmla="*/ 29 w 232"/>
              <a:gd name="T17" fmla="*/ 121 h 340"/>
              <a:gd name="T18" fmla="*/ 68 w 232"/>
              <a:gd name="T19" fmla="*/ 114 h 340"/>
              <a:gd name="T20" fmla="*/ 109 w 232"/>
              <a:gd name="T21" fmla="*/ 122 h 340"/>
              <a:gd name="T22" fmla="*/ 139 w 232"/>
              <a:gd name="T23" fmla="*/ 147 h 340"/>
              <a:gd name="T24" fmla="*/ 157 w 232"/>
              <a:gd name="T25" fmla="*/ 183 h 340"/>
              <a:gd name="T26" fmla="*/ 163 w 232"/>
              <a:gd name="T27" fmla="*/ 226 h 340"/>
              <a:gd name="T28" fmla="*/ 155 w 232"/>
              <a:gd name="T29" fmla="*/ 271 h 340"/>
              <a:gd name="T30" fmla="*/ 132 w 232"/>
              <a:gd name="T31" fmla="*/ 307 h 340"/>
              <a:gd name="T32" fmla="*/ 97 w 232"/>
              <a:gd name="T33" fmla="*/ 331 h 340"/>
              <a:gd name="T34" fmla="*/ 50 w 232"/>
              <a:gd name="T35" fmla="*/ 340 h 340"/>
              <a:gd name="T36" fmla="*/ 232 w 232"/>
              <a:gd name="T37" fmla="*/ 340 h 340"/>
              <a:gd name="T38" fmla="*/ 113 w 232"/>
              <a:gd name="T39"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2" h="340">
                <a:moveTo>
                  <a:pt x="113" y="0"/>
                </a:moveTo>
                <a:cubicBezTo>
                  <a:pt x="113" y="0"/>
                  <a:pt x="113" y="0"/>
                  <a:pt x="113" y="0"/>
                </a:cubicBezTo>
                <a:cubicBezTo>
                  <a:pt x="113" y="55"/>
                  <a:pt x="113" y="55"/>
                  <a:pt x="113" y="55"/>
                </a:cubicBezTo>
                <a:cubicBezTo>
                  <a:pt x="109" y="55"/>
                  <a:pt x="109" y="55"/>
                  <a:pt x="109" y="55"/>
                </a:cubicBezTo>
                <a:cubicBezTo>
                  <a:pt x="93" y="55"/>
                  <a:pt x="78" y="57"/>
                  <a:pt x="66" y="61"/>
                </a:cubicBezTo>
                <a:cubicBezTo>
                  <a:pt x="54" y="64"/>
                  <a:pt x="42" y="70"/>
                  <a:pt x="33" y="78"/>
                </a:cubicBezTo>
                <a:cubicBezTo>
                  <a:pt x="24" y="85"/>
                  <a:pt x="17" y="94"/>
                  <a:pt x="12" y="105"/>
                </a:cubicBezTo>
                <a:cubicBezTo>
                  <a:pt x="6" y="116"/>
                  <a:pt x="2" y="127"/>
                  <a:pt x="0" y="140"/>
                </a:cubicBezTo>
                <a:cubicBezTo>
                  <a:pt x="8" y="133"/>
                  <a:pt x="18" y="126"/>
                  <a:pt x="29" y="121"/>
                </a:cubicBezTo>
                <a:cubicBezTo>
                  <a:pt x="40" y="116"/>
                  <a:pt x="54" y="114"/>
                  <a:pt x="68" y="114"/>
                </a:cubicBezTo>
                <a:cubicBezTo>
                  <a:pt x="84" y="114"/>
                  <a:pt x="97" y="116"/>
                  <a:pt x="109" y="122"/>
                </a:cubicBezTo>
                <a:cubicBezTo>
                  <a:pt x="121" y="129"/>
                  <a:pt x="131" y="137"/>
                  <a:pt x="139" y="147"/>
                </a:cubicBezTo>
                <a:cubicBezTo>
                  <a:pt x="147" y="157"/>
                  <a:pt x="153" y="169"/>
                  <a:pt x="157" y="183"/>
                </a:cubicBezTo>
                <a:cubicBezTo>
                  <a:pt x="161" y="196"/>
                  <a:pt x="163" y="211"/>
                  <a:pt x="163" y="226"/>
                </a:cubicBezTo>
                <a:cubicBezTo>
                  <a:pt x="163" y="242"/>
                  <a:pt x="160" y="257"/>
                  <a:pt x="155" y="271"/>
                </a:cubicBezTo>
                <a:cubicBezTo>
                  <a:pt x="150" y="285"/>
                  <a:pt x="142" y="297"/>
                  <a:pt x="132" y="307"/>
                </a:cubicBezTo>
                <a:cubicBezTo>
                  <a:pt x="122" y="317"/>
                  <a:pt x="111" y="326"/>
                  <a:pt x="97" y="331"/>
                </a:cubicBezTo>
                <a:cubicBezTo>
                  <a:pt x="83" y="337"/>
                  <a:pt x="67" y="340"/>
                  <a:pt x="50" y="340"/>
                </a:cubicBezTo>
                <a:cubicBezTo>
                  <a:pt x="232" y="340"/>
                  <a:pt x="232" y="340"/>
                  <a:pt x="232" y="340"/>
                </a:cubicBezTo>
                <a:cubicBezTo>
                  <a:pt x="113" y="0"/>
                  <a:pt x="113" y="0"/>
                  <a:pt x="113" y="0"/>
                </a:cubicBez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33" name="TextBox 27">
            <a:extLst>
              <a:ext uri="{FF2B5EF4-FFF2-40B4-BE49-F238E27FC236}">
                <a16:creationId xmlns:a16="http://schemas.microsoft.com/office/drawing/2014/main" xmlns="" id="{E10DE08E-05A2-4BA2-A349-D26B4140A52C}"/>
              </a:ext>
            </a:extLst>
          </p:cNvPr>
          <p:cNvSpPr txBox="1"/>
          <p:nvPr/>
        </p:nvSpPr>
        <p:spPr>
          <a:xfrm>
            <a:off x="8905746" y="3788329"/>
            <a:ext cx="2604564" cy="907941"/>
          </a:xfrm>
          <a:prstGeom prst="rect">
            <a:avLst/>
          </a:prstGeom>
          <a:noFill/>
        </p:spPr>
        <p:txBody>
          <a:bodyPr wrap="square" lIns="91440" tIns="45720" rIns="91440" bIns="45720" rtlCol="0" anchor="t">
            <a:spAutoFit/>
          </a:bodyPr>
          <a:lstStyle>
            <a:defPPr>
              <a:defRPr lang="en-US"/>
            </a:defPPr>
            <a:lvl1pPr marL="171450" indent="-171450">
              <a:spcAft>
                <a:spcPts val="300"/>
              </a:spcAft>
              <a:buFont typeface="Arial" panose="020B0604020202020204" pitchFamily="34" charset="0"/>
              <a:buChar char="•"/>
              <a:defRPr sz="1200">
                <a:solidFill>
                  <a:schemeClr val="bg1"/>
                </a:solidFill>
                <a:latin typeface="+mj-lt"/>
                <a:ea typeface="Lato Light" charset="0"/>
                <a:cs typeface="Lato Light" charset="0"/>
              </a:defRPr>
            </a:lvl1pPr>
          </a:lstStyle>
          <a:p>
            <a:r>
              <a:rPr lang="en-GB" sz="1600" dirty="0"/>
              <a:t>Requisitos de capital</a:t>
            </a:r>
          </a:p>
          <a:p>
            <a:r>
              <a:rPr lang="en-GB" sz="1600" dirty="0"/>
              <a:t>acceso a la financiación</a:t>
            </a:r>
          </a:p>
          <a:p>
            <a:r>
              <a:rPr lang="en-GB" sz="1600" dirty="0"/>
              <a:t>Clasificación, etc.</a:t>
            </a:r>
          </a:p>
        </p:txBody>
      </p:sp>
      <p:sp>
        <p:nvSpPr>
          <p:cNvPr id="34" name="TextBox 28">
            <a:extLst>
              <a:ext uri="{FF2B5EF4-FFF2-40B4-BE49-F238E27FC236}">
                <a16:creationId xmlns:a16="http://schemas.microsoft.com/office/drawing/2014/main" xmlns="" id="{31F04CE3-7FB1-4222-BD92-E9BC6BDF7F98}"/>
              </a:ext>
            </a:extLst>
          </p:cNvPr>
          <p:cNvSpPr txBox="1"/>
          <p:nvPr/>
        </p:nvSpPr>
        <p:spPr>
          <a:xfrm>
            <a:off x="8922477" y="3509246"/>
            <a:ext cx="888385"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Finanzas</a:t>
            </a:r>
            <a:endParaRPr lang="en-GB" sz="1600" b="1" dirty="0">
              <a:solidFill>
                <a:schemeClr val="bg1"/>
              </a:solidFill>
              <a:latin typeface="+mj-lt"/>
              <a:ea typeface="Roboto" charset="0"/>
              <a:cs typeface="Roboto" charset="0"/>
            </a:endParaRPr>
          </a:p>
        </p:txBody>
      </p:sp>
      <p:sp>
        <p:nvSpPr>
          <p:cNvPr id="35" name="TextBox 29">
            <a:extLst>
              <a:ext uri="{FF2B5EF4-FFF2-40B4-BE49-F238E27FC236}">
                <a16:creationId xmlns:a16="http://schemas.microsoft.com/office/drawing/2014/main" xmlns="" id="{9ABD22C3-08CC-45FE-9221-C374548E2892}"/>
              </a:ext>
            </a:extLst>
          </p:cNvPr>
          <p:cNvSpPr txBox="1"/>
          <p:nvPr/>
        </p:nvSpPr>
        <p:spPr>
          <a:xfrm>
            <a:off x="4815170" y="3783506"/>
            <a:ext cx="2604564" cy="907941"/>
          </a:xfrm>
          <a:prstGeom prst="rect">
            <a:avLst/>
          </a:prstGeom>
          <a:noFill/>
        </p:spPr>
        <p:txBody>
          <a:bodyPr wrap="square" lIns="91440" tIns="45720" rIns="91440" bIns="45720" rtlCol="0" anchor="t">
            <a:spAutoFit/>
          </a:bodyPr>
          <a:lstStyle>
            <a:defPPr>
              <a:defRPr lang="en-US"/>
            </a:defPPr>
            <a:lvl1pPr marL="171450" indent="-171450">
              <a:spcAft>
                <a:spcPts val="300"/>
              </a:spcAft>
              <a:buFont typeface="Arial" panose="020B0604020202020204" pitchFamily="34" charset="0"/>
              <a:buChar char="•"/>
              <a:defRPr sz="1200">
                <a:solidFill>
                  <a:schemeClr val="bg1"/>
                </a:solidFill>
                <a:latin typeface="+mj-lt"/>
                <a:ea typeface="Lato Light" charset="0"/>
                <a:cs typeface="Lato Light" charset="0"/>
              </a:defRPr>
            </a:lvl1pPr>
          </a:lstStyle>
          <a:p>
            <a:r>
              <a:rPr lang="en-GB" sz="1600" dirty="0"/>
              <a:t>Posicionamiento</a:t>
            </a:r>
          </a:p>
          <a:p>
            <a:r>
              <a:rPr lang="en-GB" sz="1600" dirty="0"/>
              <a:t>Marca</a:t>
            </a:r>
          </a:p>
          <a:p>
            <a:r>
              <a:rPr lang="en-GB" sz="1600" dirty="0"/>
              <a:t>Política de precios, etc.</a:t>
            </a:r>
          </a:p>
        </p:txBody>
      </p:sp>
      <p:sp>
        <p:nvSpPr>
          <p:cNvPr id="36" name="TextBox 30">
            <a:extLst>
              <a:ext uri="{FF2B5EF4-FFF2-40B4-BE49-F238E27FC236}">
                <a16:creationId xmlns:a16="http://schemas.microsoft.com/office/drawing/2014/main" xmlns="" id="{D88FBC15-78BF-4C9A-BE2A-CC3E9782183F}"/>
              </a:ext>
            </a:extLst>
          </p:cNvPr>
          <p:cNvSpPr txBox="1"/>
          <p:nvPr/>
        </p:nvSpPr>
        <p:spPr>
          <a:xfrm>
            <a:off x="4831901" y="3509246"/>
            <a:ext cx="2333396"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Comercialización y distribución</a:t>
            </a:r>
            <a:endParaRPr lang="en-GB" sz="1600" b="1" dirty="0">
              <a:solidFill>
                <a:schemeClr val="bg1"/>
              </a:solidFill>
              <a:latin typeface="+mj-lt"/>
              <a:ea typeface="Roboto" charset="0"/>
              <a:cs typeface="Roboto" charset="0"/>
            </a:endParaRPr>
          </a:p>
        </p:txBody>
      </p:sp>
      <p:sp>
        <p:nvSpPr>
          <p:cNvPr id="37" name="TextBox 31">
            <a:extLst>
              <a:ext uri="{FF2B5EF4-FFF2-40B4-BE49-F238E27FC236}">
                <a16:creationId xmlns:a16="http://schemas.microsoft.com/office/drawing/2014/main" xmlns="" id="{40A71B33-5B2E-4121-AB91-C3937FE19AA4}"/>
              </a:ext>
            </a:extLst>
          </p:cNvPr>
          <p:cNvSpPr txBox="1"/>
          <p:nvPr/>
        </p:nvSpPr>
        <p:spPr>
          <a:xfrm>
            <a:off x="8910569" y="5140062"/>
            <a:ext cx="2604564" cy="907941"/>
          </a:xfrm>
          <a:prstGeom prst="rect">
            <a:avLst/>
          </a:prstGeom>
          <a:noFill/>
        </p:spPr>
        <p:txBody>
          <a:bodyPr wrap="square" lIns="91440" tIns="45720" rIns="91440" bIns="45720" rtlCol="0" anchor="t">
            <a:spAutoFit/>
          </a:bodyPr>
          <a:lstStyle>
            <a:defPPr>
              <a:defRPr lang="en-US"/>
            </a:defPPr>
            <a:lvl1pPr marL="171450" indent="-171450">
              <a:spcAft>
                <a:spcPts val="300"/>
              </a:spcAft>
              <a:buFont typeface="Arial" panose="020B0604020202020204" pitchFamily="34" charset="0"/>
              <a:buChar char="•"/>
              <a:defRPr sz="1200">
                <a:solidFill>
                  <a:schemeClr val="bg1"/>
                </a:solidFill>
                <a:latin typeface="+mj-lt"/>
                <a:ea typeface="Lato Light" charset="0"/>
                <a:cs typeface="Lato Light" charset="0"/>
              </a:defRPr>
            </a:lvl1pPr>
          </a:lstStyle>
          <a:p>
            <a:r>
              <a:rPr lang="en-GB" sz="1600" dirty="0"/>
              <a:t>Fuerza de trabajo</a:t>
            </a:r>
          </a:p>
          <a:p>
            <a:r>
              <a:rPr lang="en-GB" sz="1600" dirty="0"/>
              <a:t>Compensación</a:t>
            </a:r>
          </a:p>
          <a:p>
            <a:r>
              <a:rPr lang="en-GB" sz="1600"/>
              <a:t>Modelos de tiempo de trabajo, etc. </a:t>
            </a:r>
            <a:endParaRPr lang="en-GB" sz="1600" dirty="0"/>
          </a:p>
        </p:txBody>
      </p:sp>
      <p:sp>
        <p:nvSpPr>
          <p:cNvPr id="38" name="TextBox 34">
            <a:extLst>
              <a:ext uri="{FF2B5EF4-FFF2-40B4-BE49-F238E27FC236}">
                <a16:creationId xmlns:a16="http://schemas.microsoft.com/office/drawing/2014/main" xmlns="" id="{3C49A135-F638-45D8-834B-18E88D071908}"/>
              </a:ext>
            </a:extLst>
          </p:cNvPr>
          <p:cNvSpPr txBox="1"/>
          <p:nvPr/>
        </p:nvSpPr>
        <p:spPr>
          <a:xfrm>
            <a:off x="8922477" y="4836866"/>
            <a:ext cx="1028423"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Fuerza de trabajo</a:t>
            </a:r>
            <a:endParaRPr lang="en-GB" sz="1600" b="1" dirty="0">
              <a:solidFill>
                <a:schemeClr val="bg1"/>
              </a:solidFill>
              <a:latin typeface="+mj-lt"/>
              <a:ea typeface="Roboto" charset="0"/>
              <a:cs typeface="Roboto" charset="0"/>
            </a:endParaRPr>
          </a:p>
        </p:txBody>
      </p:sp>
      <p:sp>
        <p:nvSpPr>
          <p:cNvPr id="39" name="TextBox 35">
            <a:extLst>
              <a:ext uri="{FF2B5EF4-FFF2-40B4-BE49-F238E27FC236}">
                <a16:creationId xmlns:a16="http://schemas.microsoft.com/office/drawing/2014/main" xmlns="" id="{CEC49EAC-C535-45A2-89C1-00A30D3B97C1}"/>
              </a:ext>
            </a:extLst>
          </p:cNvPr>
          <p:cNvSpPr txBox="1"/>
          <p:nvPr/>
        </p:nvSpPr>
        <p:spPr>
          <a:xfrm>
            <a:off x="4876539" y="5195152"/>
            <a:ext cx="2604564" cy="907941"/>
          </a:xfrm>
          <a:prstGeom prst="rect">
            <a:avLst/>
          </a:prstGeom>
          <a:noFill/>
        </p:spPr>
        <p:txBody>
          <a:bodyPr wrap="square" lIns="91440" tIns="45720" rIns="91440" bIns="45720" rtlCol="0" anchor="t">
            <a:spAutoFit/>
          </a:bodyPr>
          <a:lstStyle>
            <a:defPPr>
              <a:defRPr lang="en-US"/>
            </a:defPPr>
            <a:lvl1pPr marL="171450" indent="-171450">
              <a:spcAft>
                <a:spcPts val="300"/>
              </a:spcAft>
              <a:buFont typeface="Arial" panose="020B0604020202020204" pitchFamily="34" charset="0"/>
              <a:buChar char="•"/>
              <a:defRPr sz="1200">
                <a:solidFill>
                  <a:schemeClr val="bg1"/>
                </a:solidFill>
                <a:latin typeface="+mj-lt"/>
                <a:ea typeface="Lato Light" charset="0"/>
                <a:cs typeface="Lato Light" charset="0"/>
              </a:defRPr>
            </a:lvl1pPr>
          </a:lstStyle>
          <a:p>
            <a:r>
              <a:rPr lang="en-GB" sz="1600" dirty="0"/>
              <a:t>Ubicaciones</a:t>
            </a:r>
          </a:p>
          <a:p>
            <a:r>
              <a:rPr lang="en-GB" sz="1600" dirty="0"/>
              <a:t>Capacidades</a:t>
            </a:r>
          </a:p>
          <a:p>
            <a:r>
              <a:rPr lang="en-GB" sz="1600" dirty="0"/>
              <a:t>Tecnología, etc.</a:t>
            </a:r>
          </a:p>
        </p:txBody>
      </p:sp>
      <p:sp>
        <p:nvSpPr>
          <p:cNvPr id="40" name="TextBox 36">
            <a:extLst>
              <a:ext uri="{FF2B5EF4-FFF2-40B4-BE49-F238E27FC236}">
                <a16:creationId xmlns:a16="http://schemas.microsoft.com/office/drawing/2014/main" xmlns="" id="{40836DFB-28EC-48EC-8AF4-579FAEFAD1F6}"/>
              </a:ext>
            </a:extLst>
          </p:cNvPr>
          <p:cNvSpPr txBox="1"/>
          <p:nvPr/>
        </p:nvSpPr>
        <p:spPr>
          <a:xfrm>
            <a:off x="4831901" y="4836866"/>
            <a:ext cx="2517997"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Producción y compras</a:t>
            </a:r>
            <a:endParaRPr lang="en-GB" sz="1600" b="1" dirty="0">
              <a:solidFill>
                <a:schemeClr val="bg1"/>
              </a:solidFill>
              <a:latin typeface="+mj-lt"/>
              <a:ea typeface="Roboto" charset="0"/>
              <a:cs typeface="Roboto" charset="0"/>
            </a:endParaRPr>
          </a:p>
        </p:txBody>
      </p:sp>
      <p:sp>
        <p:nvSpPr>
          <p:cNvPr id="41" name="TextBox 37">
            <a:extLst>
              <a:ext uri="{FF2B5EF4-FFF2-40B4-BE49-F238E27FC236}">
                <a16:creationId xmlns:a16="http://schemas.microsoft.com/office/drawing/2014/main" xmlns="" id="{FC00461B-375B-4BFF-B977-DA72C1E1F3E1}"/>
              </a:ext>
            </a:extLst>
          </p:cNvPr>
          <p:cNvSpPr txBox="1"/>
          <p:nvPr/>
        </p:nvSpPr>
        <p:spPr>
          <a:xfrm>
            <a:off x="8900339" y="2205377"/>
            <a:ext cx="3139960" cy="1154162"/>
          </a:xfrm>
          <a:prstGeom prst="rect">
            <a:avLst/>
          </a:prstGeom>
          <a:noFill/>
        </p:spPr>
        <p:txBody>
          <a:bodyPr wrap="square" lIns="91440" tIns="45720" rIns="91440" bIns="45720" rtlCol="0" anchor="t">
            <a:spAutoFit/>
          </a:bodyPr>
          <a:lstStyle>
            <a:defPPr>
              <a:defRPr lang="en-US"/>
            </a:defPPr>
            <a:lvl1pPr marL="171450" indent="-171450">
              <a:spcAft>
                <a:spcPts val="300"/>
              </a:spcAft>
              <a:buFont typeface="Arial" panose="020B0604020202020204" pitchFamily="34" charset="0"/>
              <a:buChar char="•"/>
              <a:defRPr sz="1200">
                <a:solidFill>
                  <a:schemeClr val="bg1"/>
                </a:solidFill>
                <a:latin typeface="+mj-lt"/>
                <a:ea typeface="Lato Light" charset="0"/>
                <a:cs typeface="Lato Light" charset="0"/>
              </a:defRPr>
            </a:lvl1pPr>
          </a:lstStyle>
          <a:p>
            <a:r>
              <a:rPr lang="en-GB" sz="1600" dirty="0"/>
              <a:t>Innovación e ideas </a:t>
            </a:r>
            <a:br>
              <a:rPr lang="en-GB" sz="1600" dirty="0"/>
            </a:br>
            <a:r>
              <a:rPr lang="en-GB" sz="1600"/>
              <a:t>gestión </a:t>
            </a:r>
            <a:endParaRPr lang="en-GB" sz="1600" dirty="0"/>
          </a:p>
          <a:p>
            <a:r>
              <a:rPr lang="en-GB" sz="1600" dirty="0"/>
              <a:t>Patentes</a:t>
            </a:r>
          </a:p>
          <a:p>
            <a:r>
              <a:rPr lang="en-GB" sz="1600" dirty="0"/>
              <a:t>Licencias, etc.</a:t>
            </a:r>
          </a:p>
        </p:txBody>
      </p:sp>
      <p:sp>
        <p:nvSpPr>
          <p:cNvPr id="42" name="TextBox 38">
            <a:extLst>
              <a:ext uri="{FF2B5EF4-FFF2-40B4-BE49-F238E27FC236}">
                <a16:creationId xmlns:a16="http://schemas.microsoft.com/office/drawing/2014/main" xmlns="" id="{D623B23D-BA39-45F1-A88F-2E15FA967617}"/>
              </a:ext>
            </a:extLst>
          </p:cNvPr>
          <p:cNvSpPr txBox="1"/>
          <p:nvPr/>
        </p:nvSpPr>
        <p:spPr>
          <a:xfrm>
            <a:off x="8922186" y="2005789"/>
            <a:ext cx="2376741"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Investigación y desarrollo</a:t>
            </a:r>
            <a:endParaRPr lang="en-GB" sz="1600" b="1" dirty="0">
              <a:solidFill>
                <a:schemeClr val="bg1"/>
              </a:solidFill>
              <a:latin typeface="+mj-lt"/>
              <a:ea typeface="Roboto" charset="0"/>
              <a:cs typeface="Roboto" charset="0"/>
            </a:endParaRPr>
          </a:p>
        </p:txBody>
      </p:sp>
      <p:sp>
        <p:nvSpPr>
          <p:cNvPr id="43" name="TextBox 39">
            <a:extLst>
              <a:ext uri="{FF2B5EF4-FFF2-40B4-BE49-F238E27FC236}">
                <a16:creationId xmlns:a16="http://schemas.microsoft.com/office/drawing/2014/main" xmlns="" id="{D58755C9-57D4-4E13-B2AA-8F9B9913EEEC}"/>
              </a:ext>
            </a:extLst>
          </p:cNvPr>
          <p:cNvSpPr txBox="1"/>
          <p:nvPr/>
        </p:nvSpPr>
        <p:spPr>
          <a:xfrm>
            <a:off x="4815170" y="2359997"/>
            <a:ext cx="2604564" cy="907941"/>
          </a:xfrm>
          <a:prstGeom prst="rect">
            <a:avLst/>
          </a:prstGeom>
          <a:noFill/>
        </p:spPr>
        <p:txBody>
          <a:bodyPr wrap="square" lIns="91440" tIns="45720" rIns="91440" bIns="45720" rtlCol="0" anchor="t">
            <a:spAutoFit/>
          </a:bodyPr>
          <a:lstStyle/>
          <a:p>
            <a:pPr marL="171450" indent="-171450">
              <a:spcAft>
                <a:spcPts val="300"/>
              </a:spcAft>
              <a:buFont typeface="Arial" panose="020B0604020202020204" pitchFamily="34" charset="0"/>
              <a:buChar char="•"/>
            </a:pPr>
            <a:r>
              <a:rPr lang="en-GB" sz="1600" dirty="0">
                <a:solidFill>
                  <a:schemeClr val="bg1"/>
                </a:solidFill>
                <a:latin typeface="+mj-lt"/>
                <a:ea typeface="Lato Light" charset="0"/>
                <a:cs typeface="Lato Light" charset="0"/>
              </a:rPr>
              <a:t>Gama</a:t>
            </a:r>
          </a:p>
          <a:p>
            <a:pPr marL="171450" indent="-171450">
              <a:spcAft>
                <a:spcPts val="300"/>
              </a:spcAft>
              <a:buFont typeface="Arial" panose="020B0604020202020204" pitchFamily="34" charset="0"/>
              <a:buChar char="•"/>
            </a:pPr>
            <a:r>
              <a:rPr lang="en-GB" sz="1600" dirty="0">
                <a:solidFill>
                  <a:schemeClr val="bg1"/>
                </a:solidFill>
                <a:latin typeface="+mj-lt"/>
                <a:ea typeface="Lato Light" charset="0"/>
                <a:cs typeface="Lato Light" charset="0"/>
              </a:rPr>
              <a:t>Diseño</a:t>
            </a:r>
          </a:p>
          <a:p>
            <a:pPr marL="171450" indent="-171450">
              <a:spcAft>
                <a:spcPts val="300"/>
              </a:spcAft>
              <a:buFont typeface="Arial" panose="020B0604020202020204" pitchFamily="34" charset="0"/>
              <a:buChar char="•"/>
            </a:pPr>
            <a:r>
              <a:rPr lang="en-GB" sz="1600" dirty="0">
                <a:solidFill>
                  <a:schemeClr val="bg1"/>
                </a:solidFill>
                <a:latin typeface="+mj-lt"/>
                <a:ea typeface="Lato Light" charset="0"/>
                <a:cs typeface="Lato Light" charset="0"/>
              </a:rPr>
              <a:t>Calidad, etc.</a:t>
            </a:r>
          </a:p>
        </p:txBody>
      </p:sp>
      <p:sp>
        <p:nvSpPr>
          <p:cNvPr id="44" name="TextBox 40">
            <a:extLst>
              <a:ext uri="{FF2B5EF4-FFF2-40B4-BE49-F238E27FC236}">
                <a16:creationId xmlns:a16="http://schemas.microsoft.com/office/drawing/2014/main" xmlns="" id="{15950AA9-664D-4F7E-8D68-5D88A72171A5}"/>
              </a:ext>
            </a:extLst>
          </p:cNvPr>
          <p:cNvSpPr txBox="1"/>
          <p:nvPr/>
        </p:nvSpPr>
        <p:spPr>
          <a:xfrm>
            <a:off x="4831901" y="2062789"/>
            <a:ext cx="2607509"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Programa de ventas y producción</a:t>
            </a:r>
          </a:p>
        </p:txBody>
      </p:sp>
    </p:spTree>
    <p:extLst>
      <p:ext uri="{BB962C8B-B14F-4D97-AF65-F5344CB8AC3E}">
        <p14:creationId xmlns:p14="http://schemas.microsoft.com/office/powerpoint/2010/main" val="15943795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Lo que aprenderás del Módulo 05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5940088"/>
          </a:xfrm>
          <a:prstGeom prst="rect">
            <a:avLst/>
          </a:prstGeom>
          <a:noFill/>
        </p:spPr>
        <p:txBody>
          <a:bodyPr wrap="square">
            <a:spAutoFit/>
          </a:bodyPr>
          <a:lstStyle/>
          <a:p>
            <a:r>
              <a:rPr lang="en-IE" sz="2000" dirty="0">
                <a:solidFill>
                  <a:schemeClr val="bg1"/>
                </a:solidFill>
              </a:rPr>
              <a:t>En el Módulo 5, le presentamos la </a:t>
            </a:r>
            <a:r>
              <a:rPr lang="en-GB" sz="2000" dirty="0">
                <a:solidFill>
                  <a:schemeClr val="bg1"/>
                </a:solidFill>
              </a:rPr>
              <a:t>importancia de las Opciones Estratégicas en las Fases de Crisis antes de llevarle en detalle a través del Lado Estratégico de la </a:t>
            </a:r>
            <a:r>
              <a:rPr lang="en-GB" sz="2000" dirty="0" err="1">
                <a:solidFill>
                  <a:schemeClr val="bg1"/>
                </a:solidFill>
              </a:rPr>
              <a:t>Reestructuración/ </a:t>
            </a:r>
          </a:p>
          <a:p>
            <a:endParaRPr lang="en-GB" sz="2000" dirty="0">
              <a:solidFill>
                <a:schemeClr val="bg1"/>
              </a:solidFill>
            </a:endParaRPr>
          </a:p>
          <a:p>
            <a:r>
              <a:rPr lang="en-GB" sz="2000" b="1" dirty="0">
                <a:solidFill>
                  <a:schemeClr val="bg1"/>
                </a:solidFill>
                <a:latin typeface="+mj-lt"/>
                <a:ea typeface="Open Sans Light" panose="020B0306030504020204" pitchFamily="34" charset="0"/>
                <a:cs typeface="Open Sans Light" panose="020B0306030504020204" pitchFamily="34" charset="0"/>
              </a:rPr>
              <a:t>En el Módulo 05, El lado estratégico de la reestructuración, </a:t>
            </a:r>
            <a:r>
              <a:rPr lang="en-IE" sz="2000" dirty="0" err="1">
                <a:solidFill>
                  <a:schemeClr val="bg1"/>
                </a:solidFill>
              </a:rPr>
              <a:t>se </a:t>
            </a:r>
            <a:r>
              <a:rPr lang="en-IE" sz="2000" dirty="0">
                <a:solidFill>
                  <a:schemeClr val="bg1"/>
                </a:solidFill>
              </a:rPr>
              <a:t>beneficiará de aprender a </a:t>
            </a:r>
          </a:p>
          <a:p>
            <a:endParaRPr lang="en-IE" sz="2000" dirty="0">
              <a:solidFill>
                <a:schemeClr val="bg1"/>
              </a:solidFill>
            </a:endParaRPr>
          </a:p>
          <a:p>
            <a:pPr marL="342900" indent="-342900">
              <a:buFont typeface="Arial" panose="020B0604020202020204" pitchFamily="34" charset="0"/>
              <a:buChar char="•"/>
            </a:pPr>
            <a:r>
              <a:rPr lang="en-GB" sz="2000" b="1" u="sng" dirty="0">
                <a:solidFill>
                  <a:schemeClr val="bg1"/>
                </a:solidFill>
              </a:rPr>
              <a:t>Comprender los conceptos de reestructuración </a:t>
            </a:r>
            <a:r>
              <a:rPr lang="en-GB" sz="2000" dirty="0">
                <a:solidFill>
                  <a:schemeClr val="bg1"/>
                </a:solidFill>
              </a:rPr>
              <a:t>en 4 áreas clave de la empresa, la importancia de una nueva declaración de misión y la planificación empresarial integrada</a:t>
            </a:r>
          </a:p>
          <a:p>
            <a:pPr marL="342900" indent="-342900">
              <a:buFont typeface="Arial" panose="020B0604020202020204" pitchFamily="34" charset="0"/>
              <a:buChar char="•"/>
            </a:pPr>
            <a:r>
              <a:rPr lang="en-GB" sz="2000" b="1" u="sng" dirty="0">
                <a:solidFill>
                  <a:schemeClr val="bg1"/>
                </a:solidFill>
              </a:rPr>
              <a:t>Mejora en la reducción del impacto de las </a:t>
            </a:r>
            <a:r>
              <a:rPr lang="en-GB" sz="2000" dirty="0">
                <a:solidFill>
                  <a:schemeClr val="bg1"/>
                </a:solidFill>
              </a:rPr>
              <a:t>crisis, medidas que incluyen una caja de peaje básica para identificar y mitigar las crisis</a:t>
            </a:r>
          </a:p>
          <a:p>
            <a:pPr marL="342900" indent="-342900">
              <a:buFont typeface="Arial" panose="020B0604020202020204" pitchFamily="34" charset="0"/>
              <a:buChar char="•"/>
            </a:pPr>
            <a:r>
              <a:rPr lang="en-GB" sz="2000" b="1" u="sng" dirty="0">
                <a:solidFill>
                  <a:schemeClr val="bg1"/>
                </a:solidFill>
              </a:rPr>
              <a:t>Gestionar la crisis</a:t>
            </a:r>
            <a:r>
              <a:rPr lang="en-GB" sz="2000" dirty="0">
                <a:solidFill>
                  <a:schemeClr val="bg1"/>
                </a:solidFill>
              </a:rPr>
              <a:t>, las medidas de base necesarias que cubren la superación de una crisis de liquidez, la gestión del capital circulante y las medidas rápidas para el marketing y las ventas, 14 ideas de ahorro en las compras, la reducción inteligente de los costes y la producción. </a:t>
            </a:r>
          </a:p>
          <a:p>
            <a:pPr marL="342900" indent="-342900">
              <a:buFont typeface="Arial" panose="020B0604020202020204" pitchFamily="34" charset="0"/>
              <a:buChar char="•"/>
            </a:pPr>
            <a:r>
              <a:rPr lang="en-GB" sz="2000" b="1" u="sng" dirty="0">
                <a:solidFill>
                  <a:schemeClr val="bg1"/>
                </a:solidFill>
              </a:rPr>
              <a:t>Comprender las formas de superar las crisis </a:t>
            </a:r>
            <a:r>
              <a:rPr lang="en-GB" sz="2000" dirty="0">
                <a:solidFill>
                  <a:schemeClr val="bg1"/>
                </a:solidFill>
              </a:rPr>
              <a:t>en los diferentes elementos de la empresa, incluyendo 6 formas de superar una crisis de ventas y productos estacionales, cómo superar una crisis de ingresos, reducir los materiales y 3 enfoques para reducir los costes de personal </a:t>
            </a:r>
          </a:p>
          <a:p>
            <a:pPr marL="342900" indent="-342900">
              <a:buFont typeface="Arial" panose="020B0604020202020204" pitchFamily="34" charset="0"/>
              <a:buChar char="•"/>
            </a:pPr>
            <a:r>
              <a:rPr lang="en-GB" sz="2000" b="1" dirty="0">
                <a:solidFill>
                  <a:schemeClr val="bg1"/>
                </a:solidFill>
              </a:rPr>
              <a:t>Nuevos enfoques para </a:t>
            </a:r>
            <a:r>
              <a:rPr lang="en-GB" sz="2000" b="1" u="sng" dirty="0">
                <a:solidFill>
                  <a:schemeClr val="bg1"/>
                </a:solidFill>
              </a:rPr>
              <a:t>superar la estrategia de crisis</a:t>
            </a:r>
          </a:p>
          <a:p>
            <a:pPr marL="342900" indent="-342900">
              <a:buFont typeface="Arial" panose="020B0604020202020204" pitchFamily="34" charset="0"/>
              <a:buChar char="•"/>
            </a:pPr>
            <a:r>
              <a:rPr lang="en-GB" sz="2000" b="1" u="sng" dirty="0">
                <a:solidFill>
                  <a:schemeClr val="bg1"/>
                </a:solidFill>
              </a:rPr>
              <a:t>Perfeccionamiento de los </a:t>
            </a:r>
            <a:r>
              <a:rPr lang="en-GB" sz="2000" b="1" u="sng" dirty="0" err="1">
                <a:solidFill>
                  <a:schemeClr val="bg1"/>
                </a:solidFill>
              </a:rPr>
              <a:t>métodos de </a:t>
            </a:r>
            <a:r>
              <a:rPr lang="en-GB" sz="2000" b="1" u="sng" dirty="0">
                <a:solidFill>
                  <a:schemeClr val="bg1"/>
                </a:solidFill>
              </a:rPr>
              <a:t>reestructuración financiera</a:t>
            </a:r>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extLst>
              <p:ext uri="{D42A27DB-BD31-4B8C-83A1-F6EECF244321}">
                <p14:modId xmlns:p14="http://schemas.microsoft.com/office/powerpoint/2010/main" val="2528424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739597"/>
            <a:ext cx="8852375" cy="697353"/>
          </a:xfrm>
        </p:spPr>
        <p:txBody>
          <a:bodyPr>
            <a:normAutofit fontScale="77500" lnSpcReduction="20000"/>
          </a:bodyPr>
          <a:lstStyle/>
          <a:p>
            <a:r>
              <a:rPr lang="en-GB" dirty="0"/>
              <a:t>Contenido de los conceptos de reestructuración: Declaración de la mis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868566" cy="245225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reforzar aún más la declaración de misión, también pueden utilizarse indicadores como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como la cuota de mercado, la fidelidad de los empleados, la satisfacción de los clientes, etc.</a:t>
            </a:r>
            <a:endParaRPr lang="en-US" dirty="0">
              <a:solidFill>
                <a:srgbClr val="245473"/>
              </a:solidFill>
            </a:endParaRPr>
          </a:p>
        </p:txBody>
      </p:sp>
      <p:grpSp>
        <p:nvGrpSpPr>
          <p:cNvPr id="63" name="Gruppieren 62">
            <a:extLst>
              <a:ext uri="{FF2B5EF4-FFF2-40B4-BE49-F238E27FC236}">
                <a16:creationId xmlns:a16="http://schemas.microsoft.com/office/drawing/2014/main" xmlns="" id="{5AA573D5-0A86-4A11-ACE1-C915D3688092}"/>
              </a:ext>
            </a:extLst>
          </p:cNvPr>
          <p:cNvGrpSpPr/>
          <p:nvPr/>
        </p:nvGrpSpPr>
        <p:grpSpPr>
          <a:xfrm>
            <a:off x="3807852" y="2531668"/>
            <a:ext cx="8213894" cy="2774254"/>
            <a:chOff x="3920361" y="2081627"/>
            <a:chExt cx="8213894" cy="2774254"/>
          </a:xfrm>
        </p:grpSpPr>
        <p:sp>
          <p:nvSpPr>
            <p:cNvPr id="55" name="Rechteck 54">
              <a:extLst>
                <a:ext uri="{FF2B5EF4-FFF2-40B4-BE49-F238E27FC236}">
                  <a16:creationId xmlns:a16="http://schemas.microsoft.com/office/drawing/2014/main" xmlns="" id="{C4A9EBEA-AFD3-4C5E-A096-C3A2DECBD6EF}"/>
                </a:ext>
              </a:extLst>
            </p:cNvPr>
            <p:cNvSpPr/>
            <p:nvPr/>
          </p:nvSpPr>
          <p:spPr>
            <a:xfrm>
              <a:off x="8224727" y="3478792"/>
              <a:ext cx="475777" cy="1245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Rechteck 53">
              <a:extLst>
                <a:ext uri="{FF2B5EF4-FFF2-40B4-BE49-F238E27FC236}">
                  <a16:creationId xmlns:a16="http://schemas.microsoft.com/office/drawing/2014/main" xmlns="" id="{31DC9D47-2AF8-4B70-8539-1536E8D22A75}"/>
                </a:ext>
              </a:extLst>
            </p:cNvPr>
            <p:cNvSpPr/>
            <p:nvPr/>
          </p:nvSpPr>
          <p:spPr>
            <a:xfrm>
              <a:off x="9202447" y="3472312"/>
              <a:ext cx="2780865" cy="125011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Rechteck 50">
              <a:extLst>
                <a:ext uri="{FF2B5EF4-FFF2-40B4-BE49-F238E27FC236}">
                  <a16:creationId xmlns:a16="http://schemas.microsoft.com/office/drawing/2014/main" xmlns="" id="{0752F142-B8B2-4648-936D-0F80B02EF3FF}"/>
                </a:ext>
              </a:extLst>
            </p:cNvPr>
            <p:cNvSpPr/>
            <p:nvPr/>
          </p:nvSpPr>
          <p:spPr>
            <a:xfrm>
              <a:off x="4632963" y="3487996"/>
              <a:ext cx="3086610" cy="123084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Freihandform: Form 7">
              <a:extLst>
                <a:ext uri="{FF2B5EF4-FFF2-40B4-BE49-F238E27FC236}">
                  <a16:creationId xmlns:a16="http://schemas.microsoft.com/office/drawing/2014/main" xmlns="" id="{C504D179-549E-430C-924D-AE1460210201}"/>
                </a:ext>
              </a:extLst>
            </p:cNvPr>
            <p:cNvSpPr/>
            <p:nvPr/>
          </p:nvSpPr>
          <p:spPr>
            <a:xfrm>
              <a:off x="4286658" y="2141301"/>
              <a:ext cx="3432916" cy="1277640"/>
            </a:xfrm>
            <a:custGeom>
              <a:avLst/>
              <a:gdLst>
                <a:gd name="connsiteX0" fmla="*/ 376517 w 3248809"/>
                <a:gd name="connsiteY0" fmla="*/ 0 h 1151068"/>
                <a:gd name="connsiteX1" fmla="*/ 3248809 w 3248809"/>
                <a:gd name="connsiteY1" fmla="*/ 0 h 1151068"/>
                <a:gd name="connsiteX2" fmla="*/ 3238051 w 3248809"/>
                <a:gd name="connsiteY2" fmla="*/ 1151068 h 1151068"/>
                <a:gd name="connsiteX3" fmla="*/ 0 w 3248809"/>
                <a:gd name="connsiteY3" fmla="*/ 1140310 h 1151068"/>
              </a:gdLst>
              <a:ahLst/>
              <a:cxnLst>
                <a:cxn ang="0">
                  <a:pos x="connsiteX0" y="connsiteY0"/>
                </a:cxn>
                <a:cxn ang="0">
                  <a:pos x="connsiteX1" y="connsiteY1"/>
                </a:cxn>
                <a:cxn ang="0">
                  <a:pos x="connsiteX2" y="connsiteY2"/>
                </a:cxn>
                <a:cxn ang="0">
                  <a:pos x="connsiteX3" y="connsiteY3"/>
                </a:cxn>
              </a:cxnLst>
              <a:rect l="l" t="t" r="r" b="b"/>
              <a:pathLst>
                <a:path w="3248809" h="1151068">
                  <a:moveTo>
                    <a:pt x="376517" y="0"/>
                  </a:moveTo>
                  <a:lnTo>
                    <a:pt x="3248809" y="0"/>
                  </a:lnTo>
                  <a:lnTo>
                    <a:pt x="3238051" y="1151068"/>
                  </a:lnTo>
                  <a:lnTo>
                    <a:pt x="0" y="1140310"/>
                  </a:lnTo>
                </a:path>
              </a:pathLst>
            </a:cu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TextBox 27">
              <a:extLst>
                <a:ext uri="{FF2B5EF4-FFF2-40B4-BE49-F238E27FC236}">
                  <a16:creationId xmlns:a16="http://schemas.microsoft.com/office/drawing/2014/main" xmlns="" id="{E10DE08E-05A2-4BA2-A349-D26B4140A52C}"/>
                </a:ext>
              </a:extLst>
            </p:cNvPr>
            <p:cNvSpPr txBox="1"/>
            <p:nvPr/>
          </p:nvSpPr>
          <p:spPr>
            <a:xfrm>
              <a:off x="9529691" y="3875139"/>
              <a:ext cx="2604564" cy="623248"/>
            </a:xfrm>
            <a:prstGeom prst="rect">
              <a:avLst/>
            </a:prstGeom>
            <a:noFill/>
          </p:spPr>
          <p:txBody>
            <a:bodyPr wrap="square" lIns="91440" tIns="45720" rIns="91440" bIns="45720" rtlCol="0" anchor="t">
              <a:spAutoFit/>
            </a:bodyPr>
            <a:lstStyle>
              <a:defPPr>
                <a:defRPr lang="en-US"/>
              </a:defPPr>
              <a:lvl1pPr marL="171450" indent="-171450">
                <a:spcAft>
                  <a:spcPts val="300"/>
                </a:spcAft>
                <a:buFont typeface="Arial" panose="020B0604020202020204" pitchFamily="34" charset="0"/>
                <a:buChar char="•"/>
                <a:defRPr sz="1200">
                  <a:solidFill>
                    <a:schemeClr val="bg1"/>
                  </a:solidFill>
                  <a:latin typeface="+mj-lt"/>
                  <a:ea typeface="Lato Light" charset="0"/>
                  <a:cs typeface="Lato Light" charset="0"/>
                </a:defRPr>
              </a:lvl1pPr>
            </a:lstStyle>
            <a:p>
              <a:r>
                <a:rPr lang="en-GB" sz="1600"/>
                <a:t>IT</a:t>
              </a:r>
            </a:p>
            <a:p>
              <a:r>
                <a:rPr lang="en-GB" sz="1600"/>
                <a:t>Contabilidad, etc.</a:t>
              </a:r>
            </a:p>
          </p:txBody>
        </p:sp>
        <p:sp>
          <p:nvSpPr>
            <p:cNvPr id="34" name="TextBox 28">
              <a:extLst>
                <a:ext uri="{FF2B5EF4-FFF2-40B4-BE49-F238E27FC236}">
                  <a16:creationId xmlns:a16="http://schemas.microsoft.com/office/drawing/2014/main" xmlns="" id="{31F04CE3-7FB1-4222-BD92-E9BC6BDF7F98}"/>
                </a:ext>
              </a:extLst>
            </p:cNvPr>
            <p:cNvSpPr txBox="1"/>
            <p:nvPr/>
          </p:nvSpPr>
          <p:spPr>
            <a:xfrm>
              <a:off x="9546422" y="3509246"/>
              <a:ext cx="1510542"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Sistemas de apoyo</a:t>
              </a:r>
              <a:endParaRPr lang="en-GB" sz="1600" b="1" dirty="0">
                <a:solidFill>
                  <a:schemeClr val="bg1"/>
                </a:solidFill>
                <a:latin typeface="+mj-lt"/>
                <a:ea typeface="Roboto" charset="0"/>
                <a:cs typeface="Roboto" charset="0"/>
              </a:endParaRPr>
            </a:p>
          </p:txBody>
        </p:sp>
        <p:sp>
          <p:nvSpPr>
            <p:cNvPr id="35" name="TextBox 29">
              <a:extLst>
                <a:ext uri="{FF2B5EF4-FFF2-40B4-BE49-F238E27FC236}">
                  <a16:creationId xmlns:a16="http://schemas.microsoft.com/office/drawing/2014/main" xmlns="" id="{9ABD22C3-08CC-45FE-9221-C374548E2892}"/>
                </a:ext>
              </a:extLst>
            </p:cNvPr>
            <p:cNvSpPr txBox="1"/>
            <p:nvPr/>
          </p:nvSpPr>
          <p:spPr>
            <a:xfrm>
              <a:off x="4815170" y="3875139"/>
              <a:ext cx="2604564" cy="623248"/>
            </a:xfrm>
            <a:prstGeom prst="rect">
              <a:avLst/>
            </a:prstGeom>
            <a:noFill/>
          </p:spPr>
          <p:txBody>
            <a:bodyPr wrap="square" lIns="91440" tIns="45720" rIns="91440" bIns="45720" rtlCol="0" anchor="t">
              <a:spAutoFit/>
            </a:bodyPr>
            <a:lstStyle>
              <a:defPPr>
                <a:defRPr lang="en-US"/>
              </a:defPPr>
              <a:lvl1pPr marL="171450" indent="-171450">
                <a:spcAft>
                  <a:spcPts val="300"/>
                </a:spcAft>
                <a:buFont typeface="Arial" panose="020B0604020202020204" pitchFamily="34" charset="0"/>
                <a:buChar char="•"/>
                <a:defRPr sz="1200">
                  <a:solidFill>
                    <a:schemeClr val="bg1"/>
                  </a:solidFill>
                  <a:latin typeface="+mj-lt"/>
                  <a:ea typeface="Lato Light" charset="0"/>
                  <a:cs typeface="Lato Light" charset="0"/>
                </a:defRPr>
              </a:lvl1pPr>
            </a:lstStyle>
            <a:p>
              <a:r>
                <a:rPr lang="en-GB" sz="1600"/>
                <a:t>Asuntos de los empleados</a:t>
              </a:r>
            </a:p>
            <a:p>
              <a:r>
                <a:rPr lang="en-GB" sz="1600"/>
                <a:t>Medio ambiente, etc.</a:t>
              </a:r>
            </a:p>
          </p:txBody>
        </p:sp>
        <p:sp>
          <p:nvSpPr>
            <p:cNvPr id="36" name="TextBox 30">
              <a:extLst>
                <a:ext uri="{FF2B5EF4-FFF2-40B4-BE49-F238E27FC236}">
                  <a16:creationId xmlns:a16="http://schemas.microsoft.com/office/drawing/2014/main" xmlns="" id="{D88FBC15-78BF-4C9A-BE2A-CC3E9782183F}"/>
                </a:ext>
              </a:extLst>
            </p:cNvPr>
            <p:cNvSpPr txBox="1"/>
            <p:nvPr/>
          </p:nvSpPr>
          <p:spPr>
            <a:xfrm>
              <a:off x="4831901" y="3509246"/>
              <a:ext cx="1249958"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Sostenibilidad</a:t>
              </a:r>
              <a:endParaRPr lang="en-GB" sz="1600" b="1" dirty="0">
                <a:solidFill>
                  <a:schemeClr val="bg1"/>
                </a:solidFill>
                <a:latin typeface="+mj-lt"/>
                <a:ea typeface="Roboto" charset="0"/>
                <a:cs typeface="Roboto" charset="0"/>
              </a:endParaRPr>
            </a:p>
          </p:txBody>
        </p:sp>
        <p:sp>
          <p:nvSpPr>
            <p:cNvPr id="43" name="TextBox 39">
              <a:extLst>
                <a:ext uri="{FF2B5EF4-FFF2-40B4-BE49-F238E27FC236}">
                  <a16:creationId xmlns:a16="http://schemas.microsoft.com/office/drawing/2014/main" xmlns="" id="{D58755C9-57D4-4E13-B2AA-8F9B9913EEEC}"/>
                </a:ext>
              </a:extLst>
            </p:cNvPr>
            <p:cNvSpPr txBox="1"/>
            <p:nvPr/>
          </p:nvSpPr>
          <p:spPr>
            <a:xfrm>
              <a:off x="4810346" y="2326950"/>
              <a:ext cx="2747455" cy="1154162"/>
            </a:xfrm>
            <a:prstGeom prst="rect">
              <a:avLst/>
            </a:prstGeom>
            <a:noFill/>
          </p:spPr>
          <p:txBody>
            <a:bodyPr wrap="square" lIns="91440" tIns="45720" rIns="91440" bIns="45720" rtlCol="0" anchor="t">
              <a:spAutoFit/>
            </a:bodyPr>
            <a:lstStyle/>
            <a:p>
              <a:pPr marL="171450" indent="-171450">
                <a:spcAft>
                  <a:spcPts val="300"/>
                </a:spcAft>
                <a:buFont typeface="Arial" panose="020B0604020202020204" pitchFamily="34" charset="0"/>
                <a:buChar char="•"/>
              </a:pPr>
              <a:r>
                <a:rPr lang="en-GB" sz="1600">
                  <a:solidFill>
                    <a:schemeClr val="bg1"/>
                  </a:solidFill>
                  <a:latin typeface="+mj-lt"/>
                  <a:ea typeface="Lato Light" charset="0"/>
                  <a:cs typeface="Lato Light" charset="0"/>
                </a:rPr>
                <a:t>Potencial cuantitativo y cualitativo</a:t>
              </a:r>
            </a:p>
            <a:p>
              <a:pPr marL="171450" indent="-171450">
                <a:spcAft>
                  <a:spcPts val="300"/>
                </a:spcAft>
                <a:buFont typeface="Arial" panose="020B0604020202020204" pitchFamily="34" charset="0"/>
                <a:buChar char="•"/>
              </a:pPr>
              <a:r>
                <a:rPr lang="en-GB" sz="1600">
                  <a:solidFill>
                    <a:schemeClr val="bg1"/>
                  </a:solidFill>
                  <a:latin typeface="+mj-lt"/>
                  <a:ea typeface="Lato Light" charset="0"/>
                  <a:cs typeface="Lato Light" charset="0"/>
                </a:rPr>
                <a:t>Motivación</a:t>
              </a:r>
            </a:p>
            <a:p>
              <a:pPr marL="171450" indent="-171450">
                <a:spcAft>
                  <a:spcPts val="300"/>
                </a:spcAft>
                <a:buFont typeface="Arial" panose="020B0604020202020204" pitchFamily="34" charset="0"/>
                <a:buChar char="•"/>
              </a:pPr>
              <a:r>
                <a:rPr lang="en-GB" sz="1600">
                  <a:solidFill>
                    <a:schemeClr val="bg1"/>
                  </a:solidFill>
                  <a:latin typeface="+mj-lt"/>
                  <a:ea typeface="Lato Light" charset="0"/>
                  <a:cs typeface="Lato Light" charset="0"/>
                </a:rPr>
                <a:t>Sistemas de incentivos, etc.</a:t>
              </a:r>
            </a:p>
          </p:txBody>
        </p:sp>
        <p:sp>
          <p:nvSpPr>
            <p:cNvPr id="44" name="TextBox 40">
              <a:extLst>
                <a:ext uri="{FF2B5EF4-FFF2-40B4-BE49-F238E27FC236}">
                  <a16:creationId xmlns:a16="http://schemas.microsoft.com/office/drawing/2014/main" xmlns="" id="{15950AA9-664D-4F7E-8D68-5D88A72171A5}"/>
                </a:ext>
              </a:extLst>
            </p:cNvPr>
            <p:cNvSpPr txBox="1"/>
            <p:nvPr/>
          </p:nvSpPr>
          <p:spPr>
            <a:xfrm>
              <a:off x="4836724" y="2081627"/>
              <a:ext cx="2182008"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Gestores y especialistas</a:t>
              </a:r>
              <a:endParaRPr lang="en-GB" sz="1600" b="1" dirty="0">
                <a:solidFill>
                  <a:schemeClr val="bg1"/>
                </a:solidFill>
                <a:latin typeface="+mj-lt"/>
                <a:ea typeface="Roboto" charset="0"/>
                <a:cs typeface="Roboto" charset="0"/>
              </a:endParaRPr>
            </a:p>
          </p:txBody>
        </p:sp>
        <p:sp>
          <p:nvSpPr>
            <p:cNvPr id="9" name="Freihandform: Form 8">
              <a:extLst>
                <a:ext uri="{FF2B5EF4-FFF2-40B4-BE49-F238E27FC236}">
                  <a16:creationId xmlns:a16="http://schemas.microsoft.com/office/drawing/2014/main" xmlns="" id="{3AE8C6D1-772D-4529-87B4-54DD9680EDCD}"/>
                </a:ext>
              </a:extLst>
            </p:cNvPr>
            <p:cNvSpPr/>
            <p:nvPr/>
          </p:nvSpPr>
          <p:spPr>
            <a:xfrm>
              <a:off x="4313816" y="2151529"/>
              <a:ext cx="518085" cy="1149260"/>
            </a:xfrm>
            <a:custGeom>
              <a:avLst/>
              <a:gdLst>
                <a:gd name="connsiteX0" fmla="*/ 430306 w 548640"/>
                <a:gd name="connsiteY0" fmla="*/ 0 h 1129553"/>
                <a:gd name="connsiteX1" fmla="*/ 548640 w 548640"/>
                <a:gd name="connsiteY1" fmla="*/ 1129553 h 1129553"/>
                <a:gd name="connsiteX2" fmla="*/ 0 w 548640"/>
                <a:gd name="connsiteY2" fmla="*/ 1118796 h 1129553"/>
                <a:gd name="connsiteX3" fmla="*/ 441064 w 548640"/>
                <a:gd name="connsiteY3" fmla="*/ 118335 h 1129553"/>
              </a:gdLst>
              <a:ahLst/>
              <a:cxnLst>
                <a:cxn ang="0">
                  <a:pos x="connsiteX0" y="connsiteY0"/>
                </a:cxn>
                <a:cxn ang="0">
                  <a:pos x="connsiteX1" y="connsiteY1"/>
                </a:cxn>
                <a:cxn ang="0">
                  <a:pos x="connsiteX2" y="connsiteY2"/>
                </a:cxn>
                <a:cxn ang="0">
                  <a:pos x="connsiteX3" y="connsiteY3"/>
                </a:cxn>
              </a:cxnLst>
              <a:rect l="l" t="t" r="r" b="b"/>
              <a:pathLst>
                <a:path w="548640" h="1129553">
                  <a:moveTo>
                    <a:pt x="430306" y="0"/>
                  </a:moveTo>
                  <a:lnTo>
                    <a:pt x="548640" y="1129553"/>
                  </a:lnTo>
                  <a:lnTo>
                    <a:pt x="0" y="1118796"/>
                  </a:lnTo>
                  <a:lnTo>
                    <a:pt x="441064" y="118335"/>
                  </a:lnTo>
                </a:path>
              </a:pathLst>
            </a:cu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Grafik 6">
              <a:extLst>
                <a:ext uri="{FF2B5EF4-FFF2-40B4-BE49-F238E27FC236}">
                  <a16:creationId xmlns:a16="http://schemas.microsoft.com/office/drawing/2014/main" xmlns="" id="{0D7D054B-E331-40A9-B209-57CDA8FF6287}"/>
                </a:ext>
              </a:extLst>
            </p:cNvPr>
            <p:cNvPicPr>
              <a:picLocks noChangeAspect="1"/>
            </p:cNvPicPr>
            <p:nvPr/>
          </p:nvPicPr>
          <p:blipFill rotWithShape="1">
            <a:blip r:embed="rId7"/>
            <a:srcRect l="36075" t="28149" r="35917" b="40592"/>
            <a:stretch/>
          </p:blipFill>
          <p:spPr>
            <a:xfrm>
              <a:off x="3920361" y="2106342"/>
              <a:ext cx="970946" cy="1315774"/>
            </a:xfrm>
            <a:prstGeom prst="rect">
              <a:avLst/>
            </a:prstGeom>
          </p:spPr>
        </p:pic>
        <p:sp>
          <p:nvSpPr>
            <p:cNvPr id="12" name="Rechteck 11">
              <a:extLst>
                <a:ext uri="{FF2B5EF4-FFF2-40B4-BE49-F238E27FC236}">
                  <a16:creationId xmlns:a16="http://schemas.microsoft.com/office/drawing/2014/main" xmlns="" id="{10B9F30F-497C-401A-9384-ACCC5B5048AA}"/>
                </a:ext>
              </a:extLst>
            </p:cNvPr>
            <p:cNvSpPr/>
            <p:nvPr/>
          </p:nvSpPr>
          <p:spPr>
            <a:xfrm>
              <a:off x="8700504" y="2162287"/>
              <a:ext cx="3262351" cy="1259830"/>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reihandform: Form 12">
              <a:extLst>
                <a:ext uri="{FF2B5EF4-FFF2-40B4-BE49-F238E27FC236}">
                  <a16:creationId xmlns:a16="http://schemas.microsoft.com/office/drawing/2014/main" xmlns="" id="{8D48B857-CB4D-4F13-A688-42313E3DE8A9}"/>
                </a:ext>
              </a:extLst>
            </p:cNvPr>
            <p:cNvSpPr/>
            <p:nvPr/>
          </p:nvSpPr>
          <p:spPr>
            <a:xfrm>
              <a:off x="8449867" y="2269683"/>
              <a:ext cx="591671" cy="1151068"/>
            </a:xfrm>
            <a:custGeom>
              <a:avLst/>
              <a:gdLst>
                <a:gd name="connsiteX0" fmla="*/ 150607 w 591671"/>
                <a:gd name="connsiteY0" fmla="*/ 0 h 1151068"/>
                <a:gd name="connsiteX1" fmla="*/ 591671 w 591671"/>
                <a:gd name="connsiteY1" fmla="*/ 1151068 h 1151068"/>
                <a:gd name="connsiteX2" fmla="*/ 86061 w 591671"/>
                <a:gd name="connsiteY2" fmla="*/ 1151068 h 1151068"/>
                <a:gd name="connsiteX3" fmla="*/ 355002 w 591671"/>
                <a:gd name="connsiteY3" fmla="*/ 817581 h 1151068"/>
                <a:gd name="connsiteX4" fmla="*/ 0 w 591671"/>
                <a:gd name="connsiteY4" fmla="*/ 527125 h 1151068"/>
                <a:gd name="connsiteX5" fmla="*/ 268941 w 591671"/>
                <a:gd name="connsiteY5" fmla="*/ 290457 h 1151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671" h="1151068">
                  <a:moveTo>
                    <a:pt x="150607" y="0"/>
                  </a:moveTo>
                  <a:lnTo>
                    <a:pt x="591671" y="1151068"/>
                  </a:lnTo>
                  <a:lnTo>
                    <a:pt x="86061" y="1151068"/>
                  </a:lnTo>
                  <a:lnTo>
                    <a:pt x="355002" y="817581"/>
                  </a:lnTo>
                  <a:lnTo>
                    <a:pt x="0" y="527125"/>
                  </a:lnTo>
                  <a:lnTo>
                    <a:pt x="268941" y="290457"/>
                  </a:lnTo>
                </a:path>
              </a:pathLst>
            </a:custGeom>
            <a:solidFill>
              <a:srgbClr val="843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Grafik 10">
              <a:extLst>
                <a:ext uri="{FF2B5EF4-FFF2-40B4-BE49-F238E27FC236}">
                  <a16:creationId xmlns:a16="http://schemas.microsoft.com/office/drawing/2014/main" xmlns="" id="{DF08BE97-04E9-4CBB-9DB3-0D08CD72A041}"/>
                </a:ext>
              </a:extLst>
            </p:cNvPr>
            <p:cNvPicPr>
              <a:picLocks noChangeAspect="1"/>
            </p:cNvPicPr>
            <p:nvPr/>
          </p:nvPicPr>
          <p:blipFill rotWithShape="1">
            <a:blip r:embed="rId8"/>
            <a:srcRect l="36952" t="27453" r="37054" b="40701"/>
            <a:stretch/>
          </p:blipFill>
          <p:spPr>
            <a:xfrm>
              <a:off x="7905187" y="2111457"/>
              <a:ext cx="936576" cy="1326002"/>
            </a:xfrm>
            <a:prstGeom prst="rect">
              <a:avLst/>
            </a:prstGeom>
          </p:spPr>
        </p:pic>
        <p:sp>
          <p:nvSpPr>
            <p:cNvPr id="14" name="Rechteck 13">
              <a:extLst>
                <a:ext uri="{FF2B5EF4-FFF2-40B4-BE49-F238E27FC236}">
                  <a16:creationId xmlns:a16="http://schemas.microsoft.com/office/drawing/2014/main" xmlns="" id="{E1112F84-0D54-49A0-9FC3-9E83AFA1EBEB}"/>
                </a:ext>
              </a:extLst>
            </p:cNvPr>
            <p:cNvSpPr/>
            <p:nvPr/>
          </p:nvSpPr>
          <p:spPr>
            <a:xfrm>
              <a:off x="8444753" y="2162287"/>
              <a:ext cx="255751" cy="118334"/>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TextBox 37">
              <a:extLst>
                <a:ext uri="{FF2B5EF4-FFF2-40B4-BE49-F238E27FC236}">
                  <a16:creationId xmlns:a16="http://schemas.microsoft.com/office/drawing/2014/main" xmlns="" id="{FC00461B-375B-4BFF-B977-DA72C1E1F3E1}"/>
                </a:ext>
              </a:extLst>
            </p:cNvPr>
            <p:cNvSpPr txBox="1"/>
            <p:nvPr/>
          </p:nvSpPr>
          <p:spPr>
            <a:xfrm>
              <a:off x="9024513" y="2319789"/>
              <a:ext cx="2758893" cy="1154162"/>
            </a:xfrm>
            <a:prstGeom prst="rect">
              <a:avLst/>
            </a:prstGeom>
            <a:noFill/>
          </p:spPr>
          <p:txBody>
            <a:bodyPr wrap="square" lIns="91440" tIns="45720" rIns="91440" bIns="45720" rtlCol="0" anchor="t">
              <a:spAutoFit/>
            </a:bodyPr>
            <a:lstStyle>
              <a:defPPr>
                <a:defRPr lang="en-US"/>
              </a:defPPr>
              <a:lvl1pPr marL="171450" indent="-171450">
                <a:spcAft>
                  <a:spcPts val="300"/>
                </a:spcAft>
                <a:buFont typeface="Arial" panose="020B0604020202020204" pitchFamily="34" charset="0"/>
                <a:buChar char="•"/>
                <a:defRPr sz="1200">
                  <a:solidFill>
                    <a:schemeClr val="bg1"/>
                  </a:solidFill>
                  <a:latin typeface="+mj-lt"/>
                  <a:ea typeface="Lato Light" charset="0"/>
                  <a:cs typeface="Lato Light" charset="0"/>
                </a:defRPr>
              </a:lvl1pPr>
            </a:lstStyle>
            <a:p>
              <a:r>
                <a:rPr lang="en-GB" sz="1600"/>
                <a:t>Organigrama</a:t>
              </a:r>
            </a:p>
            <a:p>
              <a:r>
                <a:rPr lang="en-GB" sz="1600"/>
                <a:t>Gestión y toma de decisiones</a:t>
              </a:r>
            </a:p>
            <a:p>
              <a:r>
                <a:rPr lang="en-GB" sz="1600"/>
                <a:t>Cultura empresarial, etc.</a:t>
              </a:r>
            </a:p>
          </p:txBody>
        </p:sp>
        <p:sp>
          <p:nvSpPr>
            <p:cNvPr id="42" name="TextBox 38">
              <a:extLst>
                <a:ext uri="{FF2B5EF4-FFF2-40B4-BE49-F238E27FC236}">
                  <a16:creationId xmlns:a16="http://schemas.microsoft.com/office/drawing/2014/main" xmlns="" id="{D623B23D-BA39-45F1-A88F-2E15FA967617}"/>
                </a:ext>
              </a:extLst>
            </p:cNvPr>
            <p:cNvSpPr txBox="1"/>
            <p:nvPr/>
          </p:nvSpPr>
          <p:spPr>
            <a:xfrm>
              <a:off x="8956255" y="2100918"/>
              <a:ext cx="1203919" cy="338554"/>
            </a:xfrm>
            <a:prstGeom prst="rect">
              <a:avLst/>
            </a:prstGeom>
            <a:noFill/>
          </p:spPr>
          <p:txBody>
            <a:bodyPr wrap="none" rtlCol="0">
              <a:spAutoFit/>
            </a:bodyPr>
            <a:lstStyle/>
            <a:p>
              <a:r>
                <a:rPr lang="en-GB" sz="1600" b="1">
                  <a:solidFill>
                    <a:schemeClr val="bg1"/>
                  </a:solidFill>
                  <a:latin typeface="+mj-lt"/>
                  <a:ea typeface="Roboto" charset="0"/>
                  <a:cs typeface="Roboto" charset="0"/>
                </a:rPr>
                <a:t>Organización</a:t>
              </a:r>
              <a:endParaRPr lang="en-GB" sz="1600" b="1" dirty="0">
                <a:solidFill>
                  <a:schemeClr val="bg1"/>
                </a:solidFill>
                <a:latin typeface="+mj-lt"/>
                <a:ea typeface="Roboto" charset="0"/>
                <a:cs typeface="Roboto" charset="0"/>
              </a:endParaRPr>
            </a:p>
          </p:txBody>
        </p:sp>
        <p:sp>
          <p:nvSpPr>
            <p:cNvPr id="52" name="Rechteck 51">
              <a:extLst>
                <a:ext uri="{FF2B5EF4-FFF2-40B4-BE49-F238E27FC236}">
                  <a16:creationId xmlns:a16="http://schemas.microsoft.com/office/drawing/2014/main" xmlns="" id="{96395282-A677-4A2A-BD49-780B13CAF386}"/>
                </a:ext>
              </a:extLst>
            </p:cNvPr>
            <p:cNvSpPr/>
            <p:nvPr/>
          </p:nvSpPr>
          <p:spPr>
            <a:xfrm>
              <a:off x="4374674" y="3484239"/>
              <a:ext cx="385923" cy="111528"/>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Freihandform: Form 17">
              <a:extLst>
                <a:ext uri="{FF2B5EF4-FFF2-40B4-BE49-F238E27FC236}">
                  <a16:creationId xmlns:a16="http://schemas.microsoft.com/office/drawing/2014/main" xmlns="" id="{D0464D69-1123-4620-8E89-9B77E10005EF}"/>
                </a:ext>
              </a:extLst>
            </p:cNvPr>
            <p:cNvSpPr/>
            <p:nvPr/>
          </p:nvSpPr>
          <p:spPr>
            <a:xfrm>
              <a:off x="4271844" y="4162792"/>
              <a:ext cx="483389" cy="555579"/>
            </a:xfrm>
            <a:custGeom>
              <a:avLst/>
              <a:gdLst>
                <a:gd name="connsiteX0" fmla="*/ 441064 w 441064"/>
                <a:gd name="connsiteY0" fmla="*/ 473337 h 473337"/>
                <a:gd name="connsiteX1" fmla="*/ 0 w 441064"/>
                <a:gd name="connsiteY1" fmla="*/ 473337 h 473337"/>
                <a:gd name="connsiteX2" fmla="*/ 355003 w 441064"/>
                <a:gd name="connsiteY2" fmla="*/ 182880 h 473337"/>
                <a:gd name="connsiteX3" fmla="*/ 398033 w 441064"/>
                <a:gd name="connsiteY3" fmla="*/ 0 h 473337"/>
                <a:gd name="connsiteX4" fmla="*/ 441064 w 441064"/>
                <a:gd name="connsiteY4" fmla="*/ 473337 h 473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64" h="473337">
                  <a:moveTo>
                    <a:pt x="441064" y="473337"/>
                  </a:moveTo>
                  <a:lnTo>
                    <a:pt x="0" y="473337"/>
                  </a:lnTo>
                  <a:lnTo>
                    <a:pt x="355003" y="182880"/>
                  </a:lnTo>
                  <a:lnTo>
                    <a:pt x="398033" y="0"/>
                  </a:lnTo>
                  <a:lnTo>
                    <a:pt x="441064" y="473337"/>
                  </a:lnTo>
                  <a:close/>
                </a:path>
              </a:pathLst>
            </a:custGeom>
            <a:solidFill>
              <a:srgbClr val="5252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Grafik 14">
              <a:extLst>
                <a:ext uri="{FF2B5EF4-FFF2-40B4-BE49-F238E27FC236}">
                  <a16:creationId xmlns:a16="http://schemas.microsoft.com/office/drawing/2014/main" xmlns="" id="{CE19AED4-A627-4B97-88F8-DE860B3C536C}"/>
                </a:ext>
              </a:extLst>
            </p:cNvPr>
            <p:cNvPicPr>
              <a:picLocks noChangeAspect="1"/>
            </p:cNvPicPr>
            <p:nvPr/>
          </p:nvPicPr>
          <p:blipFill rotWithShape="1">
            <a:blip r:embed="rId9"/>
            <a:srcRect l="37062" t="28456" r="37068" b="40551"/>
            <a:stretch/>
          </p:blipFill>
          <p:spPr>
            <a:xfrm>
              <a:off x="3971875" y="3488665"/>
              <a:ext cx="814223" cy="1237053"/>
            </a:xfrm>
            <a:prstGeom prst="rect">
              <a:avLst/>
            </a:prstGeom>
          </p:spPr>
        </p:pic>
        <p:sp>
          <p:nvSpPr>
            <p:cNvPr id="22" name="Freihandform: Form 21">
              <a:extLst>
                <a:ext uri="{FF2B5EF4-FFF2-40B4-BE49-F238E27FC236}">
                  <a16:creationId xmlns:a16="http://schemas.microsoft.com/office/drawing/2014/main" xmlns="" id="{4824B841-4170-4FB1-A04B-76561D9D7555}"/>
                </a:ext>
              </a:extLst>
            </p:cNvPr>
            <p:cNvSpPr/>
            <p:nvPr/>
          </p:nvSpPr>
          <p:spPr>
            <a:xfrm>
              <a:off x="8137545" y="3485479"/>
              <a:ext cx="572442" cy="1205734"/>
            </a:xfrm>
            <a:custGeom>
              <a:avLst/>
              <a:gdLst>
                <a:gd name="connsiteX0" fmla="*/ 53788 w 408791"/>
                <a:gd name="connsiteY0" fmla="*/ 0 h 1118795"/>
                <a:gd name="connsiteX1" fmla="*/ 408791 w 408791"/>
                <a:gd name="connsiteY1" fmla="*/ 1118795 h 1118795"/>
                <a:gd name="connsiteX2" fmla="*/ 107576 w 408791"/>
                <a:gd name="connsiteY2" fmla="*/ 1118795 h 1118795"/>
                <a:gd name="connsiteX3" fmla="*/ 0 w 408791"/>
                <a:gd name="connsiteY3" fmla="*/ 1021976 h 1118795"/>
                <a:gd name="connsiteX4" fmla="*/ 53788 w 408791"/>
                <a:gd name="connsiteY4" fmla="*/ 0 h 1118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791" h="1118795">
                  <a:moveTo>
                    <a:pt x="53788" y="0"/>
                  </a:moveTo>
                  <a:lnTo>
                    <a:pt x="408791" y="1118795"/>
                  </a:lnTo>
                  <a:lnTo>
                    <a:pt x="107576" y="1118795"/>
                  </a:lnTo>
                  <a:lnTo>
                    <a:pt x="0" y="1021976"/>
                  </a:lnTo>
                  <a:lnTo>
                    <a:pt x="53788" y="0"/>
                  </a:lnTo>
                  <a:close/>
                </a:path>
              </a:pathLst>
            </a:custGeom>
            <a:solidFill>
              <a:srgbClr val="7F6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Freihandform: Form 23">
              <a:extLst>
                <a:ext uri="{FF2B5EF4-FFF2-40B4-BE49-F238E27FC236}">
                  <a16:creationId xmlns:a16="http://schemas.microsoft.com/office/drawing/2014/main" xmlns="" id="{9A7DEF16-A518-4A44-97E4-09C2F85D11E4}"/>
                </a:ext>
              </a:extLst>
            </p:cNvPr>
            <p:cNvSpPr/>
            <p:nvPr/>
          </p:nvSpPr>
          <p:spPr>
            <a:xfrm rot="21480000">
              <a:off x="9079802" y="3753710"/>
              <a:ext cx="505610" cy="978946"/>
            </a:xfrm>
            <a:custGeom>
              <a:avLst/>
              <a:gdLst>
                <a:gd name="connsiteX0" fmla="*/ 204396 w 505610"/>
                <a:gd name="connsiteY0" fmla="*/ 0 h 978946"/>
                <a:gd name="connsiteX1" fmla="*/ 505610 w 505610"/>
                <a:gd name="connsiteY1" fmla="*/ 978946 h 978946"/>
                <a:gd name="connsiteX2" fmla="*/ 0 w 505610"/>
                <a:gd name="connsiteY2" fmla="*/ 968188 h 978946"/>
                <a:gd name="connsiteX3" fmla="*/ 247426 w 505610"/>
                <a:gd name="connsiteY3" fmla="*/ 710004 h 978946"/>
                <a:gd name="connsiteX4" fmla="*/ 204396 w 505610"/>
                <a:gd name="connsiteY4" fmla="*/ 0 h 978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610" h="978946">
                  <a:moveTo>
                    <a:pt x="204396" y="0"/>
                  </a:moveTo>
                  <a:lnTo>
                    <a:pt x="505610" y="978946"/>
                  </a:lnTo>
                  <a:lnTo>
                    <a:pt x="0" y="968188"/>
                  </a:lnTo>
                  <a:lnTo>
                    <a:pt x="247426" y="710004"/>
                  </a:lnTo>
                  <a:lnTo>
                    <a:pt x="204396" y="0"/>
                  </a:lnTo>
                  <a:close/>
                </a:path>
              </a:pathLst>
            </a:custGeom>
            <a:solidFill>
              <a:srgbClr val="7F6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 name="Grafik 19">
              <a:extLst>
                <a:ext uri="{FF2B5EF4-FFF2-40B4-BE49-F238E27FC236}">
                  <a16:creationId xmlns:a16="http://schemas.microsoft.com/office/drawing/2014/main" xmlns="" id="{83D7ADA3-5C20-48FF-A662-0852EFAA58AD}"/>
                </a:ext>
              </a:extLst>
            </p:cNvPr>
            <p:cNvPicPr>
              <a:picLocks noChangeAspect="1"/>
            </p:cNvPicPr>
            <p:nvPr/>
          </p:nvPicPr>
          <p:blipFill rotWithShape="1">
            <a:blip r:embed="rId10"/>
            <a:srcRect l="31216" t="28456" r="28331" b="40689"/>
            <a:stretch/>
          </p:blipFill>
          <p:spPr>
            <a:xfrm>
              <a:off x="7818538" y="3489025"/>
              <a:ext cx="1563541" cy="1260034"/>
            </a:xfrm>
            <a:prstGeom prst="rect">
              <a:avLst/>
            </a:prstGeom>
          </p:spPr>
        </p:pic>
        <p:sp>
          <p:nvSpPr>
            <p:cNvPr id="57" name="Rechteck 56">
              <a:extLst>
                <a:ext uri="{FF2B5EF4-FFF2-40B4-BE49-F238E27FC236}">
                  <a16:creationId xmlns:a16="http://schemas.microsoft.com/office/drawing/2014/main" xmlns="" id="{7245537A-5040-4441-A20A-98E168B8EA2B}"/>
                </a:ext>
              </a:extLst>
            </p:cNvPr>
            <p:cNvSpPr/>
            <p:nvPr/>
          </p:nvSpPr>
          <p:spPr>
            <a:xfrm>
              <a:off x="8522747" y="3478793"/>
              <a:ext cx="277008" cy="15729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8" name="Rechteck 57">
              <a:extLst>
                <a:ext uri="{FF2B5EF4-FFF2-40B4-BE49-F238E27FC236}">
                  <a16:creationId xmlns:a16="http://schemas.microsoft.com/office/drawing/2014/main" xmlns="" id="{B626A551-3FCF-4C36-8842-934981CBE957}"/>
                </a:ext>
              </a:extLst>
            </p:cNvPr>
            <p:cNvSpPr/>
            <p:nvPr/>
          </p:nvSpPr>
          <p:spPr>
            <a:xfrm>
              <a:off x="9129132" y="3478793"/>
              <a:ext cx="277008" cy="15729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9" name="Rechteck 58">
              <a:extLst>
                <a:ext uri="{FF2B5EF4-FFF2-40B4-BE49-F238E27FC236}">
                  <a16:creationId xmlns:a16="http://schemas.microsoft.com/office/drawing/2014/main" xmlns="" id="{109F0708-D472-45EC-BB7A-E37BCB680BFB}"/>
                </a:ext>
              </a:extLst>
            </p:cNvPr>
            <p:cNvSpPr/>
            <p:nvPr/>
          </p:nvSpPr>
          <p:spPr>
            <a:xfrm>
              <a:off x="8638391" y="3477425"/>
              <a:ext cx="815563" cy="11596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0" name="Rechteck 59">
              <a:extLst>
                <a:ext uri="{FF2B5EF4-FFF2-40B4-BE49-F238E27FC236}">
                  <a16:creationId xmlns:a16="http://schemas.microsoft.com/office/drawing/2014/main" xmlns="" id="{96743CEC-B6D6-42EA-8499-E74FA8B136E9}"/>
                </a:ext>
              </a:extLst>
            </p:cNvPr>
            <p:cNvSpPr/>
            <p:nvPr/>
          </p:nvSpPr>
          <p:spPr>
            <a:xfrm>
              <a:off x="8768647" y="4603253"/>
              <a:ext cx="439947" cy="12940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hteck 60">
              <a:extLst>
                <a:ext uri="{FF2B5EF4-FFF2-40B4-BE49-F238E27FC236}">
                  <a16:creationId xmlns:a16="http://schemas.microsoft.com/office/drawing/2014/main" xmlns="" id="{0309BC7A-A16E-47DC-901D-608967475CD1}"/>
                </a:ext>
              </a:extLst>
            </p:cNvPr>
            <p:cNvSpPr/>
            <p:nvPr/>
          </p:nvSpPr>
          <p:spPr>
            <a:xfrm>
              <a:off x="8618154" y="4629773"/>
              <a:ext cx="247718" cy="9360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Rechteck 61">
              <a:extLst>
                <a:ext uri="{FF2B5EF4-FFF2-40B4-BE49-F238E27FC236}">
                  <a16:creationId xmlns:a16="http://schemas.microsoft.com/office/drawing/2014/main" xmlns="" id="{96308D3D-624D-4687-A1AA-B59FABD81090}"/>
                </a:ext>
              </a:extLst>
            </p:cNvPr>
            <p:cNvSpPr/>
            <p:nvPr/>
          </p:nvSpPr>
          <p:spPr>
            <a:xfrm>
              <a:off x="7824439" y="4720010"/>
              <a:ext cx="2201973" cy="135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056665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97529" y="538436"/>
            <a:ext cx="8852375" cy="697353"/>
          </a:xfrm>
        </p:spPr>
        <p:txBody>
          <a:bodyPr>
            <a:normAutofit fontScale="77500" lnSpcReduction="20000"/>
          </a:bodyPr>
          <a:lstStyle/>
          <a:p>
            <a:r>
              <a:rPr lang="en-GB" dirty="0"/>
              <a:t>Contenido de los conceptos de reestructuración: Declaración de la mis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3973" y="1885252"/>
            <a:ext cx="3963338" cy="536074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objetivo de la reestructuración no es sólo garantizar la viabilidad de la empresa, sino también alcanzar un nivel de rentabilidad que resulte interesante (atractivo) para los proveedores de capital social y de deuda mediante la realización de ventajas competitivas.</a:t>
            </a:r>
            <a:endParaRPr lang="en-US" sz="2000" dirty="0">
              <a:solidFill>
                <a:srgbClr val="245473"/>
              </a:solidFill>
            </a:endParaRPr>
          </a:p>
          <a:p>
            <a:pPr algn="l">
              <a:lnSpc>
                <a:spcPct val="100000"/>
              </a:lnSpc>
              <a:spcBef>
                <a:spcPts val="600"/>
              </a:spcBef>
            </a:pPr>
            <a:r>
              <a:rPr lang="en-US" sz="2000" dirty="0">
                <a:solidFill>
                  <a:srgbClr val="245473"/>
                </a:solidFill>
                <a:latin typeface="+mj-lt"/>
                <a:ea typeface="Open Sans Light" panose="020B0306030504020204" pitchFamily="34" charset="0"/>
                <a:cs typeface="Open Sans Light" panose="020B0306030504020204" pitchFamily="34" charset="0"/>
              </a:rPr>
              <a:t>Para ello es necesario que la empresa tenga ciertas propuestas de venta únicas (USP) en comparación con sus competidores, por ejemplo</a:t>
            </a:r>
          </a:p>
          <a:p>
            <a:pPr marL="180975" indent="-180975" algn="l">
              <a:lnSpc>
                <a:spcPct val="100000"/>
              </a:lnSpc>
              <a:spcBef>
                <a:spcPts val="600"/>
              </a:spcBef>
              <a:buFont typeface="Arial" panose="020B0604020202020204" pitchFamily="34" charset="0"/>
              <a:buChar char="•"/>
            </a:pPr>
            <a:r>
              <a:rPr lang="en-US" sz="2000" dirty="0">
                <a:solidFill>
                  <a:srgbClr val="245473"/>
                </a:solidFill>
                <a:latin typeface="+mj-lt"/>
                <a:ea typeface="Open Sans Light" panose="020B0306030504020204" pitchFamily="34" charset="0"/>
                <a:cs typeface="Open Sans Light" panose="020B0306030504020204" pitchFamily="34" charset="0"/>
              </a:rPr>
              <a:t>en el área de producción y servicios</a:t>
            </a:r>
          </a:p>
          <a:p>
            <a:pPr marL="180975" indent="-180975" algn="l">
              <a:lnSpc>
                <a:spcPct val="100000"/>
              </a:lnSpc>
              <a:spcBef>
                <a:spcPts val="600"/>
              </a:spcBef>
              <a:buFont typeface="Arial" panose="020B0604020202020204" pitchFamily="34" charset="0"/>
              <a:buChar char="•"/>
            </a:pPr>
            <a:r>
              <a:rPr lang="en-US" sz="2000" dirty="0">
                <a:solidFill>
                  <a:srgbClr val="245473"/>
                </a:solidFill>
                <a:latin typeface="+mj-lt"/>
                <a:ea typeface="Open Sans Light" panose="020B0306030504020204" pitchFamily="34" charset="0"/>
                <a:cs typeface="Open Sans Light" panose="020B0306030504020204" pitchFamily="34" charset="0"/>
              </a:rPr>
              <a:t>en la imagen de marca</a:t>
            </a:r>
          </a:p>
          <a:p>
            <a:pPr marL="180975" indent="-180975" algn="l">
              <a:lnSpc>
                <a:spcPct val="100000"/>
              </a:lnSpc>
              <a:spcBef>
                <a:spcPts val="600"/>
              </a:spcBef>
              <a:buFont typeface="Arial" panose="020B0604020202020204" pitchFamily="34" charset="0"/>
              <a:buChar char="•"/>
            </a:pPr>
            <a:r>
              <a:rPr lang="en-US" sz="2000" dirty="0">
                <a:solidFill>
                  <a:srgbClr val="245473"/>
                </a:solidFill>
                <a:latin typeface="+mj-lt"/>
                <a:ea typeface="Open Sans Light" panose="020B0306030504020204" pitchFamily="34" charset="0"/>
                <a:cs typeface="Open Sans Light" panose="020B0306030504020204" pitchFamily="34" charset="0"/>
              </a:rPr>
              <a:t>y estas características también son percibidas/recompensadas por el cliente y tienen un valor duradero</a:t>
            </a:r>
          </a:p>
          <a:p>
            <a:pPr algn="l">
              <a:lnSpc>
                <a:spcPct val="100000"/>
              </a:lnSpc>
              <a:spcBef>
                <a:spcPts val="600"/>
              </a:spcBef>
            </a:pPr>
            <a:endParaRPr lang="en-US" sz="1800" dirty="0">
              <a:latin typeface="+mj-lt"/>
              <a:ea typeface="Open Sans Light" panose="020B0306030504020204" pitchFamily="34" charset="0"/>
              <a:cs typeface="Open Sans Light" panose="020B0306030504020204" pitchFamily="34" charset="0"/>
            </a:endParaRPr>
          </a:p>
        </p:txBody>
      </p:sp>
      <p:sp>
        <p:nvSpPr>
          <p:cNvPr id="37" name="TextBox 67">
            <a:extLst>
              <a:ext uri="{FF2B5EF4-FFF2-40B4-BE49-F238E27FC236}">
                <a16:creationId xmlns:a16="http://schemas.microsoft.com/office/drawing/2014/main" xmlns="" id="{A0EBBBD1-F287-47AD-8E4D-B2C7350A5A25}"/>
              </a:ext>
            </a:extLst>
          </p:cNvPr>
          <p:cNvSpPr txBox="1"/>
          <p:nvPr/>
        </p:nvSpPr>
        <p:spPr>
          <a:xfrm>
            <a:off x="1514703" y="934160"/>
            <a:ext cx="10372207" cy="646331"/>
          </a:xfrm>
          <a:prstGeom prst="rect">
            <a:avLst/>
          </a:prstGeom>
          <a:noFill/>
        </p:spPr>
        <p:txBody>
          <a:bodyPr wrap="square" rtlCol="0" anchor="b" anchorCtr="0">
            <a:spAutoFit/>
          </a:bodyPr>
          <a:lstStyle/>
          <a:p>
            <a:r>
              <a:rPr lang="en-US" dirty="0">
                <a:solidFill>
                  <a:srgbClr val="245473"/>
                </a:solidFill>
                <a:latin typeface="+mj-lt"/>
                <a:ea typeface="League Spartan" charset="0"/>
                <a:cs typeface="Poppins" pitchFamily="2" charset="77"/>
              </a:rPr>
              <a:t>La empresa debe definir en su declaración de misión las estrategias que utilizará en la competencia. Para ello hay que tener en cuenta:</a:t>
            </a:r>
            <a:endParaRPr lang="en-GB" dirty="0">
              <a:solidFill>
                <a:srgbClr val="245473"/>
              </a:solidFill>
              <a:latin typeface="+mj-lt"/>
              <a:ea typeface="League Spartan" charset="0"/>
              <a:cs typeface="Poppins" pitchFamily="2" charset="77"/>
            </a:endParaRPr>
          </a:p>
        </p:txBody>
      </p:sp>
      <p:sp>
        <p:nvSpPr>
          <p:cNvPr id="68" name="Subtitle 2">
            <a:extLst>
              <a:ext uri="{FF2B5EF4-FFF2-40B4-BE49-F238E27FC236}">
                <a16:creationId xmlns:a16="http://schemas.microsoft.com/office/drawing/2014/main" xmlns="" id="{FA8FEC39-5864-4A7C-9E85-191BA8B16FDA}"/>
              </a:ext>
            </a:extLst>
          </p:cNvPr>
          <p:cNvSpPr txBox="1">
            <a:spLocks/>
          </p:cNvSpPr>
          <p:nvPr/>
        </p:nvSpPr>
        <p:spPr>
          <a:xfrm>
            <a:off x="4068530" y="5367003"/>
            <a:ext cx="2232790" cy="70148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rgbClr val="245473"/>
                </a:solidFill>
                <a:latin typeface="Lato Light"/>
                <a:ea typeface="Lato Light" panose="020F0502020204030203" pitchFamily="34" charset="0"/>
                <a:cs typeface="Mukta ExtraLight" panose="020B0000000000000000" pitchFamily="34" charset="77"/>
              </a:rPr>
              <a:t>¿Puede ofrecer sus productos/servicios a un precio inferior al de la competencia?</a:t>
            </a:r>
          </a:p>
        </p:txBody>
      </p:sp>
      <p:sp>
        <p:nvSpPr>
          <p:cNvPr id="69" name="TextBox 24">
            <a:extLst>
              <a:ext uri="{FF2B5EF4-FFF2-40B4-BE49-F238E27FC236}">
                <a16:creationId xmlns:a16="http://schemas.microsoft.com/office/drawing/2014/main" xmlns="" id="{EB452655-6B3B-4836-ADCC-CFC1ECD5CD26}"/>
              </a:ext>
            </a:extLst>
          </p:cNvPr>
          <p:cNvSpPr txBox="1"/>
          <p:nvPr/>
        </p:nvSpPr>
        <p:spPr>
          <a:xfrm>
            <a:off x="4637112" y="4831149"/>
            <a:ext cx="1279133" cy="523220"/>
          </a:xfrm>
          <a:prstGeom prst="rect">
            <a:avLst/>
          </a:prstGeom>
          <a:noFill/>
        </p:spPr>
        <p:txBody>
          <a:bodyPr wrap="none" lIns="91440" tIns="45720" rIns="91440" bIns="45720" rtlCol="0" anchor="b" anchorCtr="0">
            <a:spAutoFit/>
          </a:bodyPr>
          <a:lstStyle/>
          <a:p>
            <a:pPr algn="ctr"/>
            <a:r>
              <a:rPr lang="en-US" sz="1400" b="1" dirty="0">
                <a:solidFill>
                  <a:srgbClr val="0070C0"/>
                </a:solidFill>
                <a:latin typeface="Poppins"/>
                <a:ea typeface="League Spartan" charset="0"/>
                <a:cs typeface="Poppins" pitchFamily="2" charset="77"/>
              </a:rPr>
              <a:t>Costes y precios </a:t>
            </a:r>
            <a:br>
              <a:rPr lang="en-US" sz="1400" b="1" dirty="0">
                <a:solidFill>
                  <a:srgbClr val="0070C0"/>
                </a:solidFill>
                <a:latin typeface="Poppins"/>
                <a:ea typeface="League Spartan" charset="0"/>
                <a:cs typeface="Poppins" pitchFamily="2" charset="77"/>
              </a:rPr>
            </a:br>
            <a:r>
              <a:rPr lang="en-US" sz="1400" b="1" dirty="0">
                <a:solidFill>
                  <a:srgbClr val="0070C0"/>
                </a:solidFill>
                <a:latin typeface="Poppins"/>
                <a:ea typeface="League Spartan" charset="0"/>
                <a:cs typeface="Poppins" pitchFamily="2" charset="77"/>
              </a:rPr>
              <a:t>competencia</a:t>
            </a:r>
          </a:p>
        </p:txBody>
      </p:sp>
      <p:sp>
        <p:nvSpPr>
          <p:cNvPr id="70" name="Subtitle 2">
            <a:extLst>
              <a:ext uri="{FF2B5EF4-FFF2-40B4-BE49-F238E27FC236}">
                <a16:creationId xmlns:a16="http://schemas.microsoft.com/office/drawing/2014/main" xmlns="" id="{9F21CB7B-18EA-40CC-B989-C2FC18616514}"/>
              </a:ext>
            </a:extLst>
          </p:cNvPr>
          <p:cNvSpPr txBox="1">
            <a:spLocks/>
          </p:cNvSpPr>
          <p:nvPr/>
        </p:nvSpPr>
        <p:spPr>
          <a:xfrm>
            <a:off x="7079196" y="5389461"/>
            <a:ext cx="2232790" cy="53477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rgbClr val="245473"/>
                </a:solidFill>
                <a:latin typeface="Lato Light"/>
                <a:ea typeface="Lato Light" panose="020F0502020204030203" pitchFamily="34" charset="0"/>
                <a:cs typeface="Mukta ExtraLight" panose="020B0000000000000000" pitchFamily="34" charset="77"/>
              </a:rPr>
              <a:t>¿Puede ofrecer o producir resultados más rápidamente que la competencia?</a:t>
            </a:r>
          </a:p>
        </p:txBody>
      </p:sp>
      <p:sp>
        <p:nvSpPr>
          <p:cNvPr id="71" name="TextBox 28">
            <a:extLst>
              <a:ext uri="{FF2B5EF4-FFF2-40B4-BE49-F238E27FC236}">
                <a16:creationId xmlns:a16="http://schemas.microsoft.com/office/drawing/2014/main" xmlns="" id="{15988530-D171-4EBC-BF69-B690587B0E32}"/>
              </a:ext>
            </a:extLst>
          </p:cNvPr>
          <p:cNvSpPr txBox="1"/>
          <p:nvPr/>
        </p:nvSpPr>
        <p:spPr>
          <a:xfrm>
            <a:off x="7454368" y="4864522"/>
            <a:ext cx="1411027" cy="523220"/>
          </a:xfrm>
          <a:prstGeom prst="rect">
            <a:avLst/>
          </a:prstGeom>
          <a:noFill/>
        </p:spPr>
        <p:txBody>
          <a:bodyPr wrap="none" lIns="91440" tIns="45720" rIns="91440" bIns="45720" rtlCol="0" anchor="b" anchorCtr="0">
            <a:spAutoFit/>
          </a:bodyPr>
          <a:lstStyle/>
          <a:p>
            <a:pPr algn="ctr"/>
            <a:r>
              <a:rPr lang="en-US" sz="1400" b="1" dirty="0">
                <a:solidFill>
                  <a:schemeClr val="tx1">
                    <a:lumMod val="50000"/>
                    <a:lumOff val="50000"/>
                  </a:schemeClr>
                </a:solidFill>
                <a:latin typeface="Poppins"/>
                <a:ea typeface="League Spartan" charset="0"/>
                <a:cs typeface="Poppins" pitchFamily="2" charset="77"/>
              </a:rPr>
              <a:t>Competencia por </a:t>
            </a:r>
            <a:br>
              <a:rPr lang="en-US" sz="1400" b="1" dirty="0">
                <a:solidFill>
                  <a:schemeClr val="tx1">
                    <a:lumMod val="50000"/>
                    <a:lumOff val="50000"/>
                  </a:schemeClr>
                </a:solidFill>
                <a:latin typeface="Poppins"/>
                <a:ea typeface="League Spartan" charset="0"/>
                <a:cs typeface="Poppins" pitchFamily="2" charset="77"/>
              </a:rPr>
            </a:br>
            <a:r>
              <a:rPr lang="en-US" sz="1400" b="1" dirty="0">
                <a:solidFill>
                  <a:schemeClr val="tx1">
                    <a:lumMod val="50000"/>
                    <a:lumOff val="50000"/>
                  </a:schemeClr>
                </a:solidFill>
                <a:latin typeface="Poppins"/>
                <a:ea typeface="League Spartan" charset="0"/>
                <a:cs typeface="Poppins" pitchFamily="2" charset="77"/>
              </a:rPr>
              <a:t>ventajas de tiempo</a:t>
            </a:r>
          </a:p>
        </p:txBody>
      </p:sp>
      <p:sp>
        <p:nvSpPr>
          <p:cNvPr id="72" name="Subtitle 2">
            <a:extLst>
              <a:ext uri="{FF2B5EF4-FFF2-40B4-BE49-F238E27FC236}">
                <a16:creationId xmlns:a16="http://schemas.microsoft.com/office/drawing/2014/main" xmlns="" id="{6C54F31E-E62D-4496-B3A5-16BCEB6AF122}"/>
              </a:ext>
            </a:extLst>
          </p:cNvPr>
          <p:cNvSpPr txBox="1">
            <a:spLocks/>
          </p:cNvSpPr>
          <p:nvPr/>
        </p:nvSpPr>
        <p:spPr>
          <a:xfrm>
            <a:off x="9614523" y="5545278"/>
            <a:ext cx="2505869" cy="8681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US" sz="1400" dirty="0">
                <a:solidFill>
                  <a:srgbClr val="245473"/>
                </a:solidFill>
                <a:latin typeface="Lato Light"/>
                <a:ea typeface="Lato Light" panose="020F0502020204030203" pitchFamily="34" charset="0"/>
                <a:cs typeface="Mukta ExtraLight" panose="020B0000000000000000" pitchFamily="34" charset="77"/>
              </a:rPr>
              <a:t>¿Está su cadena de valor bien posicionada y ha integrado plenamente a los clientes y proveedores pertinentes en la cadena de valor?</a:t>
            </a:r>
          </a:p>
        </p:txBody>
      </p:sp>
      <p:sp>
        <p:nvSpPr>
          <p:cNvPr id="73" name="TextBox 31">
            <a:extLst>
              <a:ext uri="{FF2B5EF4-FFF2-40B4-BE49-F238E27FC236}">
                <a16:creationId xmlns:a16="http://schemas.microsoft.com/office/drawing/2014/main" xmlns="" id="{7DE623F0-3751-464F-872E-A2A4A39A44D8}"/>
              </a:ext>
            </a:extLst>
          </p:cNvPr>
          <p:cNvSpPr txBox="1"/>
          <p:nvPr/>
        </p:nvSpPr>
        <p:spPr>
          <a:xfrm>
            <a:off x="10018443" y="4851669"/>
            <a:ext cx="2054280" cy="738664"/>
          </a:xfrm>
          <a:prstGeom prst="rect">
            <a:avLst/>
          </a:prstGeom>
          <a:noFill/>
        </p:spPr>
        <p:txBody>
          <a:bodyPr wrap="none" lIns="91440" tIns="45720" rIns="91440" bIns="45720" rtlCol="0" anchor="b" anchorCtr="0">
            <a:spAutoFit/>
          </a:bodyPr>
          <a:lstStyle/>
          <a:p>
            <a:pPr algn="ctr"/>
            <a:r>
              <a:rPr lang="en-US" sz="1400" b="1" dirty="0">
                <a:solidFill>
                  <a:srgbClr val="245473"/>
                </a:solidFill>
                <a:latin typeface="Poppins"/>
                <a:ea typeface="League Spartan" charset="0"/>
                <a:cs typeface="Poppins" pitchFamily="2" charset="77"/>
              </a:rPr>
              <a:t>La competencia por la mejor </a:t>
            </a:r>
            <a:r>
              <a:rPr lang="en-US" sz="1400" b="1" dirty="0">
                <a:solidFill>
                  <a:srgbClr val="245473"/>
                </a:solidFill>
                <a:latin typeface="Poppins" pitchFamily="2" charset="77"/>
                <a:ea typeface="League Spartan" charset="0"/>
                <a:cs typeface="Poppins" pitchFamily="2" charset="77"/>
              </a:rPr>
              <a:t/>
            </a:r>
            <a:br>
              <a:rPr lang="en-US" sz="1400" b="1" dirty="0">
                <a:solidFill>
                  <a:srgbClr val="245473"/>
                </a:solidFill>
                <a:latin typeface="Poppins" pitchFamily="2" charset="77"/>
                <a:ea typeface="League Spartan" charset="0"/>
                <a:cs typeface="Poppins" pitchFamily="2" charset="77"/>
              </a:rPr>
            </a:br>
            <a:r>
              <a:rPr lang="en-US" sz="1400" b="1" dirty="0">
                <a:solidFill>
                  <a:srgbClr val="245473"/>
                </a:solidFill>
                <a:latin typeface="Poppins"/>
                <a:ea typeface="League Spartan" charset="0"/>
                <a:cs typeface="Poppins" pitchFamily="2" charset="77"/>
              </a:rPr>
              <a:t>creación de valor </a:t>
            </a:r>
            <a:br>
              <a:rPr lang="en-US" sz="1400" b="1" dirty="0">
                <a:solidFill>
                  <a:srgbClr val="245473"/>
                </a:solidFill>
                <a:latin typeface="Poppins"/>
                <a:ea typeface="League Spartan" charset="0"/>
                <a:cs typeface="Poppins" pitchFamily="2" charset="77"/>
              </a:rPr>
            </a:br>
            <a:r>
              <a:rPr lang="en-US" sz="1400" b="1" dirty="0">
                <a:solidFill>
                  <a:srgbClr val="245473"/>
                </a:solidFill>
                <a:latin typeface="Poppins"/>
                <a:ea typeface="League Spartan" charset="0"/>
                <a:cs typeface="Poppins" pitchFamily="2" charset="77"/>
              </a:rPr>
              <a:t>arquitectura</a:t>
            </a:r>
          </a:p>
        </p:txBody>
      </p:sp>
      <p:sp>
        <p:nvSpPr>
          <p:cNvPr id="74" name="Subtitle 2">
            <a:extLst>
              <a:ext uri="{FF2B5EF4-FFF2-40B4-BE49-F238E27FC236}">
                <a16:creationId xmlns:a16="http://schemas.microsoft.com/office/drawing/2014/main" xmlns="" id="{E7EAA186-74D2-44B9-9680-8CE76F00AF4F}"/>
              </a:ext>
            </a:extLst>
          </p:cNvPr>
          <p:cNvSpPr txBox="1">
            <a:spLocks/>
          </p:cNvSpPr>
          <p:nvPr/>
        </p:nvSpPr>
        <p:spPr>
          <a:xfrm>
            <a:off x="5571342" y="2936349"/>
            <a:ext cx="2232790" cy="70148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rgbClr val="245473"/>
                </a:solidFill>
                <a:latin typeface="Lato Light"/>
                <a:ea typeface="Lato Light" panose="020F0502020204030203" pitchFamily="34" charset="0"/>
                <a:cs typeface="Mukta ExtraLight" panose="020B0000000000000000" pitchFamily="34" charset="77"/>
              </a:rPr>
              <a:t>¿Son sus productos/servicios cualitativamente mejores que los de </a:t>
            </a:r>
            <a:br>
              <a:rPr lang="en-US" sz="1400" dirty="0">
                <a:solidFill>
                  <a:srgbClr val="245473"/>
                </a:solidFill>
                <a:latin typeface="Lato Light"/>
                <a:ea typeface="Lato Light" panose="020F0502020204030203" pitchFamily="34" charset="0"/>
                <a:cs typeface="Mukta ExtraLight" panose="020B0000000000000000" pitchFamily="34" charset="77"/>
              </a:rPr>
            </a:br>
            <a:r>
              <a:rPr lang="en-US" sz="1400" dirty="0">
                <a:solidFill>
                  <a:srgbClr val="245473"/>
                </a:solidFill>
                <a:latin typeface="Lato Light"/>
                <a:ea typeface="Lato Light" panose="020F0502020204030203" pitchFamily="34" charset="0"/>
                <a:cs typeface="Mukta ExtraLight" panose="020B0000000000000000" pitchFamily="34" charset="77"/>
              </a:rPr>
              <a:t>de sus competidores?</a:t>
            </a:r>
          </a:p>
        </p:txBody>
      </p:sp>
      <p:sp>
        <p:nvSpPr>
          <p:cNvPr id="75" name="TextBox 35">
            <a:extLst>
              <a:ext uri="{FF2B5EF4-FFF2-40B4-BE49-F238E27FC236}">
                <a16:creationId xmlns:a16="http://schemas.microsoft.com/office/drawing/2014/main" xmlns="" id="{E6D0B63D-4B85-40C3-AD04-982EF4B7D848}"/>
              </a:ext>
            </a:extLst>
          </p:cNvPr>
          <p:cNvSpPr txBox="1"/>
          <p:nvPr/>
        </p:nvSpPr>
        <p:spPr>
          <a:xfrm>
            <a:off x="5529941" y="2410992"/>
            <a:ext cx="2089546" cy="523220"/>
          </a:xfrm>
          <a:prstGeom prst="rect">
            <a:avLst/>
          </a:prstGeom>
          <a:noFill/>
        </p:spPr>
        <p:txBody>
          <a:bodyPr wrap="none" rtlCol="0" anchor="b" anchorCtr="0">
            <a:spAutoFit/>
          </a:bodyPr>
          <a:lstStyle/>
          <a:p>
            <a:pPr algn="ctr"/>
            <a:r>
              <a:rPr lang="en-US" sz="1400" b="1" dirty="0">
                <a:solidFill>
                  <a:srgbClr val="E53292"/>
                </a:solidFill>
                <a:latin typeface="Poppins" pitchFamily="2" charset="77"/>
                <a:ea typeface="League Spartan" charset="0"/>
                <a:cs typeface="Poppins" pitchFamily="2" charset="77"/>
              </a:rPr>
              <a:t>Calidad y rendimiento </a:t>
            </a:r>
            <a:br>
              <a:rPr lang="en-US" sz="1400" b="1" dirty="0">
                <a:solidFill>
                  <a:srgbClr val="E53292"/>
                </a:solidFill>
                <a:latin typeface="Poppins" pitchFamily="2" charset="77"/>
                <a:ea typeface="League Spartan" charset="0"/>
                <a:cs typeface="Poppins" pitchFamily="2" charset="77"/>
              </a:rPr>
            </a:br>
            <a:r>
              <a:rPr lang="en-US" sz="1400" b="1" dirty="0">
                <a:solidFill>
                  <a:srgbClr val="E53292"/>
                </a:solidFill>
                <a:latin typeface="Poppins" pitchFamily="2" charset="77"/>
                <a:ea typeface="League Spartan" charset="0"/>
                <a:cs typeface="Poppins" pitchFamily="2" charset="77"/>
              </a:rPr>
              <a:t>competencia</a:t>
            </a:r>
          </a:p>
        </p:txBody>
      </p:sp>
      <p:sp>
        <p:nvSpPr>
          <p:cNvPr id="76" name="Subtitle 2">
            <a:extLst>
              <a:ext uri="{FF2B5EF4-FFF2-40B4-BE49-F238E27FC236}">
                <a16:creationId xmlns:a16="http://schemas.microsoft.com/office/drawing/2014/main" xmlns="" id="{AF08BC43-008A-439D-87BE-7A3D0CD82B85}"/>
              </a:ext>
            </a:extLst>
          </p:cNvPr>
          <p:cNvSpPr txBox="1">
            <a:spLocks/>
          </p:cNvSpPr>
          <p:nvPr/>
        </p:nvSpPr>
        <p:spPr>
          <a:xfrm>
            <a:off x="8668831" y="3018919"/>
            <a:ext cx="2232790" cy="53477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US" sz="1400" dirty="0">
                <a:solidFill>
                  <a:srgbClr val="245473"/>
                </a:solidFill>
                <a:latin typeface="Lato Light"/>
                <a:ea typeface="Lato Light" panose="020F0502020204030203" pitchFamily="34" charset="0"/>
                <a:cs typeface="Mukta ExtraLight" panose="020B0000000000000000" pitchFamily="34" charset="77"/>
              </a:rPr>
              <a:t>¿Es usted innovador en relación con la competencia?</a:t>
            </a:r>
          </a:p>
        </p:txBody>
      </p:sp>
      <p:sp>
        <p:nvSpPr>
          <p:cNvPr id="77" name="TextBox 38">
            <a:extLst>
              <a:ext uri="{FF2B5EF4-FFF2-40B4-BE49-F238E27FC236}">
                <a16:creationId xmlns:a16="http://schemas.microsoft.com/office/drawing/2014/main" xmlns="" id="{5B6AC39C-0D37-4F0C-BACB-2421CAC34219}"/>
              </a:ext>
            </a:extLst>
          </p:cNvPr>
          <p:cNvSpPr txBox="1"/>
          <p:nvPr/>
        </p:nvSpPr>
        <p:spPr>
          <a:xfrm>
            <a:off x="8719467" y="2409826"/>
            <a:ext cx="1958100" cy="523220"/>
          </a:xfrm>
          <a:prstGeom prst="rect">
            <a:avLst/>
          </a:prstGeom>
          <a:noFill/>
        </p:spPr>
        <p:txBody>
          <a:bodyPr wrap="none" rtlCol="0" anchor="b" anchorCtr="0">
            <a:spAutoFit/>
          </a:bodyPr>
          <a:lstStyle/>
          <a:p>
            <a:pPr algn="ctr"/>
            <a:r>
              <a:rPr lang="en-US" sz="1400" b="1" dirty="0">
                <a:solidFill>
                  <a:srgbClr val="F95C2C"/>
                </a:solidFill>
                <a:latin typeface="Poppins" pitchFamily="2" charset="77"/>
                <a:ea typeface="League Spartan" charset="0"/>
                <a:cs typeface="Poppins" pitchFamily="2" charset="77"/>
              </a:rPr>
              <a:t>La innovación y la </a:t>
            </a:r>
            <a:br>
              <a:rPr lang="en-US" sz="1400" b="1" dirty="0">
                <a:solidFill>
                  <a:srgbClr val="F95C2C"/>
                </a:solidFill>
                <a:latin typeface="Poppins" pitchFamily="2" charset="77"/>
                <a:ea typeface="League Spartan" charset="0"/>
                <a:cs typeface="Poppins" pitchFamily="2" charset="77"/>
              </a:rPr>
            </a:br>
            <a:r>
              <a:rPr lang="en-US" sz="1400" b="1" dirty="0">
                <a:solidFill>
                  <a:srgbClr val="F95C2C"/>
                </a:solidFill>
                <a:latin typeface="Poppins" pitchFamily="2" charset="77"/>
                <a:ea typeface="League Spartan" charset="0"/>
                <a:cs typeface="Poppins" pitchFamily="2" charset="77"/>
              </a:rPr>
              <a:t>competencia tecnológica</a:t>
            </a:r>
          </a:p>
        </p:txBody>
      </p:sp>
      <p:grpSp>
        <p:nvGrpSpPr>
          <p:cNvPr id="3" name="Gruppieren 2">
            <a:extLst>
              <a:ext uri="{FF2B5EF4-FFF2-40B4-BE49-F238E27FC236}">
                <a16:creationId xmlns:a16="http://schemas.microsoft.com/office/drawing/2014/main" xmlns="" id="{102F3914-350E-4629-BD47-D479A4289A90}"/>
              </a:ext>
            </a:extLst>
          </p:cNvPr>
          <p:cNvGrpSpPr/>
          <p:nvPr/>
        </p:nvGrpSpPr>
        <p:grpSpPr>
          <a:xfrm>
            <a:off x="4483351" y="3703926"/>
            <a:ext cx="7590221" cy="1114590"/>
            <a:chOff x="4428956" y="3726462"/>
            <a:chExt cx="6199706" cy="1561340"/>
          </a:xfrm>
        </p:grpSpPr>
        <p:sp>
          <p:nvSpPr>
            <p:cNvPr id="38" name="Freeform 4">
              <a:extLst>
                <a:ext uri="{FF2B5EF4-FFF2-40B4-BE49-F238E27FC236}">
                  <a16:creationId xmlns:a16="http://schemas.microsoft.com/office/drawing/2014/main" xmlns="" id="{00E1C7CB-078E-4096-BDC5-A304E371587E}"/>
                </a:ext>
              </a:extLst>
            </p:cNvPr>
            <p:cNvSpPr>
              <a:spLocks noChangeArrowheads="1"/>
            </p:cNvSpPr>
            <p:nvPr/>
          </p:nvSpPr>
          <p:spPr bwMode="auto">
            <a:xfrm>
              <a:off x="4428956" y="3878418"/>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US" sz="2450"/>
            </a:p>
          </p:txBody>
        </p:sp>
        <p:sp>
          <p:nvSpPr>
            <p:cNvPr id="39" name="Freeform 6">
              <a:extLst>
                <a:ext uri="{FF2B5EF4-FFF2-40B4-BE49-F238E27FC236}">
                  <a16:creationId xmlns:a16="http://schemas.microsoft.com/office/drawing/2014/main" xmlns="" id="{40705491-CFB2-46F3-AA29-9E2E7B88DF13}"/>
                </a:ext>
              </a:extLst>
            </p:cNvPr>
            <p:cNvSpPr>
              <a:spLocks noChangeArrowheads="1"/>
            </p:cNvSpPr>
            <p:nvPr/>
          </p:nvSpPr>
          <p:spPr bwMode="auto">
            <a:xfrm>
              <a:off x="4599970" y="4045310"/>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50"/>
            </a:p>
          </p:txBody>
        </p:sp>
        <p:sp>
          <p:nvSpPr>
            <p:cNvPr id="40" name="Freeform 7">
              <a:extLst>
                <a:ext uri="{FF2B5EF4-FFF2-40B4-BE49-F238E27FC236}">
                  <a16:creationId xmlns:a16="http://schemas.microsoft.com/office/drawing/2014/main" xmlns="" id="{C10DE89A-7293-4F37-B869-0CD524104866}"/>
                </a:ext>
              </a:extLst>
            </p:cNvPr>
            <p:cNvSpPr>
              <a:spLocks noChangeArrowheads="1"/>
            </p:cNvSpPr>
            <p:nvPr/>
          </p:nvSpPr>
          <p:spPr bwMode="auto">
            <a:xfrm>
              <a:off x="5823840" y="4045310"/>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50"/>
            </a:p>
          </p:txBody>
        </p:sp>
        <p:sp>
          <p:nvSpPr>
            <p:cNvPr id="45" name="Freeform 8">
              <a:extLst>
                <a:ext uri="{FF2B5EF4-FFF2-40B4-BE49-F238E27FC236}">
                  <a16:creationId xmlns:a16="http://schemas.microsoft.com/office/drawing/2014/main" xmlns="" id="{51C2FBED-9D19-4DBC-89E2-BC5CEB07C9B8}"/>
                </a:ext>
              </a:extLst>
            </p:cNvPr>
            <p:cNvSpPr>
              <a:spLocks noChangeArrowheads="1"/>
            </p:cNvSpPr>
            <p:nvPr/>
          </p:nvSpPr>
          <p:spPr bwMode="auto">
            <a:xfrm>
              <a:off x="7058012" y="4045310"/>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solidFill>
            <a:ln>
              <a:noFill/>
            </a:ln>
            <a:effectLst/>
          </p:spPr>
          <p:txBody>
            <a:bodyPr wrap="none" anchor="ctr"/>
            <a:lstStyle/>
            <a:p>
              <a:endParaRPr lang="en-US" sz="2450"/>
            </a:p>
          </p:txBody>
        </p:sp>
        <p:sp>
          <p:nvSpPr>
            <p:cNvPr id="46" name="Freeform 9">
              <a:extLst>
                <a:ext uri="{FF2B5EF4-FFF2-40B4-BE49-F238E27FC236}">
                  <a16:creationId xmlns:a16="http://schemas.microsoft.com/office/drawing/2014/main" xmlns="" id="{19A6D550-29F2-4C2F-BA91-E4A8662EB63C}"/>
                </a:ext>
              </a:extLst>
            </p:cNvPr>
            <p:cNvSpPr>
              <a:spLocks noChangeArrowheads="1"/>
            </p:cNvSpPr>
            <p:nvPr/>
          </p:nvSpPr>
          <p:spPr bwMode="auto">
            <a:xfrm>
              <a:off x="8275701" y="4045310"/>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50"/>
            </a:p>
          </p:txBody>
        </p:sp>
        <p:sp>
          <p:nvSpPr>
            <p:cNvPr id="47" name="Freeform 10">
              <a:extLst>
                <a:ext uri="{FF2B5EF4-FFF2-40B4-BE49-F238E27FC236}">
                  <a16:creationId xmlns:a16="http://schemas.microsoft.com/office/drawing/2014/main" xmlns="" id="{8F171352-1ADF-4971-A860-F61856416B2D}"/>
                </a:ext>
              </a:extLst>
            </p:cNvPr>
            <p:cNvSpPr>
              <a:spLocks noChangeArrowheads="1"/>
            </p:cNvSpPr>
            <p:nvPr/>
          </p:nvSpPr>
          <p:spPr bwMode="auto">
            <a:xfrm>
              <a:off x="9524297" y="4045310"/>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solidFill>
            <a:ln>
              <a:noFill/>
            </a:ln>
            <a:effectLst/>
          </p:spPr>
          <p:txBody>
            <a:bodyPr wrap="none" anchor="ctr"/>
            <a:lstStyle/>
            <a:p>
              <a:endParaRPr lang="en-US" sz="2450"/>
            </a:p>
          </p:txBody>
        </p:sp>
        <p:sp>
          <p:nvSpPr>
            <p:cNvPr id="48" name="Freeform 26">
              <a:extLst>
                <a:ext uri="{FF2B5EF4-FFF2-40B4-BE49-F238E27FC236}">
                  <a16:creationId xmlns:a16="http://schemas.microsoft.com/office/drawing/2014/main" xmlns="" id="{60AE3D18-4DA7-444A-B642-6954A8139B23}"/>
                </a:ext>
              </a:extLst>
            </p:cNvPr>
            <p:cNvSpPr>
              <a:spLocks noChangeArrowheads="1"/>
            </p:cNvSpPr>
            <p:nvPr/>
          </p:nvSpPr>
          <p:spPr bwMode="auto">
            <a:xfrm>
              <a:off x="5632224" y="4416179"/>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US" sz="2450"/>
            </a:p>
          </p:txBody>
        </p:sp>
        <p:sp>
          <p:nvSpPr>
            <p:cNvPr id="49" name="Freeform 27">
              <a:extLst>
                <a:ext uri="{FF2B5EF4-FFF2-40B4-BE49-F238E27FC236}">
                  <a16:creationId xmlns:a16="http://schemas.microsoft.com/office/drawing/2014/main" xmlns="" id="{1C7502E0-D0AE-4DD3-870F-082EEE3E2412}"/>
                </a:ext>
              </a:extLst>
            </p:cNvPr>
            <p:cNvSpPr>
              <a:spLocks noChangeArrowheads="1"/>
            </p:cNvSpPr>
            <p:nvPr/>
          </p:nvSpPr>
          <p:spPr bwMode="auto">
            <a:xfrm>
              <a:off x="6866396" y="4416179"/>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US" sz="2450"/>
            </a:p>
          </p:txBody>
        </p:sp>
        <p:sp>
          <p:nvSpPr>
            <p:cNvPr id="50" name="Freeform 28">
              <a:extLst>
                <a:ext uri="{FF2B5EF4-FFF2-40B4-BE49-F238E27FC236}">
                  <a16:creationId xmlns:a16="http://schemas.microsoft.com/office/drawing/2014/main" xmlns="" id="{E251D262-44CA-49BA-A7F1-8E5FEC8651B0}"/>
                </a:ext>
              </a:extLst>
            </p:cNvPr>
            <p:cNvSpPr>
              <a:spLocks noChangeArrowheads="1"/>
            </p:cNvSpPr>
            <p:nvPr/>
          </p:nvSpPr>
          <p:spPr bwMode="auto">
            <a:xfrm>
              <a:off x="8090266" y="4416179"/>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US" sz="2450"/>
            </a:p>
          </p:txBody>
        </p:sp>
        <p:sp>
          <p:nvSpPr>
            <p:cNvPr id="53" name="Freeform 29">
              <a:extLst>
                <a:ext uri="{FF2B5EF4-FFF2-40B4-BE49-F238E27FC236}">
                  <a16:creationId xmlns:a16="http://schemas.microsoft.com/office/drawing/2014/main" xmlns="" id="{1E0DA27A-4F09-42DC-8997-9B3F2106A8F9}"/>
                </a:ext>
              </a:extLst>
            </p:cNvPr>
            <p:cNvSpPr>
              <a:spLocks noChangeArrowheads="1"/>
            </p:cNvSpPr>
            <p:nvPr/>
          </p:nvSpPr>
          <p:spPr bwMode="auto">
            <a:xfrm>
              <a:off x="9324438" y="4416179"/>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US" sz="2450"/>
            </a:p>
          </p:txBody>
        </p:sp>
        <p:sp>
          <p:nvSpPr>
            <p:cNvPr id="56" name="Down Arrow 18">
              <a:extLst>
                <a:ext uri="{FF2B5EF4-FFF2-40B4-BE49-F238E27FC236}">
                  <a16:creationId xmlns:a16="http://schemas.microsoft.com/office/drawing/2014/main" xmlns="" id="{D79B297B-FD45-4870-9B89-FD53F5877CF7}"/>
                </a:ext>
              </a:extLst>
            </p:cNvPr>
            <p:cNvSpPr/>
            <p:nvPr/>
          </p:nvSpPr>
          <p:spPr>
            <a:xfrm>
              <a:off x="5016693" y="5107802"/>
              <a:ext cx="120510" cy="180000"/>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64" name="Up Arrow 19">
              <a:extLst>
                <a:ext uri="{FF2B5EF4-FFF2-40B4-BE49-F238E27FC236}">
                  <a16:creationId xmlns:a16="http://schemas.microsoft.com/office/drawing/2014/main" xmlns="" id="{88C3CE21-E6D6-4763-9550-AA44AC8A21A7}"/>
                </a:ext>
              </a:extLst>
            </p:cNvPr>
            <p:cNvSpPr/>
            <p:nvPr/>
          </p:nvSpPr>
          <p:spPr>
            <a:xfrm>
              <a:off x="6240563" y="3726462"/>
              <a:ext cx="120510" cy="180000"/>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65" name="Down Arrow 20">
              <a:extLst>
                <a:ext uri="{FF2B5EF4-FFF2-40B4-BE49-F238E27FC236}">
                  <a16:creationId xmlns:a16="http://schemas.microsoft.com/office/drawing/2014/main" xmlns="" id="{F997D077-9566-40D0-A066-E7FCF4057E01}"/>
                </a:ext>
              </a:extLst>
            </p:cNvPr>
            <p:cNvSpPr/>
            <p:nvPr/>
          </p:nvSpPr>
          <p:spPr>
            <a:xfrm>
              <a:off x="7473706" y="5107802"/>
              <a:ext cx="120510" cy="180000"/>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66" name="Up Arrow 21">
              <a:extLst>
                <a:ext uri="{FF2B5EF4-FFF2-40B4-BE49-F238E27FC236}">
                  <a16:creationId xmlns:a16="http://schemas.microsoft.com/office/drawing/2014/main" xmlns="" id="{C8D18E1D-B647-4CE2-96FE-AA846668779D}"/>
                </a:ext>
              </a:extLst>
            </p:cNvPr>
            <p:cNvSpPr/>
            <p:nvPr/>
          </p:nvSpPr>
          <p:spPr>
            <a:xfrm>
              <a:off x="8692424" y="3726462"/>
              <a:ext cx="120510" cy="180000"/>
            </a:xfrm>
            <a:prstGeom prst="up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67" name="Down Arrow 22">
              <a:extLst>
                <a:ext uri="{FF2B5EF4-FFF2-40B4-BE49-F238E27FC236}">
                  <a16:creationId xmlns:a16="http://schemas.microsoft.com/office/drawing/2014/main" xmlns="" id="{520B4E67-A02D-4BC2-9D78-1B5D5B0439A5}"/>
                </a:ext>
              </a:extLst>
            </p:cNvPr>
            <p:cNvSpPr/>
            <p:nvPr/>
          </p:nvSpPr>
          <p:spPr>
            <a:xfrm>
              <a:off x="9939990" y="5107802"/>
              <a:ext cx="120510" cy="18000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a:p>
          </p:txBody>
        </p:sp>
        <p:sp>
          <p:nvSpPr>
            <p:cNvPr id="78" name="TextBox 39">
              <a:extLst>
                <a:ext uri="{FF2B5EF4-FFF2-40B4-BE49-F238E27FC236}">
                  <a16:creationId xmlns:a16="http://schemas.microsoft.com/office/drawing/2014/main" xmlns="" id="{B23A162E-943E-4923-914B-2A4A9CBDB5BB}"/>
                </a:ext>
              </a:extLst>
            </p:cNvPr>
            <p:cNvSpPr txBox="1"/>
            <p:nvPr/>
          </p:nvSpPr>
          <p:spPr>
            <a:xfrm>
              <a:off x="4874809" y="4215341"/>
              <a:ext cx="404278" cy="611834"/>
            </a:xfrm>
            <a:prstGeom prst="rect">
              <a:avLst/>
            </a:prstGeom>
            <a:noFill/>
          </p:spPr>
          <p:txBody>
            <a:bodyPr wrap="none" rtlCol="0" anchor="ctr">
              <a:spAutoFit/>
            </a:bodyPr>
            <a:lstStyle/>
            <a:p>
              <a:pPr algn="ctr"/>
              <a:r>
                <a:rPr lang="en-US" sz="3376" b="1" dirty="0">
                  <a:solidFill>
                    <a:schemeClr val="bg1"/>
                  </a:solidFill>
                  <a:latin typeface="Poppins" pitchFamily="2" charset="77"/>
                  <a:cs typeface="Poppins" pitchFamily="2" charset="77"/>
                </a:rPr>
                <a:t>1</a:t>
              </a:r>
            </a:p>
          </p:txBody>
        </p:sp>
        <p:sp>
          <p:nvSpPr>
            <p:cNvPr id="79" name="TextBox 40">
              <a:extLst>
                <a:ext uri="{FF2B5EF4-FFF2-40B4-BE49-F238E27FC236}">
                  <a16:creationId xmlns:a16="http://schemas.microsoft.com/office/drawing/2014/main" xmlns="" id="{F547ED84-B348-49A2-9899-D03BF9668028}"/>
                </a:ext>
              </a:extLst>
            </p:cNvPr>
            <p:cNvSpPr txBox="1"/>
            <p:nvPr/>
          </p:nvSpPr>
          <p:spPr>
            <a:xfrm>
              <a:off x="6098679" y="4215341"/>
              <a:ext cx="404278" cy="611834"/>
            </a:xfrm>
            <a:prstGeom prst="rect">
              <a:avLst/>
            </a:prstGeom>
            <a:noFill/>
          </p:spPr>
          <p:txBody>
            <a:bodyPr wrap="none" rtlCol="0" anchor="ctr">
              <a:spAutoFit/>
            </a:bodyPr>
            <a:lstStyle/>
            <a:p>
              <a:pPr algn="ctr"/>
              <a:r>
                <a:rPr lang="en-US" sz="3376" b="1" dirty="0">
                  <a:solidFill>
                    <a:schemeClr val="bg1"/>
                  </a:solidFill>
                  <a:latin typeface="Poppins" pitchFamily="2" charset="77"/>
                  <a:cs typeface="Poppins" pitchFamily="2" charset="77"/>
                </a:rPr>
                <a:t>2</a:t>
              </a:r>
            </a:p>
          </p:txBody>
        </p:sp>
        <p:sp>
          <p:nvSpPr>
            <p:cNvPr id="80" name="TextBox 41">
              <a:extLst>
                <a:ext uri="{FF2B5EF4-FFF2-40B4-BE49-F238E27FC236}">
                  <a16:creationId xmlns:a16="http://schemas.microsoft.com/office/drawing/2014/main" xmlns="" id="{B5125C46-3A39-49D8-B8F4-18065575044F}"/>
                </a:ext>
              </a:extLst>
            </p:cNvPr>
            <p:cNvSpPr txBox="1"/>
            <p:nvPr/>
          </p:nvSpPr>
          <p:spPr>
            <a:xfrm>
              <a:off x="7326670" y="4215341"/>
              <a:ext cx="404278" cy="611834"/>
            </a:xfrm>
            <a:prstGeom prst="rect">
              <a:avLst/>
            </a:prstGeom>
            <a:noFill/>
          </p:spPr>
          <p:txBody>
            <a:bodyPr wrap="none" rtlCol="0" anchor="ctr">
              <a:spAutoFit/>
            </a:bodyPr>
            <a:lstStyle/>
            <a:p>
              <a:pPr algn="ctr"/>
              <a:r>
                <a:rPr lang="en-US" sz="3376" b="1" dirty="0">
                  <a:solidFill>
                    <a:schemeClr val="bg1"/>
                  </a:solidFill>
                  <a:latin typeface="Poppins" pitchFamily="2" charset="77"/>
                  <a:cs typeface="Poppins" pitchFamily="2" charset="77"/>
                </a:rPr>
                <a:t>3</a:t>
              </a:r>
            </a:p>
          </p:txBody>
        </p:sp>
        <p:sp>
          <p:nvSpPr>
            <p:cNvPr id="81" name="TextBox 42">
              <a:extLst>
                <a:ext uri="{FF2B5EF4-FFF2-40B4-BE49-F238E27FC236}">
                  <a16:creationId xmlns:a16="http://schemas.microsoft.com/office/drawing/2014/main" xmlns="" id="{C5D9DD84-5FF5-461A-A2ED-4A9E0856E3A5}"/>
                </a:ext>
              </a:extLst>
            </p:cNvPr>
            <p:cNvSpPr txBox="1"/>
            <p:nvPr/>
          </p:nvSpPr>
          <p:spPr>
            <a:xfrm>
              <a:off x="8550541" y="4215341"/>
              <a:ext cx="404278" cy="611834"/>
            </a:xfrm>
            <a:prstGeom prst="rect">
              <a:avLst/>
            </a:prstGeom>
            <a:noFill/>
          </p:spPr>
          <p:txBody>
            <a:bodyPr wrap="none" rtlCol="0" anchor="ctr">
              <a:spAutoFit/>
            </a:bodyPr>
            <a:lstStyle/>
            <a:p>
              <a:pPr algn="ctr"/>
              <a:r>
                <a:rPr lang="en-US" sz="3376" b="1" dirty="0">
                  <a:solidFill>
                    <a:schemeClr val="bg1"/>
                  </a:solidFill>
                  <a:latin typeface="Poppins" pitchFamily="2" charset="77"/>
                  <a:cs typeface="Poppins" pitchFamily="2" charset="77"/>
                </a:rPr>
                <a:t>4</a:t>
              </a:r>
            </a:p>
          </p:txBody>
        </p:sp>
        <p:sp>
          <p:nvSpPr>
            <p:cNvPr id="82" name="TextBox 43">
              <a:extLst>
                <a:ext uri="{FF2B5EF4-FFF2-40B4-BE49-F238E27FC236}">
                  <a16:creationId xmlns:a16="http://schemas.microsoft.com/office/drawing/2014/main" xmlns="" id="{532E2BA8-8236-4F74-8561-56D7C278D943}"/>
                </a:ext>
              </a:extLst>
            </p:cNvPr>
            <p:cNvSpPr txBox="1"/>
            <p:nvPr/>
          </p:nvSpPr>
          <p:spPr>
            <a:xfrm>
              <a:off x="9798106" y="4215341"/>
              <a:ext cx="404278" cy="611834"/>
            </a:xfrm>
            <a:prstGeom prst="rect">
              <a:avLst/>
            </a:prstGeom>
            <a:noFill/>
          </p:spPr>
          <p:txBody>
            <a:bodyPr wrap="none" rtlCol="0" anchor="ctr">
              <a:spAutoFit/>
            </a:bodyPr>
            <a:lstStyle/>
            <a:p>
              <a:pPr algn="ctr"/>
              <a:r>
                <a:rPr lang="en-US" sz="3376" b="1" dirty="0">
                  <a:solidFill>
                    <a:schemeClr val="bg1"/>
                  </a:solidFill>
                  <a:latin typeface="Poppins" pitchFamily="2" charset="77"/>
                  <a:cs typeface="Poppins" pitchFamily="2" charset="77"/>
                </a:rPr>
                <a:t>5</a:t>
              </a:r>
            </a:p>
          </p:txBody>
        </p:sp>
      </p:grpSp>
    </p:spTree>
    <p:extLst>
      <p:ext uri="{BB962C8B-B14F-4D97-AF65-F5344CB8AC3E}">
        <p14:creationId xmlns:p14="http://schemas.microsoft.com/office/powerpoint/2010/main" val="1179442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3208" y="658333"/>
            <a:ext cx="9949449" cy="697353"/>
          </a:xfrm>
        </p:spPr>
        <p:txBody>
          <a:bodyPr>
            <a:noAutofit/>
          </a:bodyPr>
          <a:lstStyle/>
          <a:p>
            <a:r>
              <a:rPr lang="en-GB" sz="2800"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8214" y="2079795"/>
            <a:ext cx="3535930" cy="463747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La planificación profesional de la empresa es un factor clave de éxito. Hace transparente cómo debe desarrollarse la empresa y proporciona la base para que los propietarios, accionistas y proveedores de capital tomen decisiones sostenibles. </a:t>
            </a:r>
            <a:endParaRPr lang="en-US" dirty="0">
              <a:solidFill>
                <a:srgbClr val="245473"/>
              </a:solidFill>
            </a:endParaRPr>
          </a:p>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Importante: La planificación profesional permite identificar dónde es necesario un cambio en la empresa. </a:t>
            </a:r>
          </a:p>
          <a:p>
            <a:pPr algn="l">
              <a:lnSpc>
                <a:spcPct val="100000"/>
              </a:lnSpc>
              <a:spcBef>
                <a:spcPts val="600"/>
              </a:spcBef>
            </a:pPr>
            <a:endParaRPr lang="en-US" sz="2200" dirty="0">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63C8703E-5EEA-4919-A837-F8C6CDD45AAD}"/>
              </a:ext>
            </a:extLst>
          </p:cNvPr>
          <p:cNvGrpSpPr/>
          <p:nvPr/>
        </p:nvGrpSpPr>
        <p:grpSpPr>
          <a:xfrm>
            <a:off x="5643856" y="2417228"/>
            <a:ext cx="3958829" cy="3455788"/>
            <a:chOff x="4094186" y="2417228"/>
            <a:chExt cx="3958829" cy="3455788"/>
          </a:xfrm>
        </p:grpSpPr>
        <p:sp>
          <p:nvSpPr>
            <p:cNvPr id="56" name="Фигура">
              <a:extLst>
                <a:ext uri="{FF2B5EF4-FFF2-40B4-BE49-F238E27FC236}">
                  <a16:creationId xmlns:a16="http://schemas.microsoft.com/office/drawing/2014/main" xmlns="" id="{7863407F-31F9-455F-9091-FB4A09BC17A3}"/>
                </a:ext>
              </a:extLst>
            </p:cNvPr>
            <p:cNvSpPr>
              <a:spLocks/>
            </p:cNvSpPr>
            <p:nvPr/>
          </p:nvSpPr>
          <p:spPr bwMode="auto">
            <a:xfrm>
              <a:off x="4151813" y="2417228"/>
              <a:ext cx="2475461" cy="3195325"/>
            </a:xfrm>
            <a:custGeom>
              <a:avLst/>
              <a:gdLst>
                <a:gd name="T0" fmla="*/ 3301058 w 21573"/>
                <a:gd name="T1" fmla="*/ 4260722 h 21596"/>
                <a:gd name="T2" fmla="*/ 3301058 w 21573"/>
                <a:gd name="T3" fmla="*/ 4260722 h 21596"/>
                <a:gd name="T4" fmla="*/ 3301058 w 21573"/>
                <a:gd name="T5" fmla="*/ 4260722 h 21596"/>
                <a:gd name="T6" fmla="*/ 3301058 w 21573"/>
                <a:gd name="T7" fmla="*/ 4260722 h 21596"/>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73" h="21596" extrusionOk="0">
                  <a:moveTo>
                    <a:pt x="16988" y="161"/>
                  </a:moveTo>
                  <a:cubicBezTo>
                    <a:pt x="17069" y="251"/>
                    <a:pt x="17141" y="345"/>
                    <a:pt x="17202" y="444"/>
                  </a:cubicBezTo>
                  <a:cubicBezTo>
                    <a:pt x="17267" y="549"/>
                    <a:pt x="17320" y="658"/>
                    <a:pt x="17374" y="766"/>
                  </a:cubicBezTo>
                  <a:cubicBezTo>
                    <a:pt x="17491" y="1004"/>
                    <a:pt x="17609" y="1242"/>
                    <a:pt x="17727" y="1480"/>
                  </a:cubicBezTo>
                  <a:cubicBezTo>
                    <a:pt x="17950" y="1923"/>
                    <a:pt x="18175" y="2366"/>
                    <a:pt x="18393" y="2810"/>
                  </a:cubicBezTo>
                  <a:cubicBezTo>
                    <a:pt x="18832" y="3701"/>
                    <a:pt x="19244" y="4598"/>
                    <a:pt x="19627" y="5502"/>
                  </a:cubicBezTo>
                  <a:cubicBezTo>
                    <a:pt x="20487" y="7531"/>
                    <a:pt x="21207" y="9607"/>
                    <a:pt x="21466" y="11747"/>
                  </a:cubicBezTo>
                  <a:cubicBezTo>
                    <a:pt x="21573" y="12629"/>
                    <a:pt x="21600" y="13517"/>
                    <a:pt x="21547" y="14403"/>
                  </a:cubicBezTo>
                  <a:cubicBezTo>
                    <a:pt x="21135" y="13190"/>
                    <a:pt x="19991" y="12208"/>
                    <a:pt x="18480" y="11768"/>
                  </a:cubicBezTo>
                  <a:cubicBezTo>
                    <a:pt x="15508" y="10900"/>
                    <a:pt x="12440" y="12228"/>
                    <a:pt x="9862" y="13780"/>
                  </a:cubicBezTo>
                  <a:cubicBezTo>
                    <a:pt x="8949" y="14330"/>
                    <a:pt x="8061" y="14902"/>
                    <a:pt x="7209" y="15505"/>
                  </a:cubicBezTo>
                  <a:cubicBezTo>
                    <a:pt x="6338" y="16122"/>
                    <a:pt x="5507" y="16771"/>
                    <a:pt x="4695" y="17433"/>
                  </a:cubicBezTo>
                  <a:cubicBezTo>
                    <a:pt x="3057" y="18767"/>
                    <a:pt x="1490" y="20156"/>
                    <a:pt x="0" y="21596"/>
                  </a:cubicBezTo>
                  <a:lnTo>
                    <a:pt x="16000" y="234"/>
                  </a:lnTo>
                  <a:cubicBezTo>
                    <a:pt x="16115" y="85"/>
                    <a:pt x="16324" y="-4"/>
                    <a:pt x="16548" y="1"/>
                  </a:cubicBezTo>
                  <a:cubicBezTo>
                    <a:pt x="16717" y="4"/>
                    <a:pt x="16876" y="62"/>
                    <a:pt x="16988" y="161"/>
                  </a:cubicBezTo>
                  <a:close/>
                </a:path>
              </a:pathLst>
            </a:custGeom>
            <a:solidFill>
              <a:schemeClr val="accent1"/>
            </a:solidFill>
            <a:ln>
              <a:noFill/>
            </a:ln>
          </p:spPr>
          <p:txBody>
            <a:bodyPr lIns="19050" tIns="19050" rIns="19050" bIns="19050" anchor="ctr"/>
            <a:lstStyle/>
            <a:p>
              <a:endParaRPr lang="en-US" sz="1600" dirty="0">
                <a:latin typeface="+mj-lt"/>
              </a:endParaRPr>
            </a:p>
          </p:txBody>
        </p:sp>
        <p:sp>
          <p:nvSpPr>
            <p:cNvPr id="64" name="Фигура">
              <a:extLst>
                <a:ext uri="{FF2B5EF4-FFF2-40B4-BE49-F238E27FC236}">
                  <a16:creationId xmlns:a16="http://schemas.microsoft.com/office/drawing/2014/main" xmlns="" id="{87E30826-A9C8-4169-AA03-4512D1660660}"/>
                </a:ext>
              </a:extLst>
            </p:cNvPr>
            <p:cNvSpPr/>
            <p:nvPr/>
          </p:nvSpPr>
          <p:spPr bwMode="auto">
            <a:xfrm>
              <a:off x="5902746" y="2647018"/>
              <a:ext cx="2150269" cy="3203972"/>
            </a:xfrm>
            <a:custGeom>
              <a:avLst/>
              <a:gdLst/>
              <a:ahLst/>
              <a:cxnLst>
                <a:cxn ang="0">
                  <a:pos x="wd2" y="hd2"/>
                </a:cxn>
                <a:cxn ang="5400000">
                  <a:pos x="wd2" y="hd2"/>
                </a:cxn>
                <a:cxn ang="10800000">
                  <a:pos x="wd2" y="hd2"/>
                </a:cxn>
                <a:cxn ang="16200000">
                  <a:pos x="wd2" y="hd2"/>
                </a:cxn>
              </a:cxnLst>
              <a:rect l="0" t="0" r="r" b="b"/>
              <a:pathLst>
                <a:path w="21558" h="21567" extrusionOk="0">
                  <a:moveTo>
                    <a:pt x="3512" y="0"/>
                  </a:moveTo>
                  <a:cubicBezTo>
                    <a:pt x="4175" y="1156"/>
                    <a:pt x="4788" y="2315"/>
                    <a:pt x="5355" y="3476"/>
                  </a:cubicBezTo>
                  <a:cubicBezTo>
                    <a:pt x="5923" y="4639"/>
                    <a:pt x="6444" y="5805"/>
                    <a:pt x="6856" y="6984"/>
                  </a:cubicBezTo>
                  <a:cubicBezTo>
                    <a:pt x="7297" y="8245"/>
                    <a:pt x="7619" y="9556"/>
                    <a:pt x="7767" y="10855"/>
                  </a:cubicBezTo>
                  <a:cubicBezTo>
                    <a:pt x="7914" y="12154"/>
                    <a:pt x="7886" y="13460"/>
                    <a:pt x="7238" y="14730"/>
                  </a:cubicBezTo>
                  <a:cubicBezTo>
                    <a:pt x="6912" y="15368"/>
                    <a:pt x="6429" y="15966"/>
                    <a:pt x="5737" y="16449"/>
                  </a:cubicBezTo>
                  <a:cubicBezTo>
                    <a:pt x="4261" y="17477"/>
                    <a:pt x="2052" y="17874"/>
                    <a:pt x="0" y="17469"/>
                  </a:cubicBezTo>
                  <a:cubicBezTo>
                    <a:pt x="736" y="17795"/>
                    <a:pt x="1499" y="18092"/>
                    <a:pt x="2286" y="18360"/>
                  </a:cubicBezTo>
                  <a:cubicBezTo>
                    <a:pt x="3025" y="18611"/>
                    <a:pt x="3785" y="18836"/>
                    <a:pt x="4555" y="19043"/>
                  </a:cubicBezTo>
                  <a:cubicBezTo>
                    <a:pt x="7143" y="19737"/>
                    <a:pt x="9835" y="20226"/>
                    <a:pt x="12548" y="20628"/>
                  </a:cubicBezTo>
                  <a:cubicBezTo>
                    <a:pt x="15191" y="21019"/>
                    <a:pt x="17864" y="21329"/>
                    <a:pt x="20558" y="21557"/>
                  </a:cubicBezTo>
                  <a:cubicBezTo>
                    <a:pt x="20900" y="21600"/>
                    <a:pt x="21247" y="21498"/>
                    <a:pt x="21431" y="21299"/>
                  </a:cubicBezTo>
                  <a:cubicBezTo>
                    <a:pt x="21587" y="21132"/>
                    <a:pt x="21600" y="20921"/>
                    <a:pt x="21465" y="20746"/>
                  </a:cubicBezTo>
                  <a:lnTo>
                    <a:pt x="3512" y="0"/>
                  </a:lnTo>
                  <a:close/>
                </a:path>
              </a:pathLst>
            </a:custGeom>
            <a:solidFill>
              <a:schemeClr val="accent2"/>
            </a:solidFill>
            <a:ln w="12700" cap="flat">
              <a:noFill/>
              <a:miter lim="400000"/>
            </a:ln>
            <a:effectLst/>
          </p:spPr>
          <p:txBody>
            <a:bodyPr lIns="19050" tIns="19050" rIns="19050" bIns="19050" anchor="ctr"/>
            <a:lstStyle/>
            <a:p>
              <a:pPr algn="ctr">
                <a:defRPr sz="3200">
                  <a:solidFill>
                    <a:srgbClr val="000000"/>
                  </a:solidFill>
                  <a:latin typeface="Helvetica Light"/>
                  <a:ea typeface="Helvetica Light"/>
                  <a:cs typeface="Helvetica Light"/>
                  <a:sym typeface="Helvetica Light"/>
                </a:defRPr>
              </a:pPr>
              <a:endParaRPr sz="1600" kern="0" dirty="0">
                <a:solidFill>
                  <a:srgbClr val="000000"/>
                </a:solidFill>
                <a:latin typeface="+mj-lt"/>
                <a:ea typeface="Lato Light" panose="020F0502020204030203" pitchFamily="34" charset="0"/>
                <a:cs typeface="Lato Light" panose="020F0502020204030203" pitchFamily="34" charset="0"/>
                <a:sym typeface="Helvetica Light"/>
              </a:endParaRPr>
            </a:p>
          </p:txBody>
        </p:sp>
        <p:sp>
          <p:nvSpPr>
            <p:cNvPr id="65" name="Фигура">
              <a:extLst>
                <a:ext uri="{FF2B5EF4-FFF2-40B4-BE49-F238E27FC236}">
                  <a16:creationId xmlns:a16="http://schemas.microsoft.com/office/drawing/2014/main" xmlns="" id="{7E73F8D5-5393-4B89-A5F3-727B18226DD1}"/>
                </a:ext>
              </a:extLst>
            </p:cNvPr>
            <p:cNvSpPr/>
            <p:nvPr/>
          </p:nvSpPr>
          <p:spPr bwMode="auto">
            <a:xfrm>
              <a:off x="4094186" y="4273412"/>
              <a:ext cx="3652242" cy="1599604"/>
            </a:xfrm>
            <a:custGeom>
              <a:avLst/>
              <a:gdLst/>
              <a:ahLst/>
              <a:cxnLst>
                <a:cxn ang="0">
                  <a:pos x="wd2" y="hd2"/>
                </a:cxn>
                <a:cxn ang="5400000">
                  <a:pos x="wd2" y="hd2"/>
                </a:cxn>
                <a:cxn ang="10800000">
                  <a:pos x="wd2" y="hd2"/>
                </a:cxn>
                <a:cxn ang="16200000">
                  <a:pos x="wd2" y="hd2"/>
                </a:cxn>
              </a:cxnLst>
              <a:rect l="0" t="0" r="r" b="b"/>
              <a:pathLst>
                <a:path w="21575" h="21600" extrusionOk="0">
                  <a:moveTo>
                    <a:pt x="9295" y="0"/>
                  </a:moveTo>
                  <a:cubicBezTo>
                    <a:pt x="8433" y="1842"/>
                    <a:pt x="8085" y="4539"/>
                    <a:pt x="8321" y="7079"/>
                  </a:cubicBezTo>
                  <a:cubicBezTo>
                    <a:pt x="8604" y="10122"/>
                    <a:pt x="9656" y="12421"/>
                    <a:pt x="10863" y="14178"/>
                  </a:cubicBezTo>
                  <a:cubicBezTo>
                    <a:pt x="11665" y="15344"/>
                    <a:pt x="12514" y="16273"/>
                    <a:pt x="13379" y="17055"/>
                  </a:cubicBezTo>
                  <a:cubicBezTo>
                    <a:pt x="14701" y="18250"/>
                    <a:pt x="16077" y="19120"/>
                    <a:pt x="17471" y="19853"/>
                  </a:cubicBezTo>
                  <a:cubicBezTo>
                    <a:pt x="18819" y="20562"/>
                    <a:pt x="20187" y="21146"/>
                    <a:pt x="21575" y="21600"/>
                  </a:cubicBezTo>
                  <a:lnTo>
                    <a:pt x="372" y="21590"/>
                  </a:lnTo>
                  <a:cubicBezTo>
                    <a:pt x="215" y="21557"/>
                    <a:pt x="80" y="21320"/>
                    <a:pt x="25" y="20981"/>
                  </a:cubicBezTo>
                  <a:cubicBezTo>
                    <a:pt x="-25" y="20669"/>
                    <a:pt x="1" y="20319"/>
                    <a:pt x="94" y="20064"/>
                  </a:cubicBezTo>
                  <a:cubicBezTo>
                    <a:pt x="851" y="17813"/>
                    <a:pt x="1636" y="15613"/>
                    <a:pt x="2448" y="13466"/>
                  </a:cubicBezTo>
                  <a:cubicBezTo>
                    <a:pt x="3470" y="10769"/>
                    <a:pt x="4534" y="8159"/>
                    <a:pt x="5694" y="5782"/>
                  </a:cubicBezTo>
                  <a:cubicBezTo>
                    <a:pt x="6253" y="4638"/>
                    <a:pt x="6833" y="3549"/>
                    <a:pt x="7446" y="2560"/>
                  </a:cubicBezTo>
                  <a:cubicBezTo>
                    <a:pt x="8035" y="1611"/>
                    <a:pt x="8652" y="755"/>
                    <a:pt x="9295" y="0"/>
                  </a:cubicBezTo>
                  <a:close/>
                </a:path>
              </a:pathLst>
            </a:custGeom>
            <a:solidFill>
              <a:schemeClr val="accent3"/>
            </a:solidFill>
            <a:ln w="12700" cap="flat">
              <a:noFill/>
              <a:miter lim="400000"/>
            </a:ln>
            <a:effectLst/>
          </p:spPr>
          <p:txBody>
            <a:bodyPr lIns="19050" tIns="19050" rIns="19050" bIns="19050" anchor="ctr"/>
            <a:lstStyle/>
            <a:p>
              <a:pPr algn="ctr">
                <a:defRPr sz="3200">
                  <a:solidFill>
                    <a:srgbClr val="000000"/>
                  </a:solidFill>
                  <a:latin typeface="Helvetica Light"/>
                  <a:ea typeface="Helvetica Light"/>
                  <a:cs typeface="Helvetica Light"/>
                  <a:sym typeface="Helvetica Light"/>
                </a:defRPr>
              </a:pPr>
              <a:endParaRPr sz="1600" kern="0" dirty="0">
                <a:solidFill>
                  <a:srgbClr val="000000"/>
                </a:solidFill>
                <a:latin typeface="+mj-lt"/>
                <a:ea typeface="Lato Light" panose="020F0502020204030203" pitchFamily="34" charset="0"/>
                <a:cs typeface="Lato Light" panose="020F0502020204030203" pitchFamily="34" charset="0"/>
                <a:sym typeface="Helvetica Light"/>
              </a:endParaRPr>
            </a:p>
          </p:txBody>
        </p:sp>
        <p:sp>
          <p:nvSpPr>
            <p:cNvPr id="67" name="TextBox 25">
              <a:extLst>
                <a:ext uri="{FF2B5EF4-FFF2-40B4-BE49-F238E27FC236}">
                  <a16:creationId xmlns:a16="http://schemas.microsoft.com/office/drawing/2014/main" xmlns="" id="{53AF438A-65E6-462F-82C0-A02F5CC4B3AF}"/>
                </a:ext>
              </a:extLst>
            </p:cNvPr>
            <p:cNvSpPr txBox="1"/>
            <p:nvPr/>
          </p:nvSpPr>
          <p:spPr>
            <a:xfrm>
              <a:off x="6565744" y="4672725"/>
              <a:ext cx="915635" cy="584775"/>
            </a:xfrm>
            <a:prstGeom prst="rect">
              <a:avLst/>
            </a:prstGeom>
            <a:noFill/>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Liquidez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Plan</a:t>
              </a:r>
            </a:p>
          </p:txBody>
        </p:sp>
        <p:sp>
          <p:nvSpPr>
            <p:cNvPr id="69" name="TextBox 27">
              <a:extLst>
                <a:ext uri="{FF2B5EF4-FFF2-40B4-BE49-F238E27FC236}">
                  <a16:creationId xmlns:a16="http://schemas.microsoft.com/office/drawing/2014/main" xmlns="" id="{E97C74B9-3D40-4C05-89E6-6D60E108BA2F}"/>
                </a:ext>
              </a:extLst>
            </p:cNvPr>
            <p:cNvSpPr txBox="1"/>
            <p:nvPr/>
          </p:nvSpPr>
          <p:spPr>
            <a:xfrm>
              <a:off x="4437596" y="5093046"/>
              <a:ext cx="1318566" cy="584775"/>
            </a:xfrm>
            <a:prstGeom prst="rect">
              <a:avLst/>
            </a:prstGeom>
            <a:noFill/>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Balance de situación</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Plan</a:t>
              </a:r>
            </a:p>
          </p:txBody>
        </p:sp>
        <p:sp>
          <p:nvSpPr>
            <p:cNvPr id="71" name="TextBox 29">
              <a:extLst>
                <a:ext uri="{FF2B5EF4-FFF2-40B4-BE49-F238E27FC236}">
                  <a16:creationId xmlns:a16="http://schemas.microsoft.com/office/drawing/2014/main" xmlns="" id="{2591DEE7-16C9-41F4-9D5E-ADD3F688DD1B}"/>
                </a:ext>
              </a:extLst>
            </p:cNvPr>
            <p:cNvSpPr txBox="1"/>
            <p:nvPr/>
          </p:nvSpPr>
          <p:spPr>
            <a:xfrm>
              <a:off x="5397099" y="3063377"/>
              <a:ext cx="1020472" cy="830997"/>
            </a:xfrm>
            <a:prstGeom prst="rect">
              <a:avLst/>
            </a:prstGeom>
            <a:noFill/>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Beneficios /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Pérdidas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Estado de cuentas</a:t>
              </a:r>
            </a:p>
          </p:txBody>
        </p:sp>
      </p:grpSp>
      <p:sp>
        <p:nvSpPr>
          <p:cNvPr id="72" name="Subtitle 2">
            <a:extLst>
              <a:ext uri="{FF2B5EF4-FFF2-40B4-BE49-F238E27FC236}">
                <a16:creationId xmlns:a16="http://schemas.microsoft.com/office/drawing/2014/main" xmlns="" id="{A00ABA79-0538-415D-BDA8-FAD3B3DDFC56}"/>
              </a:ext>
            </a:extLst>
          </p:cNvPr>
          <p:cNvSpPr txBox="1">
            <a:spLocks/>
          </p:cNvSpPr>
          <p:nvPr/>
        </p:nvSpPr>
        <p:spPr>
          <a:xfrm>
            <a:off x="4135974" y="2487827"/>
            <a:ext cx="2874076" cy="13211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Ingresos</a:t>
            </a:r>
            <a:endParaRPr lang="en-US" sz="3200" dirty="0">
              <a:solidFill>
                <a:srgbClr val="245473"/>
              </a:solidFill>
            </a:endParaRPr>
          </a:p>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Gastos</a:t>
            </a:r>
          </a:p>
          <a:p>
            <a:pPr algn="l">
              <a:lnSpc>
                <a:spcPct val="100000"/>
              </a:lnSpc>
            </a:pPr>
            <a:r>
              <a:rPr lang="en-US" sz="18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Objetivo: determinación periódica de los beneficios</a:t>
            </a:r>
            <a:endParaRPr lang="en-US" b="1" dirty="0">
              <a:solidFill>
                <a:srgbClr val="F95C2C"/>
              </a:solidFill>
              <a:latin typeface="+mj-lt"/>
              <a:ea typeface="Lato Light" panose="020F0502020204030203" pitchFamily="34" charset="0"/>
              <a:cs typeface="Mukta ExtraLight" panose="020B0000000000000000" pitchFamily="34" charset="77"/>
            </a:endParaRPr>
          </a:p>
        </p:txBody>
      </p:sp>
      <p:sp>
        <p:nvSpPr>
          <p:cNvPr id="73" name="TextBox 31">
            <a:extLst>
              <a:ext uri="{FF2B5EF4-FFF2-40B4-BE49-F238E27FC236}">
                <a16:creationId xmlns:a16="http://schemas.microsoft.com/office/drawing/2014/main" xmlns="" id="{5083A07E-8B8D-4BBF-BB11-6FC6C46F34A9}"/>
              </a:ext>
            </a:extLst>
          </p:cNvPr>
          <p:cNvSpPr txBox="1"/>
          <p:nvPr/>
        </p:nvSpPr>
        <p:spPr>
          <a:xfrm>
            <a:off x="4056139" y="2038363"/>
            <a:ext cx="2487027" cy="400110"/>
          </a:xfrm>
          <a:prstGeom prst="rect">
            <a:avLst/>
          </a:prstGeom>
          <a:noFill/>
        </p:spPr>
        <p:txBody>
          <a:bodyPr wrap="none" lIns="91440" tIns="45720" rIns="91440" bIns="45720" rtlCol="0" anchor="t" anchorCtr="0">
            <a:spAutoFit/>
          </a:bodyPr>
          <a:lstStyle/>
          <a:p>
            <a:r>
              <a:rPr lang="en-US" sz="2000" b="1" dirty="0">
                <a:solidFill>
                  <a:schemeClr val="accent1"/>
                </a:solidFill>
                <a:latin typeface="+mj-lt"/>
                <a:ea typeface="League Spartan" charset="0"/>
                <a:cs typeface="Poppins" pitchFamily="2" charset="77"/>
              </a:rPr>
              <a:t>Cuenta de pérdidas y ganancias</a:t>
            </a:r>
          </a:p>
        </p:txBody>
      </p:sp>
      <p:sp>
        <p:nvSpPr>
          <p:cNvPr id="74" name="Subtitle 2">
            <a:extLst>
              <a:ext uri="{FF2B5EF4-FFF2-40B4-BE49-F238E27FC236}">
                <a16:creationId xmlns:a16="http://schemas.microsoft.com/office/drawing/2014/main" xmlns="" id="{9030C19A-A471-40C6-8190-09ED32A0EC9B}"/>
              </a:ext>
            </a:extLst>
          </p:cNvPr>
          <p:cNvSpPr txBox="1">
            <a:spLocks/>
          </p:cNvSpPr>
          <p:nvPr/>
        </p:nvSpPr>
        <p:spPr>
          <a:xfrm>
            <a:off x="9212527" y="2766811"/>
            <a:ext cx="2550437" cy="197362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1800" dirty="0">
                <a:solidFill>
                  <a:srgbClr val="245473"/>
                </a:solidFill>
                <a:latin typeface="+mj-lt"/>
                <a:ea typeface="Lato Light" panose="020F0502020204030203" pitchFamily="34" charset="0"/>
                <a:cs typeface="Mukta ExtraLight" panose="020B0000000000000000" pitchFamily="34" charset="77"/>
              </a:rPr>
              <a:t>Cobro en efectivo</a:t>
            </a:r>
            <a:endParaRPr lang="en-US" sz="2800" dirty="0">
              <a:solidFill>
                <a:srgbClr val="245473"/>
              </a:solidFill>
            </a:endParaRPr>
          </a:p>
          <a:p>
            <a:pPr marL="171450" indent="-171450" algn="l">
              <a:lnSpc>
                <a:spcPct val="100000"/>
              </a:lnSpc>
              <a:buFont typeface="Arial" panose="020B0604020202020204" pitchFamily="34" charset="0"/>
              <a:buChar char="•"/>
            </a:pPr>
            <a:r>
              <a:rPr lang="en-US" sz="1800" dirty="0">
                <a:solidFill>
                  <a:srgbClr val="245473"/>
                </a:solidFill>
                <a:latin typeface="+mj-lt"/>
                <a:ea typeface="Lato Light" panose="020F0502020204030203" pitchFamily="34" charset="0"/>
                <a:cs typeface="Mukta ExtraLight" panose="020B0000000000000000" pitchFamily="34" charset="77"/>
              </a:rPr>
              <a:t>Retirada de dinero</a:t>
            </a:r>
          </a:p>
          <a:p>
            <a:pPr marL="171450" indent="-171450" algn="l">
              <a:lnSpc>
                <a:spcPct val="100000"/>
              </a:lnSpc>
              <a:buFont typeface="Wingdings" panose="05000000000000000000" pitchFamily="2" charset="2"/>
              <a:buChar char="à"/>
            </a:pPr>
            <a:r>
              <a:rPr lang="en-US" sz="16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Objetivo: Presentación de todas las operaciones de pago que afectan a la liquidez</a:t>
            </a:r>
            <a:endParaRPr lang="en-US" sz="1600" b="1" dirty="0">
              <a:solidFill>
                <a:srgbClr val="F95C2C"/>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Wingdings" panose="05000000000000000000" pitchFamily="2" charset="2"/>
              <a:buChar char="à"/>
            </a:pPr>
            <a:r>
              <a:rPr lang="en-US" sz="16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Objetivo: Detección de futuros cuellos de botella de liquidez</a:t>
            </a:r>
            <a:endParaRPr lang="en-US" sz="1600" b="1" dirty="0">
              <a:solidFill>
                <a:srgbClr val="F95C2C"/>
              </a:solidFill>
              <a:latin typeface="+mj-lt"/>
              <a:ea typeface="Lato Light" panose="020F0502020204030203" pitchFamily="34" charset="0"/>
              <a:cs typeface="Mukta ExtraLight" panose="020B0000000000000000" pitchFamily="34" charset="77"/>
            </a:endParaRPr>
          </a:p>
        </p:txBody>
      </p:sp>
      <p:sp>
        <p:nvSpPr>
          <p:cNvPr id="75" name="TextBox 33">
            <a:extLst>
              <a:ext uri="{FF2B5EF4-FFF2-40B4-BE49-F238E27FC236}">
                <a16:creationId xmlns:a16="http://schemas.microsoft.com/office/drawing/2014/main" xmlns="" id="{2E5CFBC4-6391-4373-99CC-B63A99322B7C}"/>
              </a:ext>
            </a:extLst>
          </p:cNvPr>
          <p:cNvSpPr txBox="1"/>
          <p:nvPr/>
        </p:nvSpPr>
        <p:spPr>
          <a:xfrm>
            <a:off x="9158275" y="2369998"/>
            <a:ext cx="1539204" cy="400110"/>
          </a:xfrm>
          <a:prstGeom prst="rect">
            <a:avLst/>
          </a:prstGeom>
          <a:noFill/>
        </p:spPr>
        <p:txBody>
          <a:bodyPr wrap="none" rtlCol="0" anchor="t" anchorCtr="0">
            <a:spAutoFit/>
          </a:bodyPr>
          <a:lstStyle/>
          <a:p>
            <a:r>
              <a:rPr lang="en-US" sz="2000" b="1" dirty="0">
                <a:solidFill>
                  <a:schemeClr val="accent2"/>
                </a:solidFill>
                <a:latin typeface="+mj-lt"/>
                <a:ea typeface="League Spartan" charset="0"/>
                <a:cs typeface="Poppins" pitchFamily="2" charset="77"/>
              </a:rPr>
              <a:t>Plan de liquidez</a:t>
            </a:r>
          </a:p>
        </p:txBody>
      </p:sp>
      <p:sp>
        <p:nvSpPr>
          <p:cNvPr id="76" name="Subtitle 2">
            <a:extLst>
              <a:ext uri="{FF2B5EF4-FFF2-40B4-BE49-F238E27FC236}">
                <a16:creationId xmlns:a16="http://schemas.microsoft.com/office/drawing/2014/main" xmlns="" id="{1A99DFFC-7E0D-4A06-B8C7-C32F9E0DCBD0}"/>
              </a:ext>
            </a:extLst>
          </p:cNvPr>
          <p:cNvSpPr txBox="1">
            <a:spLocks/>
          </p:cNvSpPr>
          <p:nvPr/>
        </p:nvSpPr>
        <p:spPr>
          <a:xfrm>
            <a:off x="3921410" y="4971608"/>
            <a:ext cx="2740143" cy="184435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Activos</a:t>
            </a:r>
            <a:endParaRPr lang="en-US" sz="2000" dirty="0">
              <a:solidFill>
                <a:srgbClr val="245473"/>
              </a:solidFill>
            </a:endParaRPr>
          </a:p>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Deudas</a:t>
            </a:r>
          </a:p>
          <a:p>
            <a:pPr algn="l">
              <a:lnSpc>
                <a:spcPct val="100000"/>
              </a:lnSpc>
            </a:pPr>
            <a:r>
              <a:rPr lang="en-US" sz="17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Objetivo: </a:t>
            </a:r>
            <a:r>
              <a:rPr lang="en-US" sz="1700" b="1" dirty="0">
                <a:solidFill>
                  <a:srgbClr val="F95C2C"/>
                </a:solidFill>
                <a:latin typeface="+mj-lt"/>
                <a:ea typeface="Lato Light" panose="020F0502020204030203" pitchFamily="34" charset="0"/>
                <a:cs typeface="Mukta ExtraLight" panose="020B0000000000000000" pitchFamily="34" charset="77"/>
              </a:rPr>
              <a:t>Presentación </a:t>
            </a:r>
            <a:br>
              <a:rPr lang="en-US" sz="1700" b="1" dirty="0">
                <a:solidFill>
                  <a:srgbClr val="F95C2C"/>
                </a:solidFill>
                <a:latin typeface="+mj-lt"/>
                <a:ea typeface="Lato Light" panose="020F0502020204030203" pitchFamily="34" charset="0"/>
                <a:cs typeface="Mukta ExtraLight" panose="020B0000000000000000" pitchFamily="34" charset="77"/>
              </a:rPr>
            </a:br>
            <a:r>
              <a:rPr lang="en-US" sz="1700" b="1" dirty="0">
                <a:solidFill>
                  <a:srgbClr val="F95C2C"/>
                </a:solidFill>
                <a:latin typeface="+mj-lt"/>
                <a:ea typeface="Lato Light" panose="020F0502020204030203" pitchFamily="34" charset="0"/>
                <a:cs typeface="Mukta ExtraLight" panose="020B0000000000000000" pitchFamily="34" charset="77"/>
              </a:rPr>
              <a:t>de la fuente y </a:t>
            </a:r>
            <a:br>
              <a:rPr lang="en-US" sz="1700" b="1" dirty="0">
                <a:solidFill>
                  <a:srgbClr val="F95C2C"/>
                </a:solidFill>
                <a:latin typeface="+mj-lt"/>
                <a:ea typeface="Lato Light" panose="020F0502020204030203" pitchFamily="34" charset="0"/>
                <a:cs typeface="Mukta ExtraLight" panose="020B0000000000000000" pitchFamily="34" charset="77"/>
              </a:rPr>
            </a:br>
            <a:r>
              <a:rPr lang="en-US" sz="1700" b="1" dirty="0">
                <a:solidFill>
                  <a:srgbClr val="F95C2C"/>
                </a:solidFill>
                <a:latin typeface="+mj-lt"/>
                <a:ea typeface="Lato Light" panose="020F0502020204030203" pitchFamily="34" charset="0"/>
                <a:cs typeface="Mukta ExtraLight" panose="020B0000000000000000" pitchFamily="34" charset="77"/>
              </a:rPr>
              <a:t>aplicación de los fondos</a:t>
            </a:r>
          </a:p>
          <a:p>
            <a:pPr marL="171450" indent="-171450" algn="l">
              <a:lnSpc>
                <a:spcPct val="100000"/>
              </a:lnSpc>
              <a:buFont typeface="Wingdings" panose="05000000000000000000" pitchFamily="2" charset="2"/>
              <a:buChar char="à"/>
            </a:pPr>
            <a:endParaRPr lang="en-US" sz="1600" dirty="0">
              <a:solidFill>
                <a:schemeClr val="tx1"/>
              </a:solidFill>
              <a:latin typeface="+mj-lt"/>
              <a:ea typeface="Lato Light" panose="020F0502020204030203" pitchFamily="34" charset="0"/>
              <a:cs typeface="Mukta ExtraLight" panose="020B0000000000000000" pitchFamily="34" charset="77"/>
            </a:endParaRPr>
          </a:p>
        </p:txBody>
      </p:sp>
      <p:sp>
        <p:nvSpPr>
          <p:cNvPr id="77" name="TextBox 35">
            <a:extLst>
              <a:ext uri="{FF2B5EF4-FFF2-40B4-BE49-F238E27FC236}">
                <a16:creationId xmlns:a16="http://schemas.microsoft.com/office/drawing/2014/main" xmlns="" id="{F4137F18-C25E-4562-8961-677540C1F9AA}"/>
              </a:ext>
            </a:extLst>
          </p:cNvPr>
          <p:cNvSpPr txBox="1"/>
          <p:nvPr/>
        </p:nvSpPr>
        <p:spPr>
          <a:xfrm>
            <a:off x="3611501" y="4565002"/>
            <a:ext cx="2541401" cy="400110"/>
          </a:xfrm>
          <a:prstGeom prst="rect">
            <a:avLst/>
          </a:prstGeom>
          <a:noFill/>
        </p:spPr>
        <p:txBody>
          <a:bodyPr wrap="none" lIns="91440" tIns="45720" rIns="91440" bIns="45720" rtlCol="0" anchor="t" anchorCtr="0">
            <a:spAutoFit/>
          </a:bodyPr>
          <a:lstStyle/>
          <a:p>
            <a:r>
              <a:rPr lang="en-US" sz="2000" b="1" dirty="0">
                <a:solidFill>
                  <a:schemeClr val="accent3"/>
                </a:solidFill>
                <a:latin typeface="+mj-lt"/>
                <a:ea typeface="League Spartan" charset="0"/>
                <a:cs typeface="Poppins" pitchFamily="2" charset="77"/>
              </a:rPr>
              <a:t>Planificación del balance</a:t>
            </a:r>
          </a:p>
        </p:txBody>
      </p:sp>
    </p:spTree>
    <p:extLst>
      <p:ext uri="{BB962C8B-B14F-4D97-AF65-F5344CB8AC3E}">
        <p14:creationId xmlns:p14="http://schemas.microsoft.com/office/powerpoint/2010/main" val="19504638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2216" y="579871"/>
            <a:ext cx="10082213" cy="697353"/>
          </a:xfrm>
        </p:spPr>
        <p:txBody>
          <a:bodyPr>
            <a:noAutofit/>
          </a:bodyPr>
          <a:lstStyle/>
          <a:p>
            <a:r>
              <a:rPr lang="en-GB" sz="2800"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1486" y="1888338"/>
            <a:ext cx="3921425" cy="477596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100" dirty="0">
                <a:solidFill>
                  <a:srgbClr val="245473"/>
                </a:solidFill>
                <a:latin typeface="+mj-lt"/>
                <a:ea typeface="Open Sans Light" panose="020B0306030504020204" pitchFamily="34" charset="0"/>
                <a:cs typeface="Open Sans Light" panose="020B0306030504020204" pitchFamily="34" charset="0"/>
              </a:rPr>
              <a:t>Además, la planificación empresarial es un componente indispensable de la comunicación externa con los prestamistas y el mercado de capitales. </a:t>
            </a:r>
            <a:endParaRPr lang="en-US" sz="2100" dirty="0">
              <a:solidFill>
                <a:srgbClr val="245473"/>
              </a:solidFill>
            </a:endParaRPr>
          </a:p>
          <a:p>
            <a:pPr algn="l">
              <a:lnSpc>
                <a:spcPct val="100000"/>
              </a:lnSpc>
              <a:spcBef>
                <a:spcPts val="600"/>
              </a:spcBef>
            </a:pPr>
            <a:r>
              <a:rPr lang="en-US" sz="2100" dirty="0">
                <a:solidFill>
                  <a:srgbClr val="245473"/>
                </a:solidFill>
                <a:latin typeface="+mj-lt"/>
                <a:ea typeface="Open Sans Light" panose="020B0306030504020204" pitchFamily="34" charset="0"/>
                <a:cs typeface="Open Sans Light" panose="020B0306030504020204" pitchFamily="34" charset="0"/>
              </a:rPr>
              <a:t>Por ello, la planificación financiera integrada (PFI) es importante para todas las empresas medianas. </a:t>
            </a:r>
          </a:p>
          <a:p>
            <a:pPr algn="l">
              <a:lnSpc>
                <a:spcPct val="100000"/>
              </a:lnSpc>
              <a:spcBef>
                <a:spcPts val="600"/>
              </a:spcBef>
            </a:pPr>
            <a:r>
              <a:rPr lang="en-US" sz="2100" dirty="0">
                <a:solidFill>
                  <a:srgbClr val="245473"/>
                </a:solidFill>
                <a:latin typeface="+mj-lt"/>
                <a:ea typeface="Open Sans Light" panose="020B0306030504020204" pitchFamily="34" charset="0"/>
                <a:cs typeface="Open Sans Light" panose="020B0306030504020204" pitchFamily="34" charset="0"/>
              </a:rPr>
              <a:t>Este instrumento es especialmente adecuado para las empresas cuya actividad se caracteriza por una importante variación del capital circulante (la diferencia entre el activo corriente y el pasivo corriente) a lo largo del año. </a:t>
            </a:r>
          </a:p>
        </p:txBody>
      </p:sp>
      <p:grpSp>
        <p:nvGrpSpPr>
          <p:cNvPr id="5" name="Gruppieren 4">
            <a:extLst>
              <a:ext uri="{FF2B5EF4-FFF2-40B4-BE49-F238E27FC236}">
                <a16:creationId xmlns:a16="http://schemas.microsoft.com/office/drawing/2014/main" xmlns="" id="{3EF6CBB5-E02B-4220-9801-88EFBB13F45B}"/>
              </a:ext>
            </a:extLst>
          </p:cNvPr>
          <p:cNvGrpSpPr>
            <a:grpSpLocks noChangeAspect="1"/>
          </p:cNvGrpSpPr>
          <p:nvPr/>
        </p:nvGrpSpPr>
        <p:grpSpPr>
          <a:xfrm rot="3608048">
            <a:off x="5130973" y="2653903"/>
            <a:ext cx="4354595" cy="4007246"/>
            <a:chOff x="5742151" y="2175839"/>
            <a:chExt cx="3309188" cy="3045233"/>
          </a:xfrm>
        </p:grpSpPr>
        <p:grpSp>
          <p:nvGrpSpPr>
            <p:cNvPr id="44" name="Group 2">
              <a:extLst>
                <a:ext uri="{FF2B5EF4-FFF2-40B4-BE49-F238E27FC236}">
                  <a16:creationId xmlns:a16="http://schemas.microsoft.com/office/drawing/2014/main" xmlns="" id="{ED31ACB1-D5B6-4AC6-AF25-5B230C73070E}"/>
                </a:ext>
              </a:extLst>
            </p:cNvPr>
            <p:cNvGrpSpPr/>
            <p:nvPr/>
          </p:nvGrpSpPr>
          <p:grpSpPr>
            <a:xfrm>
              <a:off x="7240356" y="4180178"/>
              <a:ext cx="329323" cy="329323"/>
              <a:chOff x="15239643" y="9902602"/>
              <a:chExt cx="877966" cy="877966"/>
            </a:xfrm>
          </p:grpSpPr>
          <p:sp>
            <p:nvSpPr>
              <p:cNvPr id="51" name="Freeform: Shape 4939">
                <a:extLst>
                  <a:ext uri="{FF2B5EF4-FFF2-40B4-BE49-F238E27FC236}">
                    <a16:creationId xmlns:a16="http://schemas.microsoft.com/office/drawing/2014/main" xmlns="" id="{E36CF0C2-7511-4BA2-96B8-FD0D0A000241}"/>
                  </a:ext>
                </a:extLst>
              </p:cNvPr>
              <p:cNvSpPr/>
              <p:nvPr/>
            </p:nvSpPr>
            <p:spPr>
              <a:xfrm rot="4800">
                <a:off x="15239643" y="9902602"/>
                <a:ext cx="877966" cy="877966"/>
              </a:xfrm>
              <a:custGeom>
                <a:avLst/>
                <a:gdLst/>
                <a:ahLst/>
                <a:cxnLst>
                  <a:cxn ang="3cd4">
                    <a:pos x="hc" y="t"/>
                  </a:cxn>
                  <a:cxn ang="cd2">
                    <a:pos x="l" y="vc"/>
                  </a:cxn>
                  <a:cxn ang="cd4">
                    <a:pos x="hc" y="b"/>
                  </a:cxn>
                  <a:cxn ang="0">
                    <a:pos x="r" y="vc"/>
                  </a:cxn>
                </a:cxnLst>
                <a:rect l="l" t="t" r="r" b="b"/>
                <a:pathLst>
                  <a:path w="154" h="154">
                    <a:moveTo>
                      <a:pt x="133" y="110"/>
                    </a:moveTo>
                    <a:cubicBezTo>
                      <a:pt x="115" y="142"/>
                      <a:pt x="75" y="152"/>
                      <a:pt x="44" y="134"/>
                    </a:cubicBezTo>
                    <a:cubicBezTo>
                      <a:pt x="13" y="116"/>
                      <a:pt x="1" y="76"/>
                      <a:pt x="20" y="44"/>
                    </a:cubicBezTo>
                    <a:cubicBezTo>
                      <a:pt x="38" y="13"/>
                      <a:pt x="78" y="3"/>
                      <a:pt x="109" y="20"/>
                    </a:cubicBezTo>
                    <a:cubicBezTo>
                      <a:pt x="141" y="38"/>
                      <a:pt x="151" y="79"/>
                      <a:pt x="133" y="110"/>
                    </a:cubicBezTo>
                    <a:close/>
                    <a:moveTo>
                      <a:pt x="10" y="39"/>
                    </a:moveTo>
                    <a:cubicBezTo>
                      <a:pt x="-11" y="76"/>
                      <a:pt x="1" y="123"/>
                      <a:pt x="38" y="144"/>
                    </a:cubicBezTo>
                    <a:cubicBezTo>
                      <a:pt x="75" y="165"/>
                      <a:pt x="122" y="153"/>
                      <a:pt x="143" y="116"/>
                    </a:cubicBezTo>
                    <a:cubicBezTo>
                      <a:pt x="164" y="79"/>
                      <a:pt x="152" y="32"/>
                      <a:pt x="115" y="11"/>
                    </a:cubicBezTo>
                    <a:cubicBezTo>
                      <a:pt x="78" y="-11"/>
                      <a:pt x="31" y="2"/>
                      <a:pt x="10" y="39"/>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52" name="Freeform: Shape 4940">
                <a:extLst>
                  <a:ext uri="{FF2B5EF4-FFF2-40B4-BE49-F238E27FC236}">
                    <a16:creationId xmlns:a16="http://schemas.microsoft.com/office/drawing/2014/main" xmlns="" id="{C5898F41-5CD4-4301-A4AB-B3B2D67B172C}"/>
                  </a:ext>
                </a:extLst>
              </p:cNvPr>
              <p:cNvSpPr/>
              <p:nvPr/>
            </p:nvSpPr>
            <p:spPr>
              <a:xfrm rot="4800">
                <a:off x="15369744" y="10155519"/>
                <a:ext cx="74598" cy="57383"/>
              </a:xfrm>
              <a:custGeom>
                <a:avLst/>
                <a:gdLst/>
                <a:ahLst/>
                <a:cxnLst>
                  <a:cxn ang="3cd4">
                    <a:pos x="hc" y="t"/>
                  </a:cxn>
                  <a:cxn ang="cd2">
                    <a:pos x="l" y="vc"/>
                  </a:cxn>
                  <a:cxn ang="cd4">
                    <a:pos x="hc" y="b"/>
                  </a:cxn>
                  <a:cxn ang="0">
                    <a:pos x="r" y="vc"/>
                  </a:cxn>
                </a:cxnLst>
                <a:rect l="l" t="t" r="r" b="b"/>
                <a:pathLst>
                  <a:path w="14" h="11">
                    <a:moveTo>
                      <a:pt x="14" y="10"/>
                    </a:moveTo>
                    <a:cubicBezTo>
                      <a:pt x="15" y="8"/>
                      <a:pt x="14" y="6"/>
                      <a:pt x="13" y="5"/>
                    </a:cubicBezTo>
                    <a:lnTo>
                      <a:pt x="6" y="1"/>
                    </a:lnTo>
                    <a:cubicBezTo>
                      <a:pt x="4" y="0"/>
                      <a:pt x="2" y="0"/>
                      <a:pt x="1" y="3"/>
                    </a:cubicBezTo>
                    <a:cubicBezTo>
                      <a:pt x="0" y="4"/>
                      <a:pt x="0" y="6"/>
                      <a:pt x="2" y="8"/>
                    </a:cubicBezTo>
                    <a:lnTo>
                      <a:pt x="9" y="11"/>
                    </a:lnTo>
                    <a:cubicBezTo>
                      <a:pt x="11" y="12"/>
                      <a:pt x="13" y="12"/>
                      <a:pt x="14" y="10"/>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54" name="Freeform: Shape 4941">
                <a:extLst>
                  <a:ext uri="{FF2B5EF4-FFF2-40B4-BE49-F238E27FC236}">
                    <a16:creationId xmlns:a16="http://schemas.microsoft.com/office/drawing/2014/main" xmlns="" id="{4D73369B-C4A2-4DE0-9F64-6296E156C5CD}"/>
                  </a:ext>
                </a:extLst>
              </p:cNvPr>
              <p:cNvSpPr/>
              <p:nvPr/>
            </p:nvSpPr>
            <p:spPr>
              <a:xfrm rot="4800">
                <a:off x="15904446" y="10467175"/>
                <a:ext cx="74598" cy="57383"/>
              </a:xfrm>
              <a:custGeom>
                <a:avLst/>
                <a:gdLst/>
                <a:ahLst/>
                <a:cxnLst>
                  <a:cxn ang="3cd4">
                    <a:pos x="hc" y="t"/>
                  </a:cxn>
                  <a:cxn ang="cd2">
                    <a:pos x="l" y="vc"/>
                  </a:cxn>
                  <a:cxn ang="cd4">
                    <a:pos x="hc" y="b"/>
                  </a:cxn>
                  <a:cxn ang="0">
                    <a:pos x="r" y="vc"/>
                  </a:cxn>
                </a:cxnLst>
                <a:rect l="l" t="t" r="r" b="b"/>
                <a:pathLst>
                  <a:path w="14" h="11">
                    <a:moveTo>
                      <a:pt x="0" y="1"/>
                    </a:moveTo>
                    <a:cubicBezTo>
                      <a:pt x="-1" y="3"/>
                      <a:pt x="0" y="6"/>
                      <a:pt x="2" y="7"/>
                    </a:cubicBezTo>
                    <a:lnTo>
                      <a:pt x="8" y="10"/>
                    </a:lnTo>
                    <a:cubicBezTo>
                      <a:pt x="10" y="11"/>
                      <a:pt x="12" y="11"/>
                      <a:pt x="13" y="9"/>
                    </a:cubicBezTo>
                    <a:cubicBezTo>
                      <a:pt x="14" y="7"/>
                      <a:pt x="14" y="5"/>
                      <a:pt x="12" y="4"/>
                    </a:cubicBezTo>
                    <a:lnTo>
                      <a:pt x="5" y="0"/>
                    </a:lnTo>
                    <a:cubicBezTo>
                      <a:pt x="4" y="-1"/>
                      <a:pt x="1" y="0"/>
                      <a:pt x="0" y="1"/>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55" name="Freeform: Shape 4942">
                <a:extLst>
                  <a:ext uri="{FF2B5EF4-FFF2-40B4-BE49-F238E27FC236}">
                    <a16:creationId xmlns:a16="http://schemas.microsoft.com/office/drawing/2014/main" xmlns="" id="{950D6934-ACDE-4EB5-B6E0-1E526DA060C7}"/>
                  </a:ext>
                </a:extLst>
              </p:cNvPr>
              <p:cNvSpPr/>
              <p:nvPr/>
            </p:nvSpPr>
            <p:spPr>
              <a:xfrm rot="4800">
                <a:off x="15491189" y="10570018"/>
                <a:ext cx="63122" cy="74598"/>
              </a:xfrm>
              <a:custGeom>
                <a:avLst/>
                <a:gdLst/>
                <a:ahLst/>
                <a:cxnLst>
                  <a:cxn ang="3cd4">
                    <a:pos x="hc" y="t"/>
                  </a:cxn>
                  <a:cxn ang="cd2">
                    <a:pos x="l" y="vc"/>
                  </a:cxn>
                  <a:cxn ang="cd4">
                    <a:pos x="hc" y="b"/>
                  </a:cxn>
                  <a:cxn ang="0">
                    <a:pos x="r" y="vc"/>
                  </a:cxn>
                </a:cxnLst>
                <a:rect l="l" t="t" r="r" b="b"/>
                <a:pathLst>
                  <a:path w="12" h="14">
                    <a:moveTo>
                      <a:pt x="4" y="2"/>
                    </a:moveTo>
                    <a:lnTo>
                      <a:pt x="0" y="8"/>
                    </a:lnTo>
                    <a:cubicBezTo>
                      <a:pt x="-1" y="10"/>
                      <a:pt x="0" y="12"/>
                      <a:pt x="2" y="13"/>
                    </a:cubicBezTo>
                    <a:cubicBezTo>
                      <a:pt x="3" y="14"/>
                      <a:pt x="6" y="14"/>
                      <a:pt x="7" y="12"/>
                    </a:cubicBezTo>
                    <a:lnTo>
                      <a:pt x="11" y="5"/>
                    </a:lnTo>
                    <a:cubicBezTo>
                      <a:pt x="12" y="4"/>
                      <a:pt x="11" y="1"/>
                      <a:pt x="9" y="0"/>
                    </a:cubicBezTo>
                    <a:cubicBezTo>
                      <a:pt x="7" y="-1"/>
                      <a:pt x="5" y="0"/>
                      <a:pt x="4" y="2"/>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57" name="Freeform: Shape 4943">
                <a:extLst>
                  <a:ext uri="{FF2B5EF4-FFF2-40B4-BE49-F238E27FC236}">
                    <a16:creationId xmlns:a16="http://schemas.microsoft.com/office/drawing/2014/main" xmlns="" id="{F119F8A4-A3FD-4444-AED7-FB85F265B6DC}"/>
                  </a:ext>
                </a:extLst>
              </p:cNvPr>
              <p:cNvSpPr/>
              <p:nvPr/>
            </p:nvSpPr>
            <p:spPr>
              <a:xfrm rot="4800">
                <a:off x="15801650" y="10035620"/>
                <a:ext cx="57383" cy="74598"/>
              </a:xfrm>
              <a:custGeom>
                <a:avLst/>
                <a:gdLst/>
                <a:ahLst/>
                <a:cxnLst>
                  <a:cxn ang="3cd4">
                    <a:pos x="hc" y="t"/>
                  </a:cxn>
                  <a:cxn ang="cd2">
                    <a:pos x="l" y="vc"/>
                  </a:cxn>
                  <a:cxn ang="cd4">
                    <a:pos x="hc" y="b"/>
                  </a:cxn>
                  <a:cxn ang="0">
                    <a:pos x="r" y="vc"/>
                  </a:cxn>
                </a:cxnLst>
                <a:rect l="l" t="t" r="r" b="b"/>
                <a:pathLst>
                  <a:path w="11" h="14">
                    <a:moveTo>
                      <a:pt x="4" y="3"/>
                    </a:moveTo>
                    <a:lnTo>
                      <a:pt x="0" y="9"/>
                    </a:lnTo>
                    <a:cubicBezTo>
                      <a:pt x="-1" y="11"/>
                      <a:pt x="0" y="13"/>
                      <a:pt x="1" y="14"/>
                    </a:cubicBezTo>
                    <a:cubicBezTo>
                      <a:pt x="3" y="15"/>
                      <a:pt x="5" y="15"/>
                      <a:pt x="7" y="12"/>
                    </a:cubicBezTo>
                    <a:lnTo>
                      <a:pt x="10" y="6"/>
                    </a:lnTo>
                    <a:cubicBezTo>
                      <a:pt x="11" y="4"/>
                      <a:pt x="11" y="2"/>
                      <a:pt x="9" y="1"/>
                    </a:cubicBezTo>
                    <a:cubicBezTo>
                      <a:pt x="7" y="0"/>
                      <a:pt x="5" y="0"/>
                      <a:pt x="4" y="3"/>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58" name="Freeform: Shape 4944">
                <a:extLst>
                  <a:ext uri="{FF2B5EF4-FFF2-40B4-BE49-F238E27FC236}">
                    <a16:creationId xmlns:a16="http://schemas.microsoft.com/office/drawing/2014/main" xmlns="" id="{F1B5AF38-65F1-49A1-832D-8FA2694DEB7C}"/>
                  </a:ext>
                </a:extLst>
              </p:cNvPr>
              <p:cNvSpPr/>
              <p:nvPr/>
            </p:nvSpPr>
            <p:spPr>
              <a:xfrm rot="4800">
                <a:off x="15497151" y="10231472"/>
                <a:ext cx="246749" cy="401684"/>
              </a:xfrm>
              <a:custGeom>
                <a:avLst/>
                <a:gdLst/>
                <a:ahLst/>
                <a:cxnLst>
                  <a:cxn ang="3cd4">
                    <a:pos x="hc" y="t"/>
                  </a:cxn>
                  <a:cxn ang="cd2">
                    <a:pos x="l" y="vc"/>
                  </a:cxn>
                  <a:cxn ang="cd4">
                    <a:pos x="hc" y="b"/>
                  </a:cxn>
                  <a:cxn ang="0">
                    <a:pos x="r" y="vc"/>
                  </a:cxn>
                </a:cxnLst>
                <a:rect l="l" t="t" r="r" b="b"/>
                <a:pathLst>
                  <a:path w="44" h="71">
                    <a:moveTo>
                      <a:pt x="26" y="12"/>
                    </a:moveTo>
                    <a:lnTo>
                      <a:pt x="5" y="0"/>
                    </a:lnTo>
                    <a:cubicBezTo>
                      <a:pt x="4" y="-1"/>
                      <a:pt x="1" y="0"/>
                      <a:pt x="0" y="1"/>
                    </a:cubicBezTo>
                    <a:cubicBezTo>
                      <a:pt x="-1" y="3"/>
                      <a:pt x="0" y="5"/>
                      <a:pt x="2" y="6"/>
                    </a:cubicBezTo>
                    <a:lnTo>
                      <a:pt x="23" y="18"/>
                    </a:lnTo>
                    <a:cubicBezTo>
                      <a:pt x="22" y="23"/>
                      <a:pt x="26" y="27"/>
                      <a:pt x="30" y="28"/>
                    </a:cubicBezTo>
                    <a:lnTo>
                      <a:pt x="36" y="68"/>
                    </a:lnTo>
                    <a:cubicBezTo>
                      <a:pt x="36" y="70"/>
                      <a:pt x="38" y="71"/>
                      <a:pt x="40" y="71"/>
                    </a:cubicBezTo>
                    <a:cubicBezTo>
                      <a:pt x="42" y="71"/>
                      <a:pt x="44" y="69"/>
                      <a:pt x="43" y="67"/>
                    </a:cubicBezTo>
                    <a:lnTo>
                      <a:pt x="38" y="25"/>
                    </a:lnTo>
                    <a:cubicBezTo>
                      <a:pt x="44" y="17"/>
                      <a:pt x="35" y="6"/>
                      <a:pt x="26" y="12"/>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59" name="Freeform: Shape 4945">
                <a:extLst>
                  <a:ext uri="{FF2B5EF4-FFF2-40B4-BE49-F238E27FC236}">
                    <a16:creationId xmlns:a16="http://schemas.microsoft.com/office/drawing/2014/main" xmlns="" id="{70094399-50F6-4465-B752-D9F660F55977}"/>
                  </a:ext>
                </a:extLst>
              </p:cNvPr>
              <p:cNvSpPr/>
              <p:nvPr/>
            </p:nvSpPr>
            <p:spPr>
              <a:xfrm rot="4800">
                <a:off x="15239643" y="9902602"/>
                <a:ext cx="877966" cy="877966"/>
              </a:xfrm>
              <a:custGeom>
                <a:avLst/>
                <a:gdLst/>
                <a:ahLst/>
                <a:cxnLst>
                  <a:cxn ang="3cd4">
                    <a:pos x="hc" y="t"/>
                  </a:cxn>
                  <a:cxn ang="cd2">
                    <a:pos x="l" y="vc"/>
                  </a:cxn>
                  <a:cxn ang="cd4">
                    <a:pos x="hc" y="b"/>
                  </a:cxn>
                  <a:cxn ang="0">
                    <a:pos x="r" y="vc"/>
                  </a:cxn>
                </a:cxnLst>
                <a:rect l="l" t="t" r="r" b="b"/>
                <a:pathLst>
                  <a:path w="154" h="154">
                    <a:moveTo>
                      <a:pt x="133" y="110"/>
                    </a:moveTo>
                    <a:cubicBezTo>
                      <a:pt x="115" y="142"/>
                      <a:pt x="75" y="152"/>
                      <a:pt x="44" y="134"/>
                    </a:cubicBezTo>
                    <a:cubicBezTo>
                      <a:pt x="13" y="116"/>
                      <a:pt x="1" y="76"/>
                      <a:pt x="20" y="44"/>
                    </a:cubicBezTo>
                    <a:cubicBezTo>
                      <a:pt x="38" y="13"/>
                      <a:pt x="78" y="3"/>
                      <a:pt x="109" y="20"/>
                    </a:cubicBezTo>
                    <a:cubicBezTo>
                      <a:pt x="141" y="38"/>
                      <a:pt x="151" y="79"/>
                      <a:pt x="133" y="110"/>
                    </a:cubicBezTo>
                    <a:close/>
                    <a:moveTo>
                      <a:pt x="10" y="39"/>
                    </a:moveTo>
                    <a:cubicBezTo>
                      <a:pt x="-11" y="76"/>
                      <a:pt x="1" y="123"/>
                      <a:pt x="38" y="144"/>
                    </a:cubicBezTo>
                    <a:cubicBezTo>
                      <a:pt x="75" y="165"/>
                      <a:pt x="122" y="153"/>
                      <a:pt x="143" y="116"/>
                    </a:cubicBezTo>
                    <a:cubicBezTo>
                      <a:pt x="164" y="79"/>
                      <a:pt x="152" y="32"/>
                      <a:pt x="115" y="11"/>
                    </a:cubicBezTo>
                    <a:cubicBezTo>
                      <a:pt x="78" y="-11"/>
                      <a:pt x="31" y="2"/>
                      <a:pt x="10" y="39"/>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60" name="Freeform: Shape 4946">
                <a:extLst>
                  <a:ext uri="{FF2B5EF4-FFF2-40B4-BE49-F238E27FC236}">
                    <a16:creationId xmlns:a16="http://schemas.microsoft.com/office/drawing/2014/main" xmlns="" id="{8FAE13B1-4F88-4704-830B-7E247C92726D}"/>
                  </a:ext>
                </a:extLst>
              </p:cNvPr>
              <p:cNvSpPr/>
              <p:nvPr/>
            </p:nvSpPr>
            <p:spPr>
              <a:xfrm rot="4800">
                <a:off x="15369744" y="10155519"/>
                <a:ext cx="74598" cy="57383"/>
              </a:xfrm>
              <a:custGeom>
                <a:avLst/>
                <a:gdLst/>
                <a:ahLst/>
                <a:cxnLst>
                  <a:cxn ang="3cd4">
                    <a:pos x="hc" y="t"/>
                  </a:cxn>
                  <a:cxn ang="cd2">
                    <a:pos x="l" y="vc"/>
                  </a:cxn>
                  <a:cxn ang="cd4">
                    <a:pos x="hc" y="b"/>
                  </a:cxn>
                  <a:cxn ang="0">
                    <a:pos x="r" y="vc"/>
                  </a:cxn>
                </a:cxnLst>
                <a:rect l="l" t="t" r="r" b="b"/>
                <a:pathLst>
                  <a:path w="14" h="11">
                    <a:moveTo>
                      <a:pt x="14" y="10"/>
                    </a:moveTo>
                    <a:cubicBezTo>
                      <a:pt x="15" y="8"/>
                      <a:pt x="14" y="6"/>
                      <a:pt x="13" y="5"/>
                    </a:cubicBezTo>
                    <a:lnTo>
                      <a:pt x="6" y="1"/>
                    </a:lnTo>
                    <a:cubicBezTo>
                      <a:pt x="4" y="0"/>
                      <a:pt x="2" y="0"/>
                      <a:pt x="1" y="3"/>
                    </a:cubicBezTo>
                    <a:cubicBezTo>
                      <a:pt x="0" y="4"/>
                      <a:pt x="0" y="6"/>
                      <a:pt x="2" y="8"/>
                    </a:cubicBezTo>
                    <a:lnTo>
                      <a:pt x="9" y="11"/>
                    </a:lnTo>
                    <a:cubicBezTo>
                      <a:pt x="11" y="12"/>
                      <a:pt x="13" y="12"/>
                      <a:pt x="14" y="10"/>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61" name="Freeform: Shape 4947">
                <a:extLst>
                  <a:ext uri="{FF2B5EF4-FFF2-40B4-BE49-F238E27FC236}">
                    <a16:creationId xmlns:a16="http://schemas.microsoft.com/office/drawing/2014/main" xmlns="" id="{55D30276-D12F-4D3A-A2C0-883029C0D49D}"/>
                  </a:ext>
                </a:extLst>
              </p:cNvPr>
              <p:cNvSpPr/>
              <p:nvPr/>
            </p:nvSpPr>
            <p:spPr>
              <a:xfrm rot="4800">
                <a:off x="15904446" y="10467175"/>
                <a:ext cx="74598" cy="57383"/>
              </a:xfrm>
              <a:custGeom>
                <a:avLst/>
                <a:gdLst/>
                <a:ahLst/>
                <a:cxnLst>
                  <a:cxn ang="3cd4">
                    <a:pos x="hc" y="t"/>
                  </a:cxn>
                  <a:cxn ang="cd2">
                    <a:pos x="l" y="vc"/>
                  </a:cxn>
                  <a:cxn ang="cd4">
                    <a:pos x="hc" y="b"/>
                  </a:cxn>
                  <a:cxn ang="0">
                    <a:pos x="r" y="vc"/>
                  </a:cxn>
                </a:cxnLst>
                <a:rect l="l" t="t" r="r" b="b"/>
                <a:pathLst>
                  <a:path w="14" h="11">
                    <a:moveTo>
                      <a:pt x="0" y="1"/>
                    </a:moveTo>
                    <a:cubicBezTo>
                      <a:pt x="-1" y="3"/>
                      <a:pt x="0" y="6"/>
                      <a:pt x="2" y="7"/>
                    </a:cubicBezTo>
                    <a:lnTo>
                      <a:pt x="8" y="10"/>
                    </a:lnTo>
                    <a:cubicBezTo>
                      <a:pt x="10" y="11"/>
                      <a:pt x="12" y="11"/>
                      <a:pt x="13" y="9"/>
                    </a:cubicBezTo>
                    <a:cubicBezTo>
                      <a:pt x="14" y="7"/>
                      <a:pt x="14" y="5"/>
                      <a:pt x="12" y="4"/>
                    </a:cubicBezTo>
                    <a:lnTo>
                      <a:pt x="5" y="0"/>
                    </a:lnTo>
                    <a:cubicBezTo>
                      <a:pt x="4" y="-1"/>
                      <a:pt x="1" y="0"/>
                      <a:pt x="0" y="1"/>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62" name="Freeform: Shape 4948">
                <a:extLst>
                  <a:ext uri="{FF2B5EF4-FFF2-40B4-BE49-F238E27FC236}">
                    <a16:creationId xmlns:a16="http://schemas.microsoft.com/office/drawing/2014/main" xmlns="" id="{45575C7A-CA22-438B-B812-7434D4B654A0}"/>
                  </a:ext>
                </a:extLst>
              </p:cNvPr>
              <p:cNvSpPr/>
              <p:nvPr/>
            </p:nvSpPr>
            <p:spPr>
              <a:xfrm rot="4800">
                <a:off x="15491189" y="10570018"/>
                <a:ext cx="63122" cy="74598"/>
              </a:xfrm>
              <a:custGeom>
                <a:avLst/>
                <a:gdLst/>
                <a:ahLst/>
                <a:cxnLst>
                  <a:cxn ang="3cd4">
                    <a:pos x="hc" y="t"/>
                  </a:cxn>
                  <a:cxn ang="cd2">
                    <a:pos x="l" y="vc"/>
                  </a:cxn>
                  <a:cxn ang="cd4">
                    <a:pos x="hc" y="b"/>
                  </a:cxn>
                  <a:cxn ang="0">
                    <a:pos x="r" y="vc"/>
                  </a:cxn>
                </a:cxnLst>
                <a:rect l="l" t="t" r="r" b="b"/>
                <a:pathLst>
                  <a:path w="12" h="14">
                    <a:moveTo>
                      <a:pt x="4" y="2"/>
                    </a:moveTo>
                    <a:lnTo>
                      <a:pt x="0" y="8"/>
                    </a:lnTo>
                    <a:cubicBezTo>
                      <a:pt x="-1" y="10"/>
                      <a:pt x="0" y="12"/>
                      <a:pt x="2" y="13"/>
                    </a:cubicBezTo>
                    <a:cubicBezTo>
                      <a:pt x="3" y="14"/>
                      <a:pt x="6" y="14"/>
                      <a:pt x="7" y="12"/>
                    </a:cubicBezTo>
                    <a:lnTo>
                      <a:pt x="11" y="5"/>
                    </a:lnTo>
                    <a:cubicBezTo>
                      <a:pt x="12" y="4"/>
                      <a:pt x="11" y="1"/>
                      <a:pt x="9" y="0"/>
                    </a:cubicBezTo>
                    <a:cubicBezTo>
                      <a:pt x="7" y="-1"/>
                      <a:pt x="5" y="0"/>
                      <a:pt x="4" y="2"/>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63" name="Freeform: Shape 4949">
                <a:extLst>
                  <a:ext uri="{FF2B5EF4-FFF2-40B4-BE49-F238E27FC236}">
                    <a16:creationId xmlns:a16="http://schemas.microsoft.com/office/drawing/2014/main" xmlns="" id="{3515B6FC-ED22-444A-AC2F-927FB96F2B93}"/>
                  </a:ext>
                </a:extLst>
              </p:cNvPr>
              <p:cNvSpPr/>
              <p:nvPr/>
            </p:nvSpPr>
            <p:spPr>
              <a:xfrm rot="4800">
                <a:off x="15801650" y="10035620"/>
                <a:ext cx="57383" cy="74598"/>
              </a:xfrm>
              <a:custGeom>
                <a:avLst/>
                <a:gdLst/>
                <a:ahLst/>
                <a:cxnLst>
                  <a:cxn ang="3cd4">
                    <a:pos x="hc" y="t"/>
                  </a:cxn>
                  <a:cxn ang="cd2">
                    <a:pos x="l" y="vc"/>
                  </a:cxn>
                  <a:cxn ang="cd4">
                    <a:pos x="hc" y="b"/>
                  </a:cxn>
                  <a:cxn ang="0">
                    <a:pos x="r" y="vc"/>
                  </a:cxn>
                </a:cxnLst>
                <a:rect l="l" t="t" r="r" b="b"/>
                <a:pathLst>
                  <a:path w="11" h="14">
                    <a:moveTo>
                      <a:pt x="4" y="3"/>
                    </a:moveTo>
                    <a:lnTo>
                      <a:pt x="0" y="9"/>
                    </a:lnTo>
                    <a:cubicBezTo>
                      <a:pt x="-1" y="11"/>
                      <a:pt x="0" y="13"/>
                      <a:pt x="1" y="14"/>
                    </a:cubicBezTo>
                    <a:cubicBezTo>
                      <a:pt x="3" y="15"/>
                      <a:pt x="5" y="15"/>
                      <a:pt x="7" y="12"/>
                    </a:cubicBezTo>
                    <a:lnTo>
                      <a:pt x="10" y="6"/>
                    </a:lnTo>
                    <a:cubicBezTo>
                      <a:pt x="11" y="4"/>
                      <a:pt x="11" y="2"/>
                      <a:pt x="9" y="1"/>
                    </a:cubicBezTo>
                    <a:cubicBezTo>
                      <a:pt x="7" y="0"/>
                      <a:pt x="5" y="0"/>
                      <a:pt x="4" y="3"/>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83" name="Freeform: Shape 4950">
                <a:extLst>
                  <a:ext uri="{FF2B5EF4-FFF2-40B4-BE49-F238E27FC236}">
                    <a16:creationId xmlns:a16="http://schemas.microsoft.com/office/drawing/2014/main" xmlns="" id="{2D19395E-5BC9-4B53-B98D-0D878CEA7D2B}"/>
                  </a:ext>
                </a:extLst>
              </p:cNvPr>
              <p:cNvSpPr/>
              <p:nvPr/>
            </p:nvSpPr>
            <p:spPr>
              <a:xfrm rot="4800">
                <a:off x="15497151" y="10231472"/>
                <a:ext cx="246749" cy="401684"/>
              </a:xfrm>
              <a:custGeom>
                <a:avLst/>
                <a:gdLst/>
                <a:ahLst/>
                <a:cxnLst>
                  <a:cxn ang="3cd4">
                    <a:pos x="hc" y="t"/>
                  </a:cxn>
                  <a:cxn ang="cd2">
                    <a:pos x="l" y="vc"/>
                  </a:cxn>
                  <a:cxn ang="cd4">
                    <a:pos x="hc" y="b"/>
                  </a:cxn>
                  <a:cxn ang="0">
                    <a:pos x="r" y="vc"/>
                  </a:cxn>
                </a:cxnLst>
                <a:rect l="l" t="t" r="r" b="b"/>
                <a:pathLst>
                  <a:path w="44" h="71">
                    <a:moveTo>
                      <a:pt x="26" y="12"/>
                    </a:moveTo>
                    <a:lnTo>
                      <a:pt x="5" y="0"/>
                    </a:lnTo>
                    <a:cubicBezTo>
                      <a:pt x="4" y="-1"/>
                      <a:pt x="1" y="0"/>
                      <a:pt x="0" y="1"/>
                    </a:cubicBezTo>
                    <a:cubicBezTo>
                      <a:pt x="-1" y="3"/>
                      <a:pt x="0" y="5"/>
                      <a:pt x="2" y="6"/>
                    </a:cubicBezTo>
                    <a:lnTo>
                      <a:pt x="23" y="18"/>
                    </a:lnTo>
                    <a:cubicBezTo>
                      <a:pt x="22" y="23"/>
                      <a:pt x="26" y="27"/>
                      <a:pt x="30" y="28"/>
                    </a:cubicBezTo>
                    <a:lnTo>
                      <a:pt x="36" y="68"/>
                    </a:lnTo>
                    <a:cubicBezTo>
                      <a:pt x="36" y="70"/>
                      <a:pt x="38" y="71"/>
                      <a:pt x="40" y="71"/>
                    </a:cubicBezTo>
                    <a:cubicBezTo>
                      <a:pt x="42" y="71"/>
                      <a:pt x="44" y="69"/>
                      <a:pt x="43" y="67"/>
                    </a:cubicBezTo>
                    <a:lnTo>
                      <a:pt x="38" y="25"/>
                    </a:lnTo>
                    <a:cubicBezTo>
                      <a:pt x="44" y="17"/>
                      <a:pt x="35" y="6"/>
                      <a:pt x="26" y="12"/>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grpSp>
        <p:grpSp>
          <p:nvGrpSpPr>
            <p:cNvPr id="84" name="Group 1">
              <a:extLst>
                <a:ext uri="{FF2B5EF4-FFF2-40B4-BE49-F238E27FC236}">
                  <a16:creationId xmlns:a16="http://schemas.microsoft.com/office/drawing/2014/main" xmlns="" id="{6CDB5B6E-669A-4FBA-8B8A-0C783D078EE6}"/>
                </a:ext>
              </a:extLst>
            </p:cNvPr>
            <p:cNvGrpSpPr/>
            <p:nvPr/>
          </p:nvGrpSpPr>
          <p:grpSpPr>
            <a:xfrm>
              <a:off x="6455997" y="2776736"/>
              <a:ext cx="234616" cy="371206"/>
              <a:chOff x="12914500" y="6080677"/>
              <a:chExt cx="625479" cy="989624"/>
            </a:xfrm>
          </p:grpSpPr>
          <p:sp>
            <p:nvSpPr>
              <p:cNvPr id="85" name="Freeform: Shape 4951">
                <a:extLst>
                  <a:ext uri="{FF2B5EF4-FFF2-40B4-BE49-F238E27FC236}">
                    <a16:creationId xmlns:a16="http://schemas.microsoft.com/office/drawing/2014/main" xmlns="" id="{8A201AF3-C228-4209-B744-A598178BD780}"/>
                  </a:ext>
                </a:extLst>
              </p:cNvPr>
              <p:cNvSpPr/>
              <p:nvPr/>
            </p:nvSpPr>
            <p:spPr>
              <a:xfrm rot="4800">
                <a:off x="12914500" y="6080677"/>
                <a:ext cx="625479" cy="625479"/>
              </a:xfrm>
              <a:custGeom>
                <a:avLst/>
                <a:gdLst/>
                <a:ahLst/>
                <a:cxnLst>
                  <a:cxn ang="3cd4">
                    <a:pos x="hc" y="t"/>
                  </a:cxn>
                  <a:cxn ang="cd2">
                    <a:pos x="l" y="vc"/>
                  </a:cxn>
                  <a:cxn ang="cd4">
                    <a:pos x="hc" y="b"/>
                  </a:cxn>
                  <a:cxn ang="0">
                    <a:pos x="r" y="vc"/>
                  </a:cxn>
                </a:cxnLst>
                <a:rect l="l" t="t" r="r" b="b"/>
                <a:pathLst>
                  <a:path w="110" h="110">
                    <a:moveTo>
                      <a:pt x="20" y="35"/>
                    </a:moveTo>
                    <a:cubicBezTo>
                      <a:pt x="14" y="45"/>
                      <a:pt x="13" y="57"/>
                      <a:pt x="17" y="68"/>
                    </a:cubicBezTo>
                    <a:cubicBezTo>
                      <a:pt x="24" y="89"/>
                      <a:pt x="47" y="100"/>
                      <a:pt x="68" y="92"/>
                    </a:cubicBezTo>
                    <a:cubicBezTo>
                      <a:pt x="77" y="89"/>
                      <a:pt x="84" y="83"/>
                      <a:pt x="89" y="75"/>
                    </a:cubicBezTo>
                    <a:cubicBezTo>
                      <a:pt x="95" y="64"/>
                      <a:pt x="96" y="52"/>
                      <a:pt x="92" y="41"/>
                    </a:cubicBezTo>
                    <a:cubicBezTo>
                      <a:pt x="89" y="31"/>
                      <a:pt x="81" y="23"/>
                      <a:pt x="72" y="19"/>
                    </a:cubicBezTo>
                    <a:cubicBezTo>
                      <a:pt x="62" y="14"/>
                      <a:pt x="51" y="14"/>
                      <a:pt x="41" y="17"/>
                    </a:cubicBezTo>
                    <a:cubicBezTo>
                      <a:pt x="32" y="20"/>
                      <a:pt x="25" y="26"/>
                      <a:pt x="20" y="35"/>
                    </a:cubicBezTo>
                    <a:close/>
                    <a:moveTo>
                      <a:pt x="103" y="82"/>
                    </a:moveTo>
                    <a:cubicBezTo>
                      <a:pt x="96" y="93"/>
                      <a:pt x="85" y="102"/>
                      <a:pt x="73" y="106"/>
                    </a:cubicBezTo>
                    <a:cubicBezTo>
                      <a:pt x="45" y="117"/>
                      <a:pt x="13" y="102"/>
                      <a:pt x="3" y="73"/>
                    </a:cubicBezTo>
                    <a:cubicBezTo>
                      <a:pt x="-3" y="58"/>
                      <a:pt x="-1" y="41"/>
                      <a:pt x="7" y="27"/>
                    </a:cubicBezTo>
                    <a:cubicBezTo>
                      <a:pt x="14" y="16"/>
                      <a:pt x="24" y="7"/>
                      <a:pt x="36" y="3"/>
                    </a:cubicBezTo>
                    <a:cubicBezTo>
                      <a:pt x="50" y="-2"/>
                      <a:pt x="65" y="-1"/>
                      <a:pt x="78" y="5"/>
                    </a:cubicBezTo>
                    <a:cubicBezTo>
                      <a:pt x="91" y="11"/>
                      <a:pt x="101" y="22"/>
                      <a:pt x="106" y="36"/>
                    </a:cubicBezTo>
                    <a:cubicBezTo>
                      <a:pt x="112" y="51"/>
                      <a:pt x="110" y="68"/>
                      <a:pt x="103" y="82"/>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86" name="Freeform: Shape 4952">
                <a:extLst>
                  <a:ext uri="{FF2B5EF4-FFF2-40B4-BE49-F238E27FC236}">
                    <a16:creationId xmlns:a16="http://schemas.microsoft.com/office/drawing/2014/main" xmlns="" id="{10E73234-7487-45E9-8BAB-DAE549A0D5B1}"/>
                  </a:ext>
                </a:extLst>
              </p:cNvPr>
              <p:cNvSpPr/>
              <p:nvPr/>
            </p:nvSpPr>
            <p:spPr>
              <a:xfrm rot="4800">
                <a:off x="13278327" y="6638603"/>
                <a:ext cx="126243" cy="154935"/>
              </a:xfrm>
              <a:custGeom>
                <a:avLst/>
                <a:gdLst/>
                <a:ahLst/>
                <a:cxnLst>
                  <a:cxn ang="3cd4">
                    <a:pos x="hc" y="t"/>
                  </a:cxn>
                  <a:cxn ang="cd2">
                    <a:pos x="l" y="vc"/>
                  </a:cxn>
                  <a:cxn ang="cd4">
                    <a:pos x="hc" y="b"/>
                  </a:cxn>
                  <a:cxn ang="0">
                    <a:pos x="r" y="vc"/>
                  </a:cxn>
                </a:cxnLst>
                <a:rect l="l" t="t" r="r" b="b"/>
                <a:pathLst>
                  <a:path w="23" h="28">
                    <a:moveTo>
                      <a:pt x="23" y="23"/>
                    </a:moveTo>
                    <a:lnTo>
                      <a:pt x="9" y="28"/>
                    </a:lnTo>
                    <a:lnTo>
                      <a:pt x="0" y="5"/>
                    </a:lnTo>
                    <a:lnTo>
                      <a:pt x="15" y="0"/>
                    </a:ln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87" name="Freeform: Shape 4953">
                <a:extLst>
                  <a:ext uri="{FF2B5EF4-FFF2-40B4-BE49-F238E27FC236}">
                    <a16:creationId xmlns:a16="http://schemas.microsoft.com/office/drawing/2014/main" xmlns="" id="{08051939-62F3-43C7-9505-69B97F43D329}"/>
                  </a:ext>
                </a:extLst>
              </p:cNvPr>
              <p:cNvSpPr/>
              <p:nvPr/>
            </p:nvSpPr>
            <p:spPr>
              <a:xfrm rot="4800">
                <a:off x="13307959" y="6760431"/>
                <a:ext cx="212319" cy="309870"/>
              </a:xfrm>
              <a:custGeom>
                <a:avLst/>
                <a:gdLst/>
                <a:ahLst/>
                <a:cxnLst>
                  <a:cxn ang="3cd4">
                    <a:pos x="hc" y="t"/>
                  </a:cxn>
                  <a:cxn ang="cd2">
                    <a:pos x="l" y="vc"/>
                  </a:cxn>
                  <a:cxn ang="cd4">
                    <a:pos x="hc" y="b"/>
                  </a:cxn>
                  <a:cxn ang="0">
                    <a:pos x="r" y="vc"/>
                  </a:cxn>
                </a:cxnLst>
                <a:rect l="l" t="t" r="r" b="b"/>
                <a:pathLst>
                  <a:path w="38" h="55">
                    <a:moveTo>
                      <a:pt x="38" y="41"/>
                    </a:moveTo>
                    <a:cubicBezTo>
                      <a:pt x="39" y="45"/>
                      <a:pt x="37" y="49"/>
                      <a:pt x="33" y="51"/>
                    </a:cubicBezTo>
                    <a:lnTo>
                      <a:pt x="23" y="54"/>
                    </a:lnTo>
                    <a:cubicBezTo>
                      <a:pt x="19" y="56"/>
                      <a:pt x="15" y="54"/>
                      <a:pt x="14" y="50"/>
                    </a:cubicBezTo>
                    <a:lnTo>
                      <a:pt x="1" y="14"/>
                    </a:lnTo>
                    <a:cubicBezTo>
                      <a:pt x="-1" y="10"/>
                      <a:pt x="1" y="5"/>
                      <a:pt x="5" y="4"/>
                    </a:cubicBezTo>
                    <a:lnTo>
                      <a:pt x="15" y="1"/>
                    </a:lnTo>
                    <a:cubicBezTo>
                      <a:pt x="19" y="-1"/>
                      <a:pt x="23" y="1"/>
                      <a:pt x="24" y="5"/>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88" name="Freeform: Shape 4954">
                <a:extLst>
                  <a:ext uri="{FF2B5EF4-FFF2-40B4-BE49-F238E27FC236}">
                    <a16:creationId xmlns:a16="http://schemas.microsoft.com/office/drawing/2014/main" xmlns="" id="{D6ED2776-B1F2-4E9B-AAC9-6110276BE724}"/>
                  </a:ext>
                </a:extLst>
              </p:cNvPr>
              <p:cNvSpPr/>
              <p:nvPr/>
            </p:nvSpPr>
            <p:spPr>
              <a:xfrm rot="4800">
                <a:off x="13038018" y="6263634"/>
                <a:ext cx="91813" cy="195104"/>
              </a:xfrm>
              <a:custGeom>
                <a:avLst/>
                <a:gdLst/>
                <a:ahLst/>
                <a:cxnLst>
                  <a:cxn ang="3cd4">
                    <a:pos x="hc" y="t"/>
                  </a:cxn>
                  <a:cxn ang="cd2">
                    <a:pos x="l" y="vc"/>
                  </a:cxn>
                  <a:cxn ang="cd4">
                    <a:pos x="hc" y="b"/>
                  </a:cxn>
                  <a:cxn ang="0">
                    <a:pos x="r" y="vc"/>
                  </a:cxn>
                </a:cxnLst>
                <a:rect l="l" t="t" r="r" b="b"/>
                <a:pathLst>
                  <a:path w="17" h="35">
                    <a:moveTo>
                      <a:pt x="15" y="0"/>
                    </a:moveTo>
                    <a:cubicBezTo>
                      <a:pt x="21" y="1"/>
                      <a:pt x="12" y="6"/>
                      <a:pt x="9" y="16"/>
                    </a:cubicBezTo>
                    <a:cubicBezTo>
                      <a:pt x="6" y="25"/>
                      <a:pt x="11" y="36"/>
                      <a:pt x="5" y="34"/>
                    </a:cubicBezTo>
                    <a:cubicBezTo>
                      <a:pt x="0" y="32"/>
                      <a:pt x="-1" y="20"/>
                      <a:pt x="1" y="14"/>
                    </a:cubicBezTo>
                    <a:cubicBezTo>
                      <a:pt x="2" y="7"/>
                      <a:pt x="10" y="-2"/>
                      <a:pt x="15" y="0"/>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89" name="Freeform: Shape 4955">
                <a:extLst>
                  <a:ext uri="{FF2B5EF4-FFF2-40B4-BE49-F238E27FC236}">
                    <a16:creationId xmlns:a16="http://schemas.microsoft.com/office/drawing/2014/main" xmlns="" id="{B7F0F5AD-5197-4F96-98E9-55B81FC4D19D}"/>
                  </a:ext>
                </a:extLst>
              </p:cNvPr>
              <p:cNvSpPr/>
              <p:nvPr/>
            </p:nvSpPr>
            <p:spPr>
              <a:xfrm rot="4800">
                <a:off x="13131776" y="6214699"/>
                <a:ext cx="45907" cy="40168"/>
              </a:xfrm>
              <a:custGeom>
                <a:avLst/>
                <a:gdLst/>
                <a:ahLst/>
                <a:cxnLst>
                  <a:cxn ang="3cd4">
                    <a:pos x="hc" y="t"/>
                  </a:cxn>
                  <a:cxn ang="cd2">
                    <a:pos x="l" y="vc"/>
                  </a:cxn>
                  <a:cxn ang="cd4">
                    <a:pos x="hc" y="b"/>
                  </a:cxn>
                  <a:cxn ang="0">
                    <a:pos x="r" y="vc"/>
                  </a:cxn>
                </a:cxnLst>
                <a:rect l="l" t="t" r="r" b="b"/>
                <a:pathLst>
                  <a:path w="9" h="8">
                    <a:moveTo>
                      <a:pt x="9" y="1"/>
                    </a:moveTo>
                    <a:cubicBezTo>
                      <a:pt x="10" y="3"/>
                      <a:pt x="8" y="5"/>
                      <a:pt x="6" y="7"/>
                    </a:cubicBezTo>
                    <a:cubicBezTo>
                      <a:pt x="4" y="8"/>
                      <a:pt x="4" y="9"/>
                      <a:pt x="2" y="7"/>
                    </a:cubicBezTo>
                    <a:cubicBezTo>
                      <a:pt x="0" y="5"/>
                      <a:pt x="0" y="4"/>
                      <a:pt x="1" y="3"/>
                    </a:cubicBezTo>
                    <a:cubicBezTo>
                      <a:pt x="3" y="1"/>
                      <a:pt x="7" y="-1"/>
                      <a:pt x="9" y="1"/>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grpSp>
        <p:sp>
          <p:nvSpPr>
            <p:cNvPr id="90" name="Freeform: Shape 4956">
              <a:extLst>
                <a:ext uri="{FF2B5EF4-FFF2-40B4-BE49-F238E27FC236}">
                  <a16:creationId xmlns:a16="http://schemas.microsoft.com/office/drawing/2014/main" xmlns="" id="{314E3D7F-BC4D-4187-AFC0-916087AE757A}"/>
                </a:ext>
              </a:extLst>
            </p:cNvPr>
            <p:cNvSpPr/>
            <p:nvPr/>
          </p:nvSpPr>
          <p:spPr>
            <a:xfrm rot="4800">
              <a:off x="5742151" y="2175839"/>
              <a:ext cx="1597109" cy="1752084"/>
            </a:xfrm>
            <a:custGeom>
              <a:avLst/>
              <a:gdLst/>
              <a:ahLst/>
              <a:cxnLst>
                <a:cxn ang="3cd4">
                  <a:pos x="hc" y="t"/>
                </a:cxn>
                <a:cxn ang="cd2">
                  <a:pos x="l" y="vc"/>
                </a:cxn>
                <a:cxn ang="cd4">
                  <a:pos x="hc" y="b"/>
                </a:cxn>
                <a:cxn ang="0">
                  <a:pos x="r" y="vc"/>
                </a:cxn>
              </a:cxnLst>
              <a:rect l="l" t="t" r="r" b="b"/>
              <a:pathLst>
                <a:path w="743" h="815">
                  <a:moveTo>
                    <a:pt x="738" y="23"/>
                  </a:moveTo>
                  <a:cubicBezTo>
                    <a:pt x="734" y="23"/>
                    <a:pt x="732" y="26"/>
                    <a:pt x="732" y="29"/>
                  </a:cubicBezTo>
                  <a:lnTo>
                    <a:pt x="731" y="546"/>
                  </a:lnTo>
                  <a:lnTo>
                    <a:pt x="289" y="802"/>
                  </a:lnTo>
                  <a:lnTo>
                    <a:pt x="47" y="383"/>
                  </a:lnTo>
                  <a:lnTo>
                    <a:pt x="47" y="382"/>
                  </a:lnTo>
                  <a:lnTo>
                    <a:pt x="41" y="372"/>
                  </a:lnTo>
                  <a:cubicBezTo>
                    <a:pt x="1" y="303"/>
                    <a:pt x="1" y="217"/>
                    <a:pt x="41" y="147"/>
                  </a:cubicBezTo>
                  <a:cubicBezTo>
                    <a:pt x="81" y="78"/>
                    <a:pt x="156" y="35"/>
                    <a:pt x="236" y="35"/>
                  </a:cubicBezTo>
                  <a:lnTo>
                    <a:pt x="247" y="35"/>
                  </a:lnTo>
                  <a:lnTo>
                    <a:pt x="248" y="35"/>
                  </a:lnTo>
                  <a:lnTo>
                    <a:pt x="643" y="35"/>
                  </a:lnTo>
                  <a:lnTo>
                    <a:pt x="643" y="58"/>
                  </a:lnTo>
                  <a:lnTo>
                    <a:pt x="698" y="29"/>
                  </a:lnTo>
                  <a:lnTo>
                    <a:pt x="643" y="0"/>
                  </a:lnTo>
                  <a:lnTo>
                    <a:pt x="643" y="23"/>
                  </a:lnTo>
                  <a:lnTo>
                    <a:pt x="247" y="23"/>
                  </a:lnTo>
                  <a:lnTo>
                    <a:pt x="246" y="23"/>
                  </a:lnTo>
                  <a:lnTo>
                    <a:pt x="236" y="23"/>
                  </a:lnTo>
                  <a:cubicBezTo>
                    <a:pt x="151" y="24"/>
                    <a:pt x="73" y="69"/>
                    <a:pt x="31" y="141"/>
                  </a:cubicBezTo>
                  <a:cubicBezTo>
                    <a:pt x="-10" y="214"/>
                    <a:pt x="-10" y="305"/>
                    <a:pt x="31" y="378"/>
                  </a:cubicBezTo>
                  <a:lnTo>
                    <a:pt x="36" y="386"/>
                  </a:lnTo>
                  <a:cubicBezTo>
                    <a:pt x="36" y="387"/>
                    <a:pt x="36" y="387"/>
                    <a:pt x="37" y="388"/>
                  </a:cubicBezTo>
                  <a:lnTo>
                    <a:pt x="282" y="812"/>
                  </a:lnTo>
                  <a:cubicBezTo>
                    <a:pt x="283" y="814"/>
                    <a:pt x="284" y="815"/>
                    <a:pt x="285" y="815"/>
                  </a:cubicBezTo>
                  <a:cubicBezTo>
                    <a:pt x="287" y="816"/>
                    <a:pt x="288" y="815"/>
                    <a:pt x="290" y="815"/>
                  </a:cubicBezTo>
                  <a:lnTo>
                    <a:pt x="740" y="554"/>
                  </a:lnTo>
                  <a:cubicBezTo>
                    <a:pt x="741" y="553"/>
                    <a:pt x="741" y="553"/>
                    <a:pt x="742" y="552"/>
                  </a:cubicBezTo>
                  <a:cubicBezTo>
                    <a:pt x="742" y="551"/>
                    <a:pt x="743" y="550"/>
                    <a:pt x="743" y="549"/>
                  </a:cubicBezTo>
                  <a:lnTo>
                    <a:pt x="743" y="29"/>
                  </a:lnTo>
                  <a:cubicBezTo>
                    <a:pt x="743" y="26"/>
                    <a:pt x="741" y="23"/>
                    <a:pt x="738" y="23"/>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91" name="Freeform: Shape 4957">
              <a:extLst>
                <a:ext uri="{FF2B5EF4-FFF2-40B4-BE49-F238E27FC236}">
                  <a16:creationId xmlns:a16="http://schemas.microsoft.com/office/drawing/2014/main" xmlns="" id="{98877AAD-C5D6-4B6B-8FFE-D338C9AB6AB4}"/>
                </a:ext>
              </a:extLst>
            </p:cNvPr>
            <p:cNvSpPr/>
            <p:nvPr/>
          </p:nvSpPr>
          <p:spPr>
            <a:xfrm rot="4800">
              <a:off x="6416397" y="3456073"/>
              <a:ext cx="1963023" cy="1764999"/>
            </a:xfrm>
            <a:custGeom>
              <a:avLst/>
              <a:gdLst/>
              <a:ahLst/>
              <a:cxnLst>
                <a:cxn ang="3cd4">
                  <a:pos x="hc" y="t"/>
                </a:cxn>
                <a:cxn ang="cd2">
                  <a:pos x="l" y="vc"/>
                </a:cxn>
                <a:cxn ang="cd4">
                  <a:pos x="hc" y="b"/>
                </a:cxn>
                <a:cxn ang="0">
                  <a:pos x="r" y="vc"/>
                </a:cxn>
              </a:cxnLst>
              <a:rect l="l" t="t" r="r" b="b"/>
              <a:pathLst>
                <a:path w="913" h="821">
                  <a:moveTo>
                    <a:pt x="459" y="1"/>
                  </a:moveTo>
                  <a:cubicBezTo>
                    <a:pt x="457" y="0"/>
                    <a:pt x="455" y="0"/>
                    <a:pt x="453" y="1"/>
                  </a:cubicBezTo>
                  <a:lnTo>
                    <a:pt x="2" y="260"/>
                  </a:lnTo>
                  <a:cubicBezTo>
                    <a:pt x="0" y="262"/>
                    <a:pt x="-1" y="266"/>
                    <a:pt x="0" y="268"/>
                  </a:cubicBezTo>
                  <a:cubicBezTo>
                    <a:pt x="2" y="271"/>
                    <a:pt x="5" y="272"/>
                    <a:pt x="8" y="270"/>
                  </a:cubicBezTo>
                  <a:lnTo>
                    <a:pt x="456" y="13"/>
                  </a:lnTo>
                  <a:lnTo>
                    <a:pt x="899" y="268"/>
                  </a:lnTo>
                  <a:lnTo>
                    <a:pt x="657" y="686"/>
                  </a:lnTo>
                  <a:cubicBezTo>
                    <a:pt x="657" y="687"/>
                    <a:pt x="656" y="687"/>
                    <a:pt x="656" y="687"/>
                  </a:cubicBezTo>
                  <a:lnTo>
                    <a:pt x="651" y="697"/>
                  </a:lnTo>
                  <a:cubicBezTo>
                    <a:pt x="610" y="767"/>
                    <a:pt x="536" y="810"/>
                    <a:pt x="456" y="810"/>
                  </a:cubicBezTo>
                  <a:cubicBezTo>
                    <a:pt x="376" y="810"/>
                    <a:pt x="301" y="767"/>
                    <a:pt x="261" y="697"/>
                  </a:cubicBezTo>
                  <a:lnTo>
                    <a:pt x="256" y="687"/>
                  </a:lnTo>
                  <a:cubicBezTo>
                    <a:pt x="256" y="687"/>
                    <a:pt x="255" y="687"/>
                    <a:pt x="255" y="686"/>
                  </a:cubicBezTo>
                  <a:lnTo>
                    <a:pt x="58" y="345"/>
                  </a:lnTo>
                  <a:lnTo>
                    <a:pt x="78" y="333"/>
                  </a:lnTo>
                  <a:lnTo>
                    <a:pt x="25" y="299"/>
                  </a:lnTo>
                  <a:lnTo>
                    <a:pt x="28" y="362"/>
                  </a:lnTo>
                  <a:lnTo>
                    <a:pt x="48" y="351"/>
                  </a:lnTo>
                  <a:lnTo>
                    <a:pt x="246" y="693"/>
                  </a:lnTo>
                  <a:cubicBezTo>
                    <a:pt x="246" y="694"/>
                    <a:pt x="246" y="694"/>
                    <a:pt x="246" y="694"/>
                  </a:cubicBezTo>
                  <a:lnTo>
                    <a:pt x="251" y="703"/>
                  </a:lnTo>
                  <a:cubicBezTo>
                    <a:pt x="293" y="776"/>
                    <a:pt x="372" y="821"/>
                    <a:pt x="456" y="821"/>
                  </a:cubicBezTo>
                  <a:cubicBezTo>
                    <a:pt x="540" y="821"/>
                    <a:pt x="618" y="776"/>
                    <a:pt x="661" y="703"/>
                  </a:cubicBezTo>
                  <a:lnTo>
                    <a:pt x="665" y="694"/>
                  </a:lnTo>
                  <a:cubicBezTo>
                    <a:pt x="666" y="694"/>
                    <a:pt x="666" y="694"/>
                    <a:pt x="667" y="693"/>
                  </a:cubicBezTo>
                  <a:lnTo>
                    <a:pt x="912" y="268"/>
                  </a:lnTo>
                  <a:cubicBezTo>
                    <a:pt x="913" y="267"/>
                    <a:pt x="913" y="265"/>
                    <a:pt x="912" y="264"/>
                  </a:cubicBezTo>
                  <a:cubicBezTo>
                    <a:pt x="912" y="262"/>
                    <a:pt x="911" y="261"/>
                    <a:pt x="910" y="260"/>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92" name="Freeform: Shape 4958">
              <a:extLst>
                <a:ext uri="{FF2B5EF4-FFF2-40B4-BE49-F238E27FC236}">
                  <a16:creationId xmlns:a16="http://schemas.microsoft.com/office/drawing/2014/main" xmlns="" id="{E81F96B7-B2DD-4605-9CC1-DC16FB82E054}"/>
                </a:ext>
              </a:extLst>
            </p:cNvPr>
            <p:cNvSpPr/>
            <p:nvPr/>
          </p:nvSpPr>
          <p:spPr>
            <a:xfrm rot="4800">
              <a:off x="7454230" y="2225578"/>
              <a:ext cx="1597109" cy="1702578"/>
            </a:xfrm>
            <a:custGeom>
              <a:avLst/>
              <a:gdLst/>
              <a:ahLst/>
              <a:cxnLst>
                <a:cxn ang="3cd4">
                  <a:pos x="hc" y="t"/>
                </a:cxn>
                <a:cxn ang="cd2">
                  <a:pos x="l" y="vc"/>
                </a:cxn>
                <a:cxn ang="cd4">
                  <a:pos x="hc" y="b"/>
                </a:cxn>
                <a:cxn ang="0">
                  <a:pos x="r" y="vc"/>
                </a:cxn>
              </a:cxnLst>
              <a:rect l="l" t="t" r="r" b="b"/>
              <a:pathLst>
                <a:path w="743" h="792">
                  <a:moveTo>
                    <a:pt x="507" y="0"/>
                  </a:moveTo>
                  <a:lnTo>
                    <a:pt x="498" y="0"/>
                  </a:lnTo>
                  <a:cubicBezTo>
                    <a:pt x="497" y="0"/>
                    <a:pt x="496" y="0"/>
                    <a:pt x="496" y="0"/>
                  </a:cubicBezTo>
                  <a:lnTo>
                    <a:pt x="6" y="0"/>
                  </a:lnTo>
                  <a:cubicBezTo>
                    <a:pt x="4" y="0"/>
                    <a:pt x="3" y="1"/>
                    <a:pt x="2" y="2"/>
                  </a:cubicBezTo>
                  <a:cubicBezTo>
                    <a:pt x="1" y="3"/>
                    <a:pt x="0" y="4"/>
                    <a:pt x="0" y="6"/>
                  </a:cubicBezTo>
                  <a:lnTo>
                    <a:pt x="1" y="526"/>
                  </a:lnTo>
                  <a:cubicBezTo>
                    <a:pt x="1" y="528"/>
                    <a:pt x="2" y="530"/>
                    <a:pt x="3" y="531"/>
                  </a:cubicBezTo>
                  <a:lnTo>
                    <a:pt x="453" y="792"/>
                  </a:lnTo>
                  <a:cubicBezTo>
                    <a:pt x="456" y="793"/>
                    <a:pt x="460" y="792"/>
                    <a:pt x="461" y="789"/>
                  </a:cubicBezTo>
                  <a:cubicBezTo>
                    <a:pt x="463" y="787"/>
                    <a:pt x="462" y="783"/>
                    <a:pt x="459" y="782"/>
                  </a:cubicBezTo>
                  <a:lnTo>
                    <a:pt x="12" y="523"/>
                  </a:lnTo>
                  <a:lnTo>
                    <a:pt x="11" y="12"/>
                  </a:lnTo>
                  <a:lnTo>
                    <a:pt x="495" y="12"/>
                  </a:lnTo>
                  <a:lnTo>
                    <a:pt x="496" y="12"/>
                  </a:lnTo>
                  <a:lnTo>
                    <a:pt x="507" y="12"/>
                  </a:lnTo>
                  <a:cubicBezTo>
                    <a:pt x="587" y="12"/>
                    <a:pt x="662" y="55"/>
                    <a:pt x="702" y="124"/>
                  </a:cubicBezTo>
                  <a:cubicBezTo>
                    <a:pt x="742" y="194"/>
                    <a:pt x="742" y="280"/>
                    <a:pt x="702" y="349"/>
                  </a:cubicBezTo>
                  <a:lnTo>
                    <a:pt x="696" y="359"/>
                  </a:lnTo>
                  <a:lnTo>
                    <a:pt x="696" y="360"/>
                  </a:lnTo>
                  <a:lnTo>
                    <a:pt x="502" y="695"/>
                  </a:lnTo>
                  <a:lnTo>
                    <a:pt x="482" y="683"/>
                  </a:lnTo>
                  <a:lnTo>
                    <a:pt x="480" y="746"/>
                  </a:lnTo>
                  <a:lnTo>
                    <a:pt x="533" y="712"/>
                  </a:lnTo>
                  <a:lnTo>
                    <a:pt x="513" y="701"/>
                  </a:lnTo>
                  <a:lnTo>
                    <a:pt x="707" y="365"/>
                  </a:lnTo>
                  <a:cubicBezTo>
                    <a:pt x="707" y="364"/>
                    <a:pt x="707" y="364"/>
                    <a:pt x="707" y="364"/>
                  </a:cubicBezTo>
                  <a:lnTo>
                    <a:pt x="712" y="355"/>
                  </a:lnTo>
                  <a:cubicBezTo>
                    <a:pt x="754" y="282"/>
                    <a:pt x="754" y="191"/>
                    <a:pt x="712" y="118"/>
                  </a:cubicBezTo>
                  <a:cubicBezTo>
                    <a:pt x="670" y="46"/>
                    <a:pt x="592" y="0"/>
                    <a:pt x="507" y="0"/>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grpSp>
          <p:nvGrpSpPr>
            <p:cNvPr id="93" name="Group 582">
              <a:extLst>
                <a:ext uri="{FF2B5EF4-FFF2-40B4-BE49-F238E27FC236}">
                  <a16:creationId xmlns:a16="http://schemas.microsoft.com/office/drawing/2014/main" xmlns="" id="{31BF9C3B-4B87-4B0E-85D6-2DE3A72479BB}"/>
                </a:ext>
              </a:extLst>
            </p:cNvPr>
            <p:cNvGrpSpPr/>
            <p:nvPr/>
          </p:nvGrpSpPr>
          <p:grpSpPr>
            <a:xfrm>
              <a:off x="8057331" y="2781307"/>
              <a:ext cx="325000" cy="329323"/>
              <a:chOff x="17587787" y="5979491"/>
              <a:chExt cx="866441" cy="877966"/>
            </a:xfrm>
          </p:grpSpPr>
          <p:sp>
            <p:nvSpPr>
              <p:cNvPr id="94" name="Freeform: Shape 5267">
                <a:extLst>
                  <a:ext uri="{FF2B5EF4-FFF2-40B4-BE49-F238E27FC236}">
                    <a16:creationId xmlns:a16="http://schemas.microsoft.com/office/drawing/2014/main" xmlns="" id="{B828984F-84C1-4FDC-8023-26D4E27A24F4}"/>
                  </a:ext>
                </a:extLst>
              </p:cNvPr>
              <p:cNvSpPr/>
              <p:nvPr/>
            </p:nvSpPr>
            <p:spPr>
              <a:xfrm rot="4800">
                <a:off x="17995783" y="5979491"/>
                <a:ext cx="22953" cy="91813"/>
              </a:xfrm>
              <a:custGeom>
                <a:avLst/>
                <a:gdLst/>
                <a:ahLst/>
                <a:cxnLst>
                  <a:cxn ang="3cd4">
                    <a:pos x="hc" y="t"/>
                  </a:cxn>
                  <a:cxn ang="cd2">
                    <a:pos x="l" y="vc"/>
                  </a:cxn>
                  <a:cxn ang="cd4">
                    <a:pos x="hc" y="b"/>
                  </a:cxn>
                  <a:cxn ang="0">
                    <a:pos x="r" y="vc"/>
                  </a:cxn>
                </a:cxnLst>
                <a:rect l="l" t="t" r="r" b="b"/>
                <a:pathLst>
                  <a:path w="5" h="17">
                    <a:moveTo>
                      <a:pt x="5" y="15"/>
                    </a:moveTo>
                    <a:cubicBezTo>
                      <a:pt x="5" y="16"/>
                      <a:pt x="4" y="17"/>
                      <a:pt x="3" y="17"/>
                    </a:cubicBezTo>
                    <a:cubicBezTo>
                      <a:pt x="1" y="17"/>
                      <a:pt x="0" y="16"/>
                      <a:pt x="0" y="15"/>
                    </a:cubicBezTo>
                    <a:lnTo>
                      <a:pt x="0" y="2"/>
                    </a:lnTo>
                    <a:cubicBezTo>
                      <a:pt x="0" y="1"/>
                      <a:pt x="1" y="0"/>
                      <a:pt x="3" y="0"/>
                    </a:cubicBezTo>
                    <a:cubicBezTo>
                      <a:pt x="4" y="0"/>
                      <a:pt x="5" y="1"/>
                      <a:pt x="5" y="2"/>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95" name="Freeform: Shape 5268">
                <a:extLst>
                  <a:ext uri="{FF2B5EF4-FFF2-40B4-BE49-F238E27FC236}">
                    <a16:creationId xmlns:a16="http://schemas.microsoft.com/office/drawing/2014/main" xmlns="" id="{89B43E0E-8BE4-49E6-A61F-B1EE02FC1C3C}"/>
                  </a:ext>
                </a:extLst>
              </p:cNvPr>
              <p:cNvSpPr/>
              <p:nvPr/>
            </p:nvSpPr>
            <p:spPr>
              <a:xfrm rot="4800">
                <a:off x="17685753" y="6129724"/>
                <a:ext cx="74598" cy="68860"/>
              </a:xfrm>
              <a:custGeom>
                <a:avLst/>
                <a:gdLst/>
                <a:ahLst/>
                <a:cxnLst>
                  <a:cxn ang="3cd4">
                    <a:pos x="hc" y="t"/>
                  </a:cxn>
                  <a:cxn ang="cd2">
                    <a:pos x="l" y="vc"/>
                  </a:cxn>
                  <a:cxn ang="cd4">
                    <a:pos x="hc" y="b"/>
                  </a:cxn>
                  <a:cxn ang="0">
                    <a:pos x="r" y="vc"/>
                  </a:cxn>
                </a:cxnLst>
                <a:rect l="l" t="t" r="r" b="b"/>
                <a:pathLst>
                  <a:path w="14" h="13">
                    <a:moveTo>
                      <a:pt x="13" y="9"/>
                    </a:moveTo>
                    <a:cubicBezTo>
                      <a:pt x="14" y="10"/>
                      <a:pt x="14" y="11"/>
                      <a:pt x="13" y="12"/>
                    </a:cubicBezTo>
                    <a:cubicBezTo>
                      <a:pt x="12" y="13"/>
                      <a:pt x="11" y="13"/>
                      <a:pt x="10" y="13"/>
                    </a:cubicBezTo>
                    <a:lnTo>
                      <a:pt x="0" y="4"/>
                    </a:lnTo>
                    <a:cubicBezTo>
                      <a:pt x="0" y="3"/>
                      <a:pt x="0" y="2"/>
                      <a:pt x="1" y="1"/>
                    </a:cubicBezTo>
                    <a:cubicBezTo>
                      <a:pt x="1" y="0"/>
                      <a:pt x="3" y="0"/>
                      <a:pt x="3" y="1"/>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96" name="Freeform: Shape 5269">
                <a:extLst>
                  <a:ext uri="{FF2B5EF4-FFF2-40B4-BE49-F238E27FC236}">
                    <a16:creationId xmlns:a16="http://schemas.microsoft.com/office/drawing/2014/main" xmlns="" id="{824B1E22-9F49-4DC0-B2E7-72C7BEE3B4BE}"/>
                  </a:ext>
                </a:extLst>
              </p:cNvPr>
              <p:cNvSpPr/>
              <p:nvPr/>
            </p:nvSpPr>
            <p:spPr>
              <a:xfrm rot="4800">
                <a:off x="17587787" y="6455231"/>
                <a:ext cx="91813" cy="22953"/>
              </a:xfrm>
              <a:custGeom>
                <a:avLst/>
                <a:gdLst/>
                <a:ahLst/>
                <a:cxnLst>
                  <a:cxn ang="3cd4">
                    <a:pos x="hc" y="t"/>
                  </a:cxn>
                  <a:cxn ang="cd2">
                    <a:pos x="l" y="vc"/>
                  </a:cxn>
                  <a:cxn ang="cd4">
                    <a:pos x="hc" y="b"/>
                  </a:cxn>
                  <a:cxn ang="0">
                    <a:pos x="r" y="vc"/>
                  </a:cxn>
                </a:cxnLst>
                <a:rect l="l" t="t" r="r" b="b"/>
                <a:pathLst>
                  <a:path w="17" h="5">
                    <a:moveTo>
                      <a:pt x="15" y="0"/>
                    </a:moveTo>
                    <a:cubicBezTo>
                      <a:pt x="16" y="0"/>
                      <a:pt x="16" y="1"/>
                      <a:pt x="17" y="2"/>
                    </a:cubicBezTo>
                    <a:cubicBezTo>
                      <a:pt x="17" y="3"/>
                      <a:pt x="16" y="4"/>
                      <a:pt x="15" y="4"/>
                    </a:cubicBezTo>
                    <a:lnTo>
                      <a:pt x="2" y="5"/>
                    </a:lnTo>
                    <a:cubicBezTo>
                      <a:pt x="1" y="6"/>
                      <a:pt x="0" y="5"/>
                      <a:pt x="0" y="4"/>
                    </a:cubicBezTo>
                    <a:cubicBezTo>
                      <a:pt x="0" y="2"/>
                      <a:pt x="1" y="1"/>
                      <a:pt x="2" y="1"/>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97" name="Freeform: Shape 5270">
                <a:extLst>
                  <a:ext uri="{FF2B5EF4-FFF2-40B4-BE49-F238E27FC236}">
                    <a16:creationId xmlns:a16="http://schemas.microsoft.com/office/drawing/2014/main" xmlns="" id="{7BBB8347-1BF0-482A-A187-A53ED0BF7E36}"/>
                  </a:ext>
                </a:extLst>
              </p:cNvPr>
              <p:cNvSpPr/>
              <p:nvPr/>
            </p:nvSpPr>
            <p:spPr>
              <a:xfrm rot="4800">
                <a:off x="18362415" y="6433362"/>
                <a:ext cx="91813" cy="28692"/>
              </a:xfrm>
              <a:custGeom>
                <a:avLst/>
                <a:gdLst/>
                <a:ahLst/>
                <a:cxnLst>
                  <a:cxn ang="3cd4">
                    <a:pos x="hc" y="t"/>
                  </a:cxn>
                  <a:cxn ang="cd2">
                    <a:pos x="l" y="vc"/>
                  </a:cxn>
                  <a:cxn ang="cd4">
                    <a:pos x="hc" y="b"/>
                  </a:cxn>
                  <a:cxn ang="0">
                    <a:pos x="r" y="vc"/>
                  </a:cxn>
                </a:cxnLst>
                <a:rect l="l" t="t" r="r" b="b"/>
                <a:pathLst>
                  <a:path w="17" h="6">
                    <a:moveTo>
                      <a:pt x="2" y="4"/>
                    </a:moveTo>
                    <a:cubicBezTo>
                      <a:pt x="1" y="4"/>
                      <a:pt x="0" y="3"/>
                      <a:pt x="0" y="2"/>
                    </a:cubicBezTo>
                    <a:cubicBezTo>
                      <a:pt x="0" y="1"/>
                      <a:pt x="1" y="0"/>
                      <a:pt x="2" y="0"/>
                    </a:cubicBezTo>
                    <a:lnTo>
                      <a:pt x="15" y="1"/>
                    </a:lnTo>
                    <a:cubicBezTo>
                      <a:pt x="16" y="1"/>
                      <a:pt x="17" y="2"/>
                      <a:pt x="17" y="4"/>
                    </a:cubicBezTo>
                    <a:cubicBezTo>
                      <a:pt x="17" y="5"/>
                      <a:pt x="16" y="6"/>
                      <a:pt x="15" y="6"/>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98" name="Freeform: Shape 5271">
                <a:extLst>
                  <a:ext uri="{FF2B5EF4-FFF2-40B4-BE49-F238E27FC236}">
                    <a16:creationId xmlns:a16="http://schemas.microsoft.com/office/drawing/2014/main" xmlns="" id="{66ACE2D7-B051-4F76-82FC-C51E29397FB4}"/>
                  </a:ext>
                </a:extLst>
              </p:cNvPr>
              <p:cNvSpPr/>
              <p:nvPr/>
            </p:nvSpPr>
            <p:spPr>
              <a:xfrm rot="4800">
                <a:off x="18266728" y="6113322"/>
                <a:ext cx="68860" cy="68860"/>
              </a:xfrm>
              <a:custGeom>
                <a:avLst/>
                <a:gdLst/>
                <a:ahLst/>
                <a:cxnLst>
                  <a:cxn ang="3cd4">
                    <a:pos x="hc" y="t"/>
                  </a:cxn>
                  <a:cxn ang="cd2">
                    <a:pos x="l" y="vc"/>
                  </a:cxn>
                  <a:cxn ang="cd4">
                    <a:pos x="hc" y="b"/>
                  </a:cxn>
                  <a:cxn ang="0">
                    <a:pos x="r" y="vc"/>
                  </a:cxn>
                </a:cxnLst>
                <a:rect l="l" t="t" r="r" b="b"/>
                <a:pathLst>
                  <a:path w="13" h="13">
                    <a:moveTo>
                      <a:pt x="4" y="13"/>
                    </a:moveTo>
                    <a:cubicBezTo>
                      <a:pt x="3" y="13"/>
                      <a:pt x="1" y="13"/>
                      <a:pt x="1" y="12"/>
                    </a:cubicBezTo>
                    <a:cubicBezTo>
                      <a:pt x="0" y="11"/>
                      <a:pt x="0" y="10"/>
                      <a:pt x="1" y="9"/>
                    </a:cubicBezTo>
                    <a:lnTo>
                      <a:pt x="10" y="1"/>
                    </a:lnTo>
                    <a:cubicBezTo>
                      <a:pt x="11" y="0"/>
                      <a:pt x="12" y="0"/>
                      <a:pt x="13" y="1"/>
                    </a:cubicBezTo>
                    <a:cubicBezTo>
                      <a:pt x="14" y="2"/>
                      <a:pt x="14" y="3"/>
                      <a:pt x="13" y="4"/>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sp>
            <p:nvSpPr>
              <p:cNvPr id="99" name="Freeform: Shape 5272">
                <a:extLst>
                  <a:ext uri="{FF2B5EF4-FFF2-40B4-BE49-F238E27FC236}">
                    <a16:creationId xmlns:a16="http://schemas.microsoft.com/office/drawing/2014/main" xmlns="" id="{42C868D3-DE96-43C2-8612-8C8EA3EAA320}"/>
                  </a:ext>
                </a:extLst>
              </p:cNvPr>
              <p:cNvSpPr/>
              <p:nvPr/>
            </p:nvSpPr>
            <p:spPr>
              <a:xfrm rot="4800">
                <a:off x="17742674" y="6117211"/>
                <a:ext cx="527927" cy="740246"/>
              </a:xfrm>
              <a:custGeom>
                <a:avLst/>
                <a:gdLst/>
                <a:ahLst/>
                <a:cxnLst>
                  <a:cxn ang="3cd4">
                    <a:pos x="hc" y="t"/>
                  </a:cxn>
                  <a:cxn ang="cd2">
                    <a:pos x="l" y="vc"/>
                  </a:cxn>
                  <a:cxn ang="cd4">
                    <a:pos x="hc" y="b"/>
                  </a:cxn>
                  <a:cxn ang="0">
                    <a:pos x="r" y="vc"/>
                  </a:cxn>
                </a:cxnLst>
                <a:rect l="l" t="t" r="r" b="b"/>
                <a:pathLst>
                  <a:path w="93" h="130">
                    <a:moveTo>
                      <a:pt x="61" y="111"/>
                    </a:moveTo>
                    <a:cubicBezTo>
                      <a:pt x="61" y="113"/>
                      <a:pt x="61" y="114"/>
                      <a:pt x="60" y="115"/>
                    </a:cubicBezTo>
                    <a:cubicBezTo>
                      <a:pt x="59" y="115"/>
                      <a:pt x="58" y="115"/>
                      <a:pt x="58" y="115"/>
                    </a:cubicBezTo>
                    <a:lnTo>
                      <a:pt x="35" y="115"/>
                    </a:lnTo>
                    <a:cubicBezTo>
                      <a:pt x="35" y="115"/>
                      <a:pt x="34" y="115"/>
                      <a:pt x="33" y="115"/>
                    </a:cubicBezTo>
                    <a:cubicBezTo>
                      <a:pt x="32" y="114"/>
                      <a:pt x="32" y="113"/>
                      <a:pt x="32" y="111"/>
                    </a:cubicBezTo>
                    <a:lnTo>
                      <a:pt x="32" y="99"/>
                    </a:lnTo>
                    <a:lnTo>
                      <a:pt x="61" y="99"/>
                    </a:lnTo>
                    <a:close/>
                    <a:moveTo>
                      <a:pt x="29" y="23"/>
                    </a:moveTo>
                    <a:cubicBezTo>
                      <a:pt x="22" y="29"/>
                      <a:pt x="17" y="37"/>
                      <a:pt x="17" y="47"/>
                    </a:cubicBezTo>
                    <a:cubicBezTo>
                      <a:pt x="17" y="56"/>
                      <a:pt x="21" y="64"/>
                      <a:pt x="28" y="69"/>
                    </a:cubicBezTo>
                    <a:cubicBezTo>
                      <a:pt x="29" y="70"/>
                      <a:pt x="29" y="71"/>
                      <a:pt x="28" y="72"/>
                    </a:cubicBezTo>
                    <a:cubicBezTo>
                      <a:pt x="27" y="73"/>
                      <a:pt x="26" y="73"/>
                      <a:pt x="25" y="72"/>
                    </a:cubicBezTo>
                    <a:cubicBezTo>
                      <a:pt x="18" y="66"/>
                      <a:pt x="13" y="57"/>
                      <a:pt x="13" y="47"/>
                    </a:cubicBezTo>
                    <a:cubicBezTo>
                      <a:pt x="13" y="36"/>
                      <a:pt x="18" y="26"/>
                      <a:pt x="26" y="20"/>
                    </a:cubicBezTo>
                    <a:cubicBezTo>
                      <a:pt x="27" y="19"/>
                      <a:pt x="29" y="19"/>
                      <a:pt x="29" y="20"/>
                    </a:cubicBezTo>
                    <a:lnTo>
                      <a:pt x="30" y="20"/>
                    </a:lnTo>
                    <a:cubicBezTo>
                      <a:pt x="30" y="21"/>
                      <a:pt x="30" y="23"/>
                      <a:pt x="29" y="23"/>
                    </a:cubicBezTo>
                    <a:close/>
                    <a:moveTo>
                      <a:pt x="93" y="47"/>
                    </a:moveTo>
                    <a:cubicBezTo>
                      <a:pt x="93" y="21"/>
                      <a:pt x="72" y="0"/>
                      <a:pt x="46" y="0"/>
                    </a:cubicBezTo>
                    <a:cubicBezTo>
                      <a:pt x="21" y="0"/>
                      <a:pt x="0" y="21"/>
                      <a:pt x="0" y="47"/>
                    </a:cubicBezTo>
                    <a:cubicBezTo>
                      <a:pt x="0" y="65"/>
                      <a:pt x="11" y="82"/>
                      <a:pt x="27" y="89"/>
                    </a:cubicBezTo>
                    <a:lnTo>
                      <a:pt x="27" y="99"/>
                    </a:lnTo>
                    <a:lnTo>
                      <a:pt x="27" y="111"/>
                    </a:lnTo>
                    <a:cubicBezTo>
                      <a:pt x="27" y="116"/>
                      <a:pt x="30" y="119"/>
                      <a:pt x="34" y="120"/>
                    </a:cubicBezTo>
                    <a:cubicBezTo>
                      <a:pt x="34" y="121"/>
                      <a:pt x="35" y="122"/>
                      <a:pt x="35" y="123"/>
                    </a:cubicBezTo>
                    <a:cubicBezTo>
                      <a:pt x="37" y="128"/>
                      <a:pt x="41" y="130"/>
                      <a:pt x="43" y="130"/>
                    </a:cubicBezTo>
                    <a:lnTo>
                      <a:pt x="50" y="130"/>
                    </a:lnTo>
                    <a:cubicBezTo>
                      <a:pt x="52" y="130"/>
                      <a:pt x="56" y="128"/>
                      <a:pt x="58" y="123"/>
                    </a:cubicBezTo>
                    <a:cubicBezTo>
                      <a:pt x="58" y="122"/>
                      <a:pt x="59" y="121"/>
                      <a:pt x="59" y="120"/>
                    </a:cubicBezTo>
                    <a:cubicBezTo>
                      <a:pt x="63" y="119"/>
                      <a:pt x="66" y="116"/>
                      <a:pt x="66" y="111"/>
                    </a:cubicBezTo>
                    <a:lnTo>
                      <a:pt x="66" y="94"/>
                    </a:lnTo>
                    <a:lnTo>
                      <a:pt x="66" y="89"/>
                    </a:lnTo>
                    <a:cubicBezTo>
                      <a:pt x="82" y="82"/>
                      <a:pt x="93" y="65"/>
                      <a:pt x="93" y="47"/>
                    </a:cubicBezTo>
                    <a:close/>
                  </a:path>
                </a:pathLst>
              </a:custGeom>
              <a:solidFill>
                <a:srgbClr val="FFFFFF"/>
              </a:solidFill>
              <a:ln cap="flat">
                <a:noFill/>
                <a:prstDash val="solid"/>
              </a:ln>
            </p:spPr>
            <p:txBody>
              <a:bodyPr vert="horz" wrap="none" lIns="33759" tIns="16879" rIns="33759" bIns="16879" anchor="ctr" anchorCtr="1" compatLnSpc="0"/>
              <a:lstStyle/>
              <a:p>
                <a:pPr hangingPunct="0"/>
                <a:endParaRPr lang="en-US" sz="675">
                  <a:latin typeface="Arial" pitchFamily="18"/>
                  <a:ea typeface="Arial Unicode MS" pitchFamily="2"/>
                  <a:cs typeface="Arial Unicode MS" pitchFamily="2"/>
                </a:endParaRPr>
              </a:p>
            </p:txBody>
          </p:sp>
        </p:grpSp>
      </p:grpSp>
      <p:sp>
        <p:nvSpPr>
          <p:cNvPr id="100" name="TextBox 35">
            <a:extLst>
              <a:ext uri="{FF2B5EF4-FFF2-40B4-BE49-F238E27FC236}">
                <a16:creationId xmlns:a16="http://schemas.microsoft.com/office/drawing/2014/main" xmlns="" id="{66CEFA19-A89E-45AE-A8AA-9EB88B09DB08}"/>
              </a:ext>
            </a:extLst>
          </p:cNvPr>
          <p:cNvSpPr txBox="1"/>
          <p:nvPr/>
        </p:nvSpPr>
        <p:spPr>
          <a:xfrm>
            <a:off x="7110698" y="2792192"/>
            <a:ext cx="1098506" cy="584775"/>
          </a:xfrm>
          <a:prstGeom prst="rect">
            <a:avLst/>
          </a:prstGeom>
          <a:noFill/>
        </p:spPr>
        <p:txBody>
          <a:bodyPr wrap="none" rtlCol="0" anchor="b" anchorCtr="0">
            <a:spAutoFit/>
          </a:bodyPr>
          <a:lstStyle/>
          <a:p>
            <a:pPr algn="ctr"/>
            <a:r>
              <a:rPr lang="en-US" sz="1600" b="1" dirty="0">
                <a:solidFill>
                  <a:schemeClr val="tx2"/>
                </a:solidFill>
                <a:latin typeface="Poppins" pitchFamily="2" charset="77"/>
                <a:ea typeface="League Spartan" charset="0"/>
                <a:cs typeface="Poppins" pitchFamily="2" charset="77"/>
              </a:rPr>
              <a:t>Tesorería /</a:t>
            </a:r>
            <a:br>
              <a:rPr lang="en-US" sz="1600" b="1" dirty="0">
                <a:solidFill>
                  <a:schemeClr val="tx2"/>
                </a:solidFill>
                <a:latin typeface="Poppins" pitchFamily="2" charset="77"/>
                <a:ea typeface="League Spartan" charset="0"/>
                <a:cs typeface="Poppins" pitchFamily="2" charset="77"/>
              </a:rPr>
            </a:br>
            <a:r>
              <a:rPr lang="en-US" sz="1600" b="1" dirty="0">
                <a:solidFill>
                  <a:schemeClr val="tx2"/>
                </a:solidFill>
                <a:latin typeface="Poppins" pitchFamily="2" charset="77"/>
                <a:ea typeface="League Spartan" charset="0"/>
                <a:cs typeface="Poppins" pitchFamily="2" charset="77"/>
              </a:rPr>
              <a:t>Liquidez</a:t>
            </a:r>
          </a:p>
        </p:txBody>
      </p:sp>
      <p:sp>
        <p:nvSpPr>
          <p:cNvPr id="101" name="TextBox 35">
            <a:extLst>
              <a:ext uri="{FF2B5EF4-FFF2-40B4-BE49-F238E27FC236}">
                <a16:creationId xmlns:a16="http://schemas.microsoft.com/office/drawing/2014/main" xmlns="" id="{C29A9824-A266-4814-8C3A-75D6F3DE3181}"/>
              </a:ext>
            </a:extLst>
          </p:cNvPr>
          <p:cNvSpPr txBox="1"/>
          <p:nvPr/>
        </p:nvSpPr>
        <p:spPr>
          <a:xfrm>
            <a:off x="8207793" y="4559823"/>
            <a:ext cx="1203278" cy="1077218"/>
          </a:xfrm>
          <a:prstGeom prst="rect">
            <a:avLst/>
          </a:prstGeom>
          <a:noFill/>
        </p:spPr>
        <p:txBody>
          <a:bodyPr wrap="none" rtlCol="0" anchor="b" anchorCtr="0">
            <a:spAutoFit/>
          </a:bodyPr>
          <a:lstStyle/>
          <a:p>
            <a:pPr algn="ctr"/>
            <a:r>
              <a:rPr lang="en-US" sz="1600" b="1" dirty="0">
                <a:solidFill>
                  <a:schemeClr val="accent2"/>
                </a:solidFill>
                <a:latin typeface="Poppins" pitchFamily="2" charset="77"/>
                <a:ea typeface="League Spartan" charset="0"/>
                <a:cs typeface="Poppins" pitchFamily="2" charset="77"/>
              </a:rPr>
              <a:t>Resultados</a:t>
            </a:r>
            <a:br>
              <a:rPr lang="en-US" sz="1600" b="1" dirty="0">
                <a:solidFill>
                  <a:schemeClr val="accent2"/>
                </a:solidFill>
                <a:latin typeface="Poppins" pitchFamily="2" charset="77"/>
                <a:ea typeface="League Spartan" charset="0"/>
                <a:cs typeface="Poppins" pitchFamily="2" charset="77"/>
              </a:rPr>
            </a:br>
            <a:r>
              <a:rPr lang="en-US" sz="1600" b="1" dirty="0">
                <a:solidFill>
                  <a:schemeClr val="accent2"/>
                </a:solidFill>
                <a:latin typeface="Poppins" pitchFamily="2" charset="77"/>
                <a:ea typeface="League Spartan" charset="0"/>
                <a:cs typeface="Poppins" pitchFamily="2" charset="77"/>
              </a:rPr>
              <a:t>de</a:t>
            </a:r>
            <a:br>
              <a:rPr lang="en-US" sz="1600" b="1" dirty="0">
                <a:solidFill>
                  <a:schemeClr val="accent2"/>
                </a:solidFill>
                <a:latin typeface="Poppins" pitchFamily="2" charset="77"/>
                <a:ea typeface="League Spartan" charset="0"/>
                <a:cs typeface="Poppins" pitchFamily="2" charset="77"/>
              </a:rPr>
            </a:br>
            <a:r>
              <a:rPr lang="en-US" sz="1600" b="1" dirty="0">
                <a:solidFill>
                  <a:schemeClr val="accent2"/>
                </a:solidFill>
                <a:latin typeface="Poppins" pitchFamily="2" charset="77"/>
                <a:ea typeface="League Spartan" charset="0"/>
                <a:cs typeface="Poppins" pitchFamily="2" charset="77"/>
              </a:rPr>
              <a:t>Ganancias / Pérdidas</a:t>
            </a:r>
            <a:br>
              <a:rPr lang="en-US" sz="1600" b="1" dirty="0">
                <a:solidFill>
                  <a:schemeClr val="accent2"/>
                </a:solidFill>
                <a:latin typeface="Poppins" pitchFamily="2" charset="77"/>
                <a:ea typeface="League Spartan" charset="0"/>
                <a:cs typeface="Poppins" pitchFamily="2" charset="77"/>
              </a:rPr>
            </a:br>
            <a:r>
              <a:rPr lang="en-US" sz="1600" b="1" dirty="0">
                <a:solidFill>
                  <a:schemeClr val="accent2"/>
                </a:solidFill>
                <a:latin typeface="Poppins" pitchFamily="2" charset="77"/>
                <a:ea typeface="League Spartan" charset="0"/>
                <a:cs typeface="Poppins" pitchFamily="2" charset="77"/>
              </a:rPr>
              <a:t>Cuenta de resultados</a:t>
            </a:r>
          </a:p>
        </p:txBody>
      </p:sp>
      <p:sp>
        <p:nvSpPr>
          <p:cNvPr id="102" name="TextBox 35">
            <a:extLst>
              <a:ext uri="{FF2B5EF4-FFF2-40B4-BE49-F238E27FC236}">
                <a16:creationId xmlns:a16="http://schemas.microsoft.com/office/drawing/2014/main" xmlns="" id="{C052CC27-414E-44EE-9A77-8F7CDF8B78F5}"/>
              </a:ext>
            </a:extLst>
          </p:cNvPr>
          <p:cNvSpPr txBox="1"/>
          <p:nvPr/>
        </p:nvSpPr>
        <p:spPr>
          <a:xfrm>
            <a:off x="5828404" y="4851465"/>
            <a:ext cx="1380699" cy="830997"/>
          </a:xfrm>
          <a:prstGeom prst="rect">
            <a:avLst/>
          </a:prstGeom>
          <a:noFill/>
        </p:spPr>
        <p:txBody>
          <a:bodyPr wrap="none" rtlCol="0" anchor="b" anchorCtr="0">
            <a:spAutoFit/>
          </a:bodyPr>
          <a:lstStyle/>
          <a:p>
            <a:pPr algn="ctr"/>
            <a:r>
              <a:rPr lang="en-US" sz="1600" b="1" dirty="0">
                <a:solidFill>
                  <a:schemeClr val="bg1">
                    <a:lumMod val="50000"/>
                  </a:schemeClr>
                </a:solidFill>
                <a:latin typeface="Poppins" pitchFamily="2" charset="77"/>
                <a:ea typeface="League Spartan" charset="0"/>
                <a:cs typeface="Poppins" pitchFamily="2" charset="77"/>
              </a:rPr>
              <a:t>Cambios en </a:t>
            </a:r>
            <a:br>
              <a:rPr lang="en-US" sz="1600" b="1" dirty="0">
                <a:solidFill>
                  <a:schemeClr val="bg1">
                    <a:lumMod val="50000"/>
                  </a:schemeClr>
                </a:solidFill>
                <a:latin typeface="Poppins" pitchFamily="2" charset="77"/>
                <a:ea typeface="League Spartan" charset="0"/>
                <a:cs typeface="Poppins" pitchFamily="2" charset="77"/>
              </a:rPr>
            </a:br>
            <a:r>
              <a:rPr lang="en-US" sz="1600" b="1" dirty="0">
                <a:solidFill>
                  <a:schemeClr val="bg1">
                    <a:lumMod val="50000"/>
                  </a:schemeClr>
                </a:solidFill>
                <a:latin typeface="Poppins" pitchFamily="2" charset="77"/>
                <a:ea typeface="League Spartan" charset="0"/>
                <a:cs typeface="Poppins" pitchFamily="2" charset="77"/>
              </a:rPr>
              <a:t>Balance de situación</a:t>
            </a:r>
            <a:br>
              <a:rPr lang="en-US" sz="1600" b="1" dirty="0">
                <a:solidFill>
                  <a:schemeClr val="bg1">
                    <a:lumMod val="50000"/>
                  </a:schemeClr>
                </a:solidFill>
                <a:latin typeface="Poppins" pitchFamily="2" charset="77"/>
                <a:ea typeface="League Spartan" charset="0"/>
                <a:cs typeface="Poppins" pitchFamily="2" charset="77"/>
              </a:rPr>
            </a:br>
            <a:endParaRPr lang="en-US" sz="1600" b="1" dirty="0">
              <a:solidFill>
                <a:schemeClr val="bg1">
                  <a:lumMod val="50000"/>
                </a:schemeClr>
              </a:solidFill>
              <a:latin typeface="Poppins" pitchFamily="2" charset="77"/>
              <a:ea typeface="League Spartan" charset="0"/>
              <a:cs typeface="Poppins" pitchFamily="2" charset="77"/>
            </a:endParaRPr>
          </a:p>
        </p:txBody>
      </p:sp>
      <p:sp>
        <p:nvSpPr>
          <p:cNvPr id="103" name="TextBox 35">
            <a:extLst>
              <a:ext uri="{FF2B5EF4-FFF2-40B4-BE49-F238E27FC236}">
                <a16:creationId xmlns:a16="http://schemas.microsoft.com/office/drawing/2014/main" xmlns="" id="{318408D4-9A61-40B2-94BD-FD964F95BD07}"/>
              </a:ext>
            </a:extLst>
          </p:cNvPr>
          <p:cNvSpPr txBox="1"/>
          <p:nvPr/>
        </p:nvSpPr>
        <p:spPr>
          <a:xfrm>
            <a:off x="5774758" y="1962846"/>
            <a:ext cx="1173911" cy="584775"/>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Garantía </a:t>
            </a:r>
            <a:br>
              <a:rPr lang="en-US" sz="1600" dirty="0">
                <a:solidFill>
                  <a:schemeClr val="tx2"/>
                </a:solidFill>
                <a:latin typeface="Poppins" pitchFamily="2" charset="77"/>
                <a:ea typeface="League Spartan" charset="0"/>
                <a:cs typeface="Poppins" pitchFamily="2" charset="77"/>
              </a:rPr>
            </a:br>
            <a:r>
              <a:rPr lang="en-US" sz="1600" dirty="0">
                <a:solidFill>
                  <a:schemeClr val="tx2"/>
                </a:solidFill>
                <a:latin typeface="Poppins" pitchFamily="2" charset="77"/>
                <a:ea typeface="League Spartan" charset="0"/>
                <a:cs typeface="Poppins" pitchFamily="2" charset="77"/>
              </a:rPr>
              <a:t>acuerdos</a:t>
            </a:r>
          </a:p>
        </p:txBody>
      </p:sp>
      <p:sp>
        <p:nvSpPr>
          <p:cNvPr id="104" name="TextBox 35">
            <a:extLst>
              <a:ext uri="{FF2B5EF4-FFF2-40B4-BE49-F238E27FC236}">
                <a16:creationId xmlns:a16="http://schemas.microsoft.com/office/drawing/2014/main" xmlns="" id="{70B4A29E-8037-4EE2-9D63-11CF1D211005}"/>
              </a:ext>
            </a:extLst>
          </p:cNvPr>
          <p:cNvSpPr txBox="1"/>
          <p:nvPr/>
        </p:nvSpPr>
        <p:spPr>
          <a:xfrm>
            <a:off x="8913947" y="2681069"/>
            <a:ext cx="665568" cy="338554"/>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Préstamos</a:t>
            </a:r>
          </a:p>
        </p:txBody>
      </p:sp>
      <p:sp>
        <p:nvSpPr>
          <p:cNvPr id="105" name="TextBox 35">
            <a:extLst>
              <a:ext uri="{FF2B5EF4-FFF2-40B4-BE49-F238E27FC236}">
                <a16:creationId xmlns:a16="http://schemas.microsoft.com/office/drawing/2014/main" xmlns="" id="{3AC794CA-AA8F-467F-847C-62A8604F6D10}"/>
              </a:ext>
            </a:extLst>
          </p:cNvPr>
          <p:cNvSpPr txBox="1"/>
          <p:nvPr/>
        </p:nvSpPr>
        <p:spPr>
          <a:xfrm>
            <a:off x="8332252" y="1984956"/>
            <a:ext cx="913520" cy="584775"/>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Pago</a:t>
            </a:r>
            <a:br>
              <a:rPr lang="en-US" sz="1600" dirty="0">
                <a:solidFill>
                  <a:schemeClr val="tx2"/>
                </a:solidFill>
                <a:latin typeface="Poppins" pitchFamily="2" charset="77"/>
                <a:ea typeface="League Spartan" charset="0"/>
                <a:cs typeface="Poppins" pitchFamily="2" charset="77"/>
              </a:rPr>
            </a:br>
            <a:r>
              <a:rPr lang="en-US" sz="1600" dirty="0">
                <a:solidFill>
                  <a:schemeClr val="tx2"/>
                </a:solidFill>
                <a:latin typeface="Poppins" pitchFamily="2" charset="77"/>
                <a:ea typeface="League Spartan" charset="0"/>
                <a:cs typeface="Poppins" pitchFamily="2" charset="77"/>
              </a:rPr>
              <a:t>objetivos</a:t>
            </a:r>
          </a:p>
        </p:txBody>
      </p:sp>
      <p:sp>
        <p:nvSpPr>
          <p:cNvPr id="106" name="TextBox 35">
            <a:extLst>
              <a:ext uri="{FF2B5EF4-FFF2-40B4-BE49-F238E27FC236}">
                <a16:creationId xmlns:a16="http://schemas.microsoft.com/office/drawing/2014/main" xmlns="" id="{6077AAAB-6C6F-41AC-A2C2-4FCA395DCE30}"/>
              </a:ext>
            </a:extLst>
          </p:cNvPr>
          <p:cNvSpPr txBox="1"/>
          <p:nvPr/>
        </p:nvSpPr>
        <p:spPr>
          <a:xfrm>
            <a:off x="8933856" y="3040365"/>
            <a:ext cx="1639809" cy="584775"/>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Intereses</a:t>
            </a:r>
            <a:br>
              <a:rPr lang="en-US" sz="1600" dirty="0">
                <a:solidFill>
                  <a:schemeClr val="tx2"/>
                </a:solidFill>
                <a:latin typeface="Poppins" pitchFamily="2" charset="77"/>
                <a:ea typeface="League Spartan" charset="0"/>
                <a:cs typeface="Poppins" pitchFamily="2" charset="77"/>
              </a:rPr>
            </a:br>
            <a:r>
              <a:rPr lang="en-US" sz="1600" dirty="0">
                <a:solidFill>
                  <a:schemeClr val="tx2"/>
                </a:solidFill>
                <a:latin typeface="Poppins" pitchFamily="2" charset="77"/>
                <a:ea typeface="League Spartan" charset="0"/>
                <a:cs typeface="Poppins" pitchFamily="2" charset="77"/>
              </a:rPr>
              <a:t>(largo/corto plazo)</a:t>
            </a:r>
          </a:p>
        </p:txBody>
      </p:sp>
      <p:sp>
        <p:nvSpPr>
          <p:cNvPr id="107" name="TextBox 35">
            <a:extLst>
              <a:ext uri="{FF2B5EF4-FFF2-40B4-BE49-F238E27FC236}">
                <a16:creationId xmlns:a16="http://schemas.microsoft.com/office/drawing/2014/main" xmlns="" id="{4744A9A4-8AC4-46A6-A784-861EFD07F2F9}"/>
              </a:ext>
            </a:extLst>
          </p:cNvPr>
          <p:cNvSpPr txBox="1"/>
          <p:nvPr/>
        </p:nvSpPr>
        <p:spPr>
          <a:xfrm>
            <a:off x="9479062" y="4271622"/>
            <a:ext cx="1010598" cy="338554"/>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Personal</a:t>
            </a:r>
          </a:p>
        </p:txBody>
      </p:sp>
      <p:sp>
        <p:nvSpPr>
          <p:cNvPr id="108" name="TextBox 35">
            <a:extLst>
              <a:ext uri="{FF2B5EF4-FFF2-40B4-BE49-F238E27FC236}">
                <a16:creationId xmlns:a16="http://schemas.microsoft.com/office/drawing/2014/main" xmlns="" id="{8EAB3F3E-2F7F-4ED6-9B87-30E73612FAA7}"/>
              </a:ext>
            </a:extLst>
          </p:cNvPr>
          <p:cNvSpPr txBox="1"/>
          <p:nvPr/>
        </p:nvSpPr>
        <p:spPr>
          <a:xfrm>
            <a:off x="5355376" y="2888839"/>
            <a:ext cx="1158202" cy="338554"/>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Líneas de crédito</a:t>
            </a:r>
          </a:p>
        </p:txBody>
      </p:sp>
      <p:sp>
        <p:nvSpPr>
          <p:cNvPr id="109" name="TextBox 35">
            <a:extLst>
              <a:ext uri="{FF2B5EF4-FFF2-40B4-BE49-F238E27FC236}">
                <a16:creationId xmlns:a16="http://schemas.microsoft.com/office/drawing/2014/main" xmlns="" id="{EA1FDA2C-E256-484F-8B31-C3222332BA30}"/>
              </a:ext>
            </a:extLst>
          </p:cNvPr>
          <p:cNvSpPr txBox="1"/>
          <p:nvPr/>
        </p:nvSpPr>
        <p:spPr>
          <a:xfrm>
            <a:off x="9801076" y="4768793"/>
            <a:ext cx="1186543" cy="584775"/>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La producción y el </a:t>
            </a:r>
            <a:br>
              <a:rPr lang="en-US" sz="1600" dirty="0">
                <a:solidFill>
                  <a:schemeClr val="tx2"/>
                </a:solidFill>
                <a:latin typeface="Poppins" pitchFamily="2" charset="77"/>
                <a:ea typeface="League Spartan" charset="0"/>
                <a:cs typeface="Poppins" pitchFamily="2" charset="77"/>
              </a:rPr>
            </a:br>
            <a:r>
              <a:rPr lang="en-US" sz="1600" dirty="0">
                <a:solidFill>
                  <a:schemeClr val="tx2"/>
                </a:solidFill>
                <a:latin typeface="Poppins" pitchFamily="2" charset="77"/>
                <a:ea typeface="League Spartan" charset="0"/>
                <a:cs typeface="Poppins" pitchFamily="2" charset="77"/>
              </a:rPr>
              <a:t>beneficio bruto</a:t>
            </a:r>
          </a:p>
        </p:txBody>
      </p:sp>
      <p:sp>
        <p:nvSpPr>
          <p:cNvPr id="110" name="TextBox 35">
            <a:extLst>
              <a:ext uri="{FF2B5EF4-FFF2-40B4-BE49-F238E27FC236}">
                <a16:creationId xmlns:a16="http://schemas.microsoft.com/office/drawing/2014/main" xmlns="" id="{66ECA8CB-E40F-470C-A49A-76ACABC7E6B1}"/>
              </a:ext>
            </a:extLst>
          </p:cNvPr>
          <p:cNvSpPr txBox="1"/>
          <p:nvPr/>
        </p:nvSpPr>
        <p:spPr>
          <a:xfrm>
            <a:off x="9782365" y="5638601"/>
            <a:ext cx="978409" cy="338554"/>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Contratos</a:t>
            </a:r>
          </a:p>
        </p:txBody>
      </p:sp>
      <p:sp>
        <p:nvSpPr>
          <p:cNvPr id="111" name="TextBox 35">
            <a:extLst>
              <a:ext uri="{FF2B5EF4-FFF2-40B4-BE49-F238E27FC236}">
                <a16:creationId xmlns:a16="http://schemas.microsoft.com/office/drawing/2014/main" xmlns="" id="{0C89E7C0-182C-404B-9454-B71D6F489831}"/>
              </a:ext>
            </a:extLst>
          </p:cNvPr>
          <p:cNvSpPr txBox="1"/>
          <p:nvPr/>
        </p:nvSpPr>
        <p:spPr>
          <a:xfrm>
            <a:off x="9152318" y="5965319"/>
            <a:ext cx="629403" cy="338554"/>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Impuestos</a:t>
            </a:r>
          </a:p>
        </p:txBody>
      </p:sp>
      <p:sp>
        <p:nvSpPr>
          <p:cNvPr id="112" name="TextBox 35">
            <a:extLst>
              <a:ext uri="{FF2B5EF4-FFF2-40B4-BE49-F238E27FC236}">
                <a16:creationId xmlns:a16="http://schemas.microsoft.com/office/drawing/2014/main" xmlns="" id="{371C5938-9B5D-49E4-A68A-2D02D9397766}"/>
              </a:ext>
            </a:extLst>
          </p:cNvPr>
          <p:cNvSpPr txBox="1"/>
          <p:nvPr/>
        </p:nvSpPr>
        <p:spPr>
          <a:xfrm>
            <a:off x="8198945" y="5976448"/>
            <a:ext cx="887487" cy="338554"/>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Material</a:t>
            </a:r>
          </a:p>
        </p:txBody>
      </p:sp>
      <p:sp>
        <p:nvSpPr>
          <p:cNvPr id="113" name="TextBox 35">
            <a:extLst>
              <a:ext uri="{FF2B5EF4-FFF2-40B4-BE49-F238E27FC236}">
                <a16:creationId xmlns:a16="http://schemas.microsoft.com/office/drawing/2014/main" xmlns="" id="{54DA122E-6EFC-4230-AE94-0D5A8D6F16C6}"/>
              </a:ext>
            </a:extLst>
          </p:cNvPr>
          <p:cNvSpPr txBox="1"/>
          <p:nvPr/>
        </p:nvSpPr>
        <p:spPr>
          <a:xfrm>
            <a:off x="7001117" y="5974086"/>
            <a:ext cx="1317669" cy="830997"/>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Depreciación</a:t>
            </a:r>
            <a:br>
              <a:rPr lang="en-US" sz="1600" dirty="0">
                <a:solidFill>
                  <a:schemeClr val="tx2"/>
                </a:solidFill>
                <a:latin typeface="Poppins" pitchFamily="2" charset="77"/>
                <a:ea typeface="League Spartan" charset="0"/>
                <a:cs typeface="Poppins" pitchFamily="2" charset="77"/>
              </a:rPr>
            </a:br>
            <a:r>
              <a:rPr lang="en-US" sz="1600" dirty="0">
                <a:solidFill>
                  <a:schemeClr val="tx2"/>
                </a:solidFill>
                <a:latin typeface="Poppins" pitchFamily="2" charset="77"/>
                <a:ea typeface="League Spartan" charset="0"/>
                <a:cs typeface="Poppins" pitchFamily="2" charset="77"/>
              </a:rPr>
              <a:t>y</a:t>
            </a:r>
            <a:br>
              <a:rPr lang="en-US" sz="1600" dirty="0">
                <a:solidFill>
                  <a:schemeClr val="tx2"/>
                </a:solidFill>
                <a:latin typeface="Poppins" pitchFamily="2" charset="77"/>
                <a:ea typeface="League Spartan" charset="0"/>
                <a:cs typeface="Poppins" pitchFamily="2" charset="77"/>
              </a:rPr>
            </a:br>
            <a:r>
              <a:rPr lang="en-US" sz="1600" dirty="0" err="1">
                <a:solidFill>
                  <a:schemeClr val="tx2"/>
                </a:solidFill>
                <a:latin typeface="Poppins" pitchFamily="2" charset="77"/>
                <a:ea typeface="League Spartan" charset="0"/>
                <a:cs typeface="Poppins" pitchFamily="2" charset="77"/>
              </a:rPr>
              <a:t> Amortización</a:t>
            </a:r>
            <a:endParaRPr lang="en-US" sz="1600" dirty="0">
              <a:solidFill>
                <a:schemeClr val="tx2"/>
              </a:solidFill>
              <a:latin typeface="Poppins" pitchFamily="2" charset="77"/>
              <a:ea typeface="League Spartan" charset="0"/>
              <a:cs typeface="Poppins" pitchFamily="2" charset="77"/>
            </a:endParaRPr>
          </a:p>
        </p:txBody>
      </p:sp>
      <p:sp>
        <p:nvSpPr>
          <p:cNvPr id="114" name="TextBox 35">
            <a:extLst>
              <a:ext uri="{FF2B5EF4-FFF2-40B4-BE49-F238E27FC236}">
                <a16:creationId xmlns:a16="http://schemas.microsoft.com/office/drawing/2014/main" xmlns="" id="{020F18B5-9864-4AA1-9741-33FF5BD2D559}"/>
              </a:ext>
            </a:extLst>
          </p:cNvPr>
          <p:cNvSpPr txBox="1"/>
          <p:nvPr/>
        </p:nvSpPr>
        <p:spPr>
          <a:xfrm>
            <a:off x="5392418" y="6035421"/>
            <a:ext cx="1425391" cy="584775"/>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Inversión / </a:t>
            </a:r>
            <a:br>
              <a:rPr lang="en-US" sz="1600" dirty="0">
                <a:solidFill>
                  <a:schemeClr val="tx2"/>
                </a:solidFill>
                <a:latin typeface="Poppins" pitchFamily="2" charset="77"/>
                <a:ea typeface="League Spartan" charset="0"/>
                <a:cs typeface="Poppins" pitchFamily="2" charset="77"/>
              </a:rPr>
            </a:br>
            <a:r>
              <a:rPr lang="en-US" sz="1600" dirty="0" err="1">
                <a:solidFill>
                  <a:schemeClr val="tx2"/>
                </a:solidFill>
                <a:latin typeface="Poppins" pitchFamily="2" charset="77"/>
                <a:ea typeface="League Spartan" charset="0"/>
                <a:cs typeface="Poppins" pitchFamily="2" charset="77"/>
              </a:rPr>
              <a:t>Desinversión</a:t>
            </a:r>
            <a:endParaRPr lang="en-US" sz="1600" dirty="0">
              <a:solidFill>
                <a:schemeClr val="tx2"/>
              </a:solidFill>
              <a:latin typeface="Poppins" pitchFamily="2" charset="77"/>
              <a:ea typeface="League Spartan" charset="0"/>
              <a:cs typeface="Poppins" pitchFamily="2" charset="77"/>
            </a:endParaRPr>
          </a:p>
        </p:txBody>
      </p:sp>
      <p:sp>
        <p:nvSpPr>
          <p:cNvPr id="115" name="TextBox 35">
            <a:extLst>
              <a:ext uri="{FF2B5EF4-FFF2-40B4-BE49-F238E27FC236}">
                <a16:creationId xmlns:a16="http://schemas.microsoft.com/office/drawing/2014/main" xmlns="" id="{F268F469-D081-44C4-B2AA-5CDD99B51C2A}"/>
              </a:ext>
            </a:extLst>
          </p:cNvPr>
          <p:cNvSpPr txBox="1"/>
          <p:nvPr/>
        </p:nvSpPr>
        <p:spPr>
          <a:xfrm>
            <a:off x="3975939" y="4532434"/>
            <a:ext cx="1500860" cy="584775"/>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Capital de trabajo</a:t>
            </a:r>
            <a:br>
              <a:rPr lang="en-US" sz="1600" dirty="0">
                <a:solidFill>
                  <a:schemeClr val="tx2"/>
                </a:solidFill>
                <a:latin typeface="Poppins" pitchFamily="2" charset="77"/>
                <a:ea typeface="League Spartan" charset="0"/>
                <a:cs typeface="Poppins" pitchFamily="2" charset="77"/>
              </a:rPr>
            </a:br>
            <a:r>
              <a:rPr lang="en-US" sz="1600" dirty="0">
                <a:solidFill>
                  <a:schemeClr val="tx2"/>
                </a:solidFill>
                <a:latin typeface="Poppins" pitchFamily="2" charset="77"/>
                <a:ea typeface="League Spartan" charset="0"/>
                <a:cs typeface="Poppins" pitchFamily="2" charset="77"/>
              </a:rPr>
              <a:t>Desarrollo</a:t>
            </a:r>
          </a:p>
        </p:txBody>
      </p:sp>
      <p:sp>
        <p:nvSpPr>
          <p:cNvPr id="116" name="TextBox 35">
            <a:extLst>
              <a:ext uri="{FF2B5EF4-FFF2-40B4-BE49-F238E27FC236}">
                <a16:creationId xmlns:a16="http://schemas.microsoft.com/office/drawing/2014/main" xmlns="" id="{7499E1F9-F85E-467B-B487-835BC3AF8BBF}"/>
              </a:ext>
            </a:extLst>
          </p:cNvPr>
          <p:cNvSpPr txBox="1"/>
          <p:nvPr/>
        </p:nvSpPr>
        <p:spPr>
          <a:xfrm>
            <a:off x="4780909" y="3301100"/>
            <a:ext cx="1590565" cy="584775"/>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Retiradas e</a:t>
            </a:r>
            <a:br>
              <a:rPr lang="en-US" sz="1600" dirty="0">
                <a:solidFill>
                  <a:schemeClr val="tx2"/>
                </a:solidFill>
                <a:latin typeface="Poppins" pitchFamily="2" charset="77"/>
                <a:ea typeface="League Spartan" charset="0"/>
                <a:cs typeface="Poppins" pitchFamily="2" charset="77"/>
              </a:rPr>
            </a:br>
            <a:r>
              <a:rPr lang="en-US" sz="1600" dirty="0">
                <a:solidFill>
                  <a:schemeClr val="tx2"/>
                </a:solidFill>
                <a:latin typeface="Poppins" pitchFamily="2" charset="77"/>
                <a:ea typeface="League Spartan" charset="0"/>
                <a:cs typeface="Poppins" pitchFamily="2" charset="77"/>
              </a:rPr>
              <a:t>inserciones</a:t>
            </a:r>
          </a:p>
        </p:txBody>
      </p:sp>
      <p:sp>
        <p:nvSpPr>
          <p:cNvPr id="117" name="TextBox 35">
            <a:extLst>
              <a:ext uri="{FF2B5EF4-FFF2-40B4-BE49-F238E27FC236}">
                <a16:creationId xmlns:a16="http://schemas.microsoft.com/office/drawing/2014/main" xmlns="" id="{9B6E41B4-4AA6-484F-97E5-FF927B991270}"/>
              </a:ext>
            </a:extLst>
          </p:cNvPr>
          <p:cNvSpPr txBox="1"/>
          <p:nvPr/>
        </p:nvSpPr>
        <p:spPr>
          <a:xfrm>
            <a:off x="4527174" y="4102345"/>
            <a:ext cx="981102" cy="338554"/>
          </a:xfrm>
          <a:prstGeom prst="rect">
            <a:avLst/>
          </a:prstGeom>
          <a:noFill/>
        </p:spPr>
        <p:txBody>
          <a:bodyPr wrap="none" rtlCol="0" anchor="b" anchorCtr="0">
            <a:spAutoFit/>
          </a:bodyPr>
          <a:lstStyle/>
          <a:p>
            <a:pPr algn="ctr"/>
            <a:r>
              <a:rPr lang="en-US" sz="1600" dirty="0">
                <a:solidFill>
                  <a:schemeClr val="tx2"/>
                </a:solidFill>
                <a:latin typeface="Poppins" pitchFamily="2" charset="77"/>
                <a:ea typeface="League Spartan" charset="0"/>
                <a:cs typeface="Poppins" pitchFamily="2" charset="77"/>
              </a:rPr>
              <a:t>Inventario</a:t>
            </a:r>
          </a:p>
        </p:txBody>
      </p:sp>
      <p:sp>
        <p:nvSpPr>
          <p:cNvPr id="7" name="Ellipse 6">
            <a:extLst>
              <a:ext uri="{FF2B5EF4-FFF2-40B4-BE49-F238E27FC236}">
                <a16:creationId xmlns:a16="http://schemas.microsoft.com/office/drawing/2014/main" xmlns="" id="{9A5EB4DB-A17A-4587-9CC8-7E8A8270C411}"/>
              </a:ext>
            </a:extLst>
          </p:cNvPr>
          <p:cNvSpPr/>
          <p:nvPr/>
        </p:nvSpPr>
        <p:spPr>
          <a:xfrm>
            <a:off x="6915581" y="3671811"/>
            <a:ext cx="1440000" cy="1440000"/>
          </a:xfrm>
          <a:prstGeom prst="ellipse">
            <a:avLst/>
          </a:prstGeom>
          <a:solidFill>
            <a:schemeClr val="bg1">
              <a:lumMod val="50000"/>
              <a:alpha val="8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Planificación</a:t>
            </a:r>
            <a:br>
              <a:rPr lang="en-GB" sz="1600" dirty="0">
                <a:solidFill>
                  <a:schemeClr val="bg1"/>
                </a:solidFill>
              </a:rPr>
            </a:br>
            <a:r>
              <a:rPr lang="en-GB" sz="1600" dirty="0">
                <a:solidFill>
                  <a:schemeClr val="bg1"/>
                </a:solidFill>
              </a:rPr>
              <a:t>Factores</a:t>
            </a:r>
          </a:p>
        </p:txBody>
      </p:sp>
    </p:spTree>
    <p:extLst>
      <p:ext uri="{BB962C8B-B14F-4D97-AF65-F5344CB8AC3E}">
        <p14:creationId xmlns:p14="http://schemas.microsoft.com/office/powerpoint/2010/main" val="2372930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753" y="688478"/>
            <a:ext cx="10052247" cy="697353"/>
          </a:xfrm>
        </p:spPr>
        <p:txBody>
          <a:bodyPr>
            <a:noAutofit/>
          </a:bodyPr>
          <a:lstStyle/>
          <a:p>
            <a:r>
              <a:rPr lang="en-GB" sz="2800"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83127" y="1774243"/>
            <a:ext cx="3637274" cy="49914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1600" dirty="0">
                <a:solidFill>
                  <a:srgbClr val="245473"/>
                </a:solidFill>
                <a:latin typeface="+mj-lt"/>
                <a:ea typeface="Open Sans Light" panose="020B0306030504020204" pitchFamily="34" charset="0"/>
                <a:cs typeface="Open Sans Light" panose="020B0306030504020204" pitchFamily="34" charset="0"/>
              </a:rPr>
              <a:t>En la planificación integrada, todos los procesos y operaciones de la planificación empresarial se representan en un sistema cerrado. Incluye la </a:t>
            </a:r>
            <a:r>
              <a:rPr lang="en-US" sz="1600" b="1" dirty="0">
                <a:solidFill>
                  <a:srgbClr val="245473"/>
                </a:solidFill>
                <a:latin typeface="+mj-lt"/>
                <a:ea typeface="Open Sans Light" panose="020B0306030504020204" pitchFamily="34" charset="0"/>
                <a:cs typeface="Open Sans Light" panose="020B0306030504020204" pitchFamily="34" charset="0"/>
              </a:rPr>
              <a:t>cuenta de resultados</a:t>
            </a:r>
            <a:r>
              <a:rPr lang="en-US" sz="1600" dirty="0">
                <a:solidFill>
                  <a:srgbClr val="245473"/>
                </a:solidFill>
                <a:latin typeface="+mj-lt"/>
                <a:ea typeface="Open Sans Light" panose="020B0306030504020204" pitchFamily="34" charset="0"/>
                <a:cs typeface="Open Sans Light" panose="020B0306030504020204" pitchFamily="34" charset="0"/>
              </a:rPr>
              <a:t>, el </a:t>
            </a:r>
            <a:r>
              <a:rPr lang="en-US" sz="1600" b="1" dirty="0">
                <a:solidFill>
                  <a:srgbClr val="245473"/>
                </a:solidFill>
                <a:latin typeface="+mj-lt"/>
                <a:ea typeface="Open Sans Light" panose="020B0306030504020204" pitchFamily="34" charset="0"/>
                <a:cs typeface="Open Sans Light" panose="020B0306030504020204" pitchFamily="34" charset="0"/>
              </a:rPr>
              <a:t>balance </a:t>
            </a:r>
            <a:r>
              <a:rPr lang="en-US" sz="1600" dirty="0">
                <a:solidFill>
                  <a:srgbClr val="245473"/>
                </a:solidFill>
                <a:latin typeface="+mj-lt"/>
                <a:ea typeface="Open Sans Light" panose="020B0306030504020204" pitchFamily="34" charset="0"/>
                <a:cs typeface="Open Sans Light" panose="020B0306030504020204" pitchFamily="34" charset="0"/>
              </a:rPr>
              <a:t>y el </a:t>
            </a:r>
            <a:r>
              <a:rPr lang="en-US" sz="1600" b="1" dirty="0">
                <a:solidFill>
                  <a:srgbClr val="245473"/>
                </a:solidFill>
                <a:latin typeface="+mj-lt"/>
                <a:ea typeface="Open Sans Light" panose="020B0306030504020204" pitchFamily="34" charset="0"/>
                <a:cs typeface="Open Sans Light" panose="020B0306030504020204" pitchFamily="34" charset="0"/>
              </a:rPr>
              <a:t>estado de flujos de caja, </a:t>
            </a:r>
            <a:r>
              <a:rPr lang="en-US" sz="1600" dirty="0">
                <a:solidFill>
                  <a:srgbClr val="245473"/>
                </a:solidFill>
                <a:latin typeface="+mj-lt"/>
                <a:ea typeface="Open Sans Light" panose="020B0306030504020204" pitchFamily="34" charset="0"/>
                <a:cs typeface="Open Sans Light" panose="020B0306030504020204" pitchFamily="34" charset="0"/>
              </a:rPr>
              <a:t>y </a:t>
            </a:r>
            <a:r>
              <a:rPr lang="en-US" sz="1600" b="1" dirty="0">
                <a:solidFill>
                  <a:srgbClr val="245473"/>
                </a:solidFill>
                <a:latin typeface="+mj-lt"/>
                <a:ea typeface="Open Sans Light" panose="020B0306030504020204" pitchFamily="34" charset="0"/>
                <a:cs typeface="Open Sans Light" panose="020B0306030504020204" pitchFamily="34" charset="0"/>
              </a:rPr>
              <a:t>mapea la planificación de ingresos</a:t>
            </a:r>
            <a:r>
              <a:rPr lang="en-US" sz="1600" dirty="0">
                <a:solidFill>
                  <a:srgbClr val="245473"/>
                </a:solidFill>
                <a:latin typeface="+mj-lt"/>
                <a:ea typeface="Open Sans Light" panose="020B0306030504020204" pitchFamily="34" charset="0"/>
                <a:cs typeface="Open Sans Light" panose="020B0306030504020204" pitchFamily="34" charset="0"/>
              </a:rPr>
              <a:t>, </a:t>
            </a:r>
            <a:r>
              <a:rPr lang="en-US" sz="1600" b="1" dirty="0">
                <a:solidFill>
                  <a:srgbClr val="245473"/>
                </a:solidFill>
                <a:latin typeface="+mj-lt"/>
                <a:ea typeface="Open Sans Light" panose="020B0306030504020204" pitchFamily="34" charset="0"/>
                <a:cs typeface="Open Sans Light" panose="020B0306030504020204" pitchFamily="34" charset="0"/>
              </a:rPr>
              <a:t>financiera </a:t>
            </a:r>
            <a:r>
              <a:rPr lang="en-US" sz="1600" dirty="0">
                <a:solidFill>
                  <a:srgbClr val="245473"/>
                </a:solidFill>
                <a:latin typeface="+mj-lt"/>
                <a:ea typeface="Open Sans Light" panose="020B0306030504020204" pitchFamily="34" charset="0"/>
                <a:cs typeface="Open Sans Light" panose="020B0306030504020204" pitchFamily="34" charset="0"/>
              </a:rPr>
              <a:t>y </a:t>
            </a:r>
            <a:r>
              <a:rPr lang="en-US" sz="1600" b="1" dirty="0">
                <a:solidFill>
                  <a:srgbClr val="245473"/>
                </a:solidFill>
                <a:latin typeface="+mj-lt"/>
                <a:ea typeface="Open Sans Light" panose="020B0306030504020204" pitchFamily="34" charset="0"/>
                <a:cs typeface="Open Sans Light" panose="020B0306030504020204" pitchFamily="34" charset="0"/>
              </a:rPr>
              <a:t>de balance</a:t>
            </a:r>
            <a:r>
              <a:rPr lang="en-US" sz="1600" dirty="0">
                <a:solidFill>
                  <a:srgbClr val="245473"/>
                </a:solidFill>
                <a:latin typeface="+mj-lt"/>
                <a:ea typeface="Open Sans Light" panose="020B0306030504020204" pitchFamily="34" charset="0"/>
                <a:cs typeface="Open Sans Light" panose="020B0306030504020204" pitchFamily="34" charset="0"/>
              </a:rPr>
              <a:t>.</a:t>
            </a:r>
          </a:p>
          <a:p>
            <a:pPr algn="l">
              <a:lnSpc>
                <a:spcPct val="100000"/>
              </a:lnSpc>
              <a:spcBef>
                <a:spcPts val="600"/>
              </a:spcBef>
            </a:pPr>
            <a:r>
              <a:rPr lang="en-US" sz="1600" dirty="0">
                <a:solidFill>
                  <a:srgbClr val="245473"/>
                </a:solidFill>
                <a:latin typeface="+mj-lt"/>
                <a:ea typeface="Open Sans Light" panose="020B0306030504020204" pitchFamily="34" charset="0"/>
                <a:cs typeface="Open Sans Light" panose="020B0306030504020204" pitchFamily="34" charset="0"/>
              </a:rPr>
              <a:t>La planificación financiera es una parte importante del concepto de reestructuración. Una prueba aritmética sirve para demostrar la viabilidad financiera de las medidas de reestructuración previstas.</a:t>
            </a:r>
          </a:p>
          <a:p>
            <a:pPr algn="l">
              <a:lnSpc>
                <a:spcPct val="100000"/>
              </a:lnSpc>
              <a:spcBef>
                <a:spcPts val="600"/>
              </a:spcBef>
            </a:pPr>
            <a:r>
              <a:rPr lang="en-US" sz="1600" dirty="0">
                <a:solidFill>
                  <a:srgbClr val="245473"/>
                </a:solidFill>
                <a:latin typeface="+mj-lt"/>
                <a:ea typeface="Open Sans Light" panose="020B0306030504020204" pitchFamily="34" charset="0"/>
                <a:cs typeface="Open Sans Light" panose="020B0306030504020204" pitchFamily="34" charset="0"/>
              </a:rPr>
              <a:t>A partir de la situación real y de las áreas de problemas y pérdidas identificadas, los efectos de las medidas deben cuantificarse y combinarse en un plan empresarial integrado.</a:t>
            </a:r>
          </a:p>
          <a:p>
            <a:pPr algn="l">
              <a:lnSpc>
                <a:spcPct val="100000"/>
              </a:lnSpc>
              <a:spcBef>
                <a:spcPts val="600"/>
              </a:spcBef>
            </a:pPr>
            <a:r>
              <a:rPr lang="en-US" sz="1600" dirty="0">
                <a:solidFill>
                  <a:srgbClr val="245473"/>
                </a:solidFill>
                <a:latin typeface="+mj-lt"/>
                <a:ea typeface="Open Sans Light" panose="020B0306030504020204" pitchFamily="34" charset="0"/>
                <a:cs typeface="Open Sans Light" panose="020B0306030504020204" pitchFamily="34" charset="0"/>
              </a:rPr>
              <a:t>Además, hay que definir indicadores adecuados para comprobar la plausibilidad del concepto de reestructuración.</a:t>
            </a:r>
          </a:p>
        </p:txBody>
      </p:sp>
      <p:sp>
        <p:nvSpPr>
          <p:cNvPr id="5" name="Rechteck 4">
            <a:extLst>
              <a:ext uri="{FF2B5EF4-FFF2-40B4-BE49-F238E27FC236}">
                <a16:creationId xmlns:a16="http://schemas.microsoft.com/office/drawing/2014/main" xmlns="" id="{CF6E12EC-3064-424E-99AB-27EF93034598}"/>
              </a:ext>
            </a:extLst>
          </p:cNvPr>
          <p:cNvSpPr/>
          <p:nvPr/>
        </p:nvSpPr>
        <p:spPr>
          <a:xfrm>
            <a:off x="3697973" y="1929944"/>
            <a:ext cx="2409830" cy="5953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bg1"/>
                </a:solidFill>
              </a:rPr>
              <a:t>Cuenta de pérdidas y ganancias</a:t>
            </a:r>
          </a:p>
        </p:txBody>
      </p:sp>
      <p:sp>
        <p:nvSpPr>
          <p:cNvPr id="6" name="Rechteck 5">
            <a:extLst>
              <a:ext uri="{FF2B5EF4-FFF2-40B4-BE49-F238E27FC236}">
                <a16:creationId xmlns:a16="http://schemas.microsoft.com/office/drawing/2014/main" xmlns="" id="{7AFD10B8-A55E-493C-B803-0909E20D1ADC}"/>
              </a:ext>
            </a:extLst>
          </p:cNvPr>
          <p:cNvSpPr/>
          <p:nvPr/>
        </p:nvSpPr>
        <p:spPr>
          <a:xfrm>
            <a:off x="3697973" y="2647166"/>
            <a:ext cx="2409829" cy="3535687"/>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a:solidFill>
                <a:schemeClr val="tx1"/>
              </a:solidFill>
            </a:endParaRPr>
          </a:p>
        </p:txBody>
      </p:sp>
      <p:cxnSp>
        <p:nvCxnSpPr>
          <p:cNvPr id="7" name="Gerade Verbindung mit Pfeil 6">
            <a:extLst>
              <a:ext uri="{FF2B5EF4-FFF2-40B4-BE49-F238E27FC236}">
                <a16:creationId xmlns:a16="http://schemas.microsoft.com/office/drawing/2014/main" xmlns="" id="{603779D5-5B18-48BC-94DA-0EF1783FE7BF}"/>
              </a:ext>
            </a:extLst>
          </p:cNvPr>
          <p:cNvCxnSpPr>
            <a:cxnSpLocks/>
            <a:stCxn id="12" idx="1"/>
            <a:endCxn id="35" idx="3"/>
          </p:cNvCxnSpPr>
          <p:nvPr/>
        </p:nvCxnSpPr>
        <p:spPr>
          <a:xfrm flipH="1">
            <a:off x="6017274" y="2838671"/>
            <a:ext cx="444659" cy="7773"/>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xmlns="" id="{A5EC3197-DC2C-4E82-858E-870868436FA4}"/>
              </a:ext>
            </a:extLst>
          </p:cNvPr>
          <p:cNvSpPr/>
          <p:nvPr/>
        </p:nvSpPr>
        <p:spPr>
          <a:xfrm>
            <a:off x="9505023" y="1929944"/>
            <a:ext cx="2409830" cy="5953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bg1"/>
                </a:solidFill>
              </a:rPr>
              <a:t>Planificación del balance</a:t>
            </a:r>
          </a:p>
        </p:txBody>
      </p:sp>
      <p:sp>
        <p:nvSpPr>
          <p:cNvPr id="9" name="Rechteck 8">
            <a:extLst>
              <a:ext uri="{FF2B5EF4-FFF2-40B4-BE49-F238E27FC236}">
                <a16:creationId xmlns:a16="http://schemas.microsoft.com/office/drawing/2014/main" xmlns="" id="{7926C7F8-FD8D-412D-934E-84DD69B312B5}"/>
              </a:ext>
            </a:extLst>
          </p:cNvPr>
          <p:cNvSpPr/>
          <p:nvPr/>
        </p:nvSpPr>
        <p:spPr>
          <a:xfrm>
            <a:off x="9505023" y="2647166"/>
            <a:ext cx="2409829" cy="3535688"/>
          </a:xfrm>
          <a:prstGeom prst="rect">
            <a:avLst/>
          </a:pr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000" dirty="0">
              <a:solidFill>
                <a:schemeClr val="tx1"/>
              </a:solidFill>
            </a:endParaRPr>
          </a:p>
        </p:txBody>
      </p:sp>
      <p:sp>
        <p:nvSpPr>
          <p:cNvPr id="11" name="Rechteck 10">
            <a:extLst>
              <a:ext uri="{FF2B5EF4-FFF2-40B4-BE49-F238E27FC236}">
                <a16:creationId xmlns:a16="http://schemas.microsoft.com/office/drawing/2014/main" xmlns="" id="{3A5594C2-1E3E-4291-9129-C3A085C3DA8E}"/>
              </a:ext>
            </a:extLst>
          </p:cNvPr>
          <p:cNvSpPr/>
          <p:nvPr/>
        </p:nvSpPr>
        <p:spPr>
          <a:xfrm>
            <a:off x="6461933" y="1929944"/>
            <a:ext cx="2409830" cy="5953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400" dirty="0">
                <a:solidFill>
                  <a:schemeClr val="bg1"/>
                </a:solidFill>
              </a:rPr>
              <a:t>Creación y coordinación de subplanes</a:t>
            </a:r>
            <a:endParaRPr lang="de-DE" sz="1400" dirty="0">
              <a:solidFill>
                <a:schemeClr val="bg1"/>
              </a:solidFill>
            </a:endParaRPr>
          </a:p>
        </p:txBody>
      </p:sp>
      <p:sp>
        <p:nvSpPr>
          <p:cNvPr id="12" name="Rechteck 11">
            <a:extLst>
              <a:ext uri="{FF2B5EF4-FFF2-40B4-BE49-F238E27FC236}">
                <a16:creationId xmlns:a16="http://schemas.microsoft.com/office/drawing/2014/main" xmlns="" id="{4CA5A7F4-79DA-4F54-9C1A-80DB48EE45CC}"/>
              </a:ext>
            </a:extLst>
          </p:cNvPr>
          <p:cNvSpPr/>
          <p:nvPr/>
        </p:nvSpPr>
        <p:spPr>
          <a:xfrm>
            <a:off x="6461933" y="2733403"/>
            <a:ext cx="1536661" cy="210536"/>
          </a:xfrm>
          <a:prstGeom prst="rect">
            <a:avLst/>
          </a:prstGeom>
          <a:solidFill>
            <a:schemeClr val="bg1"/>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300" dirty="0">
                <a:solidFill>
                  <a:schemeClr val="tx1"/>
                </a:solidFill>
              </a:rPr>
              <a:t>Ingresos</a:t>
            </a:r>
            <a:endParaRPr lang="de-DE" sz="1300" dirty="0">
              <a:solidFill>
                <a:schemeClr val="tx1"/>
              </a:solidFill>
              <a:cs typeface="Calibri"/>
            </a:endParaRPr>
          </a:p>
        </p:txBody>
      </p:sp>
      <p:sp>
        <p:nvSpPr>
          <p:cNvPr id="13" name="Rechteck 12">
            <a:extLst>
              <a:ext uri="{FF2B5EF4-FFF2-40B4-BE49-F238E27FC236}">
                <a16:creationId xmlns:a16="http://schemas.microsoft.com/office/drawing/2014/main" xmlns="" id="{3D92640E-971F-4EF2-A920-262094760C77}"/>
              </a:ext>
            </a:extLst>
          </p:cNvPr>
          <p:cNvSpPr/>
          <p:nvPr/>
        </p:nvSpPr>
        <p:spPr>
          <a:xfrm>
            <a:off x="6461627" y="4637637"/>
            <a:ext cx="2409830" cy="595312"/>
          </a:xfrm>
          <a:prstGeom prst="rect">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bg1"/>
                </a:solidFill>
              </a:rPr>
              <a:t>Planificación de </a:t>
            </a:r>
            <a:r>
              <a:rPr lang="de-DE" sz="1400" dirty="0" err="1">
                <a:solidFill>
                  <a:schemeClr val="bg1"/>
                </a:solidFill>
              </a:rPr>
              <a:t>la liquidez</a:t>
            </a:r>
          </a:p>
        </p:txBody>
      </p:sp>
      <p:sp>
        <p:nvSpPr>
          <p:cNvPr id="14" name="Rechteck 13">
            <a:extLst>
              <a:ext uri="{FF2B5EF4-FFF2-40B4-BE49-F238E27FC236}">
                <a16:creationId xmlns:a16="http://schemas.microsoft.com/office/drawing/2014/main" xmlns="" id="{A6B27BEF-B0BE-46C8-9F9C-DA90B7BA119B}"/>
              </a:ext>
            </a:extLst>
          </p:cNvPr>
          <p:cNvSpPr/>
          <p:nvPr/>
        </p:nvSpPr>
        <p:spPr>
          <a:xfrm>
            <a:off x="6462084" y="5288872"/>
            <a:ext cx="2409829" cy="904357"/>
          </a:xfrm>
          <a:prstGeom prst="rect">
            <a:avLst/>
          </a:prstGeom>
          <a:solidFill>
            <a:schemeClr val="bg1"/>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71450" indent="-171450">
              <a:buFont typeface="Arial" panose="020B0604020202020204" pitchFamily="34" charset="0"/>
              <a:buChar char="•"/>
            </a:pPr>
            <a:r>
              <a:rPr lang="en-US" sz="1400" dirty="0">
                <a:solidFill>
                  <a:schemeClr val="tx1"/>
                </a:solidFill>
              </a:rPr>
              <a:t>Planificación de la tesorería</a:t>
            </a:r>
            <a:endParaRPr lang="en-US" sz="1400" dirty="0">
              <a:solidFill>
                <a:schemeClr val="tx1"/>
              </a:solidFill>
              <a:cs typeface="Calibri"/>
            </a:endParaRPr>
          </a:p>
          <a:p>
            <a:pPr marL="171450" indent="-171450">
              <a:buFont typeface="Arial" panose="020B0604020202020204" pitchFamily="34" charset="0"/>
              <a:buChar char="•"/>
            </a:pPr>
            <a:r>
              <a:rPr lang="en-US" sz="1400" dirty="0">
                <a:solidFill>
                  <a:schemeClr val="tx1"/>
                </a:solidFill>
              </a:rPr>
              <a:t>Recursos financieros</a:t>
            </a:r>
            <a:endParaRPr lang="en-US" sz="1400" dirty="0">
              <a:solidFill>
                <a:schemeClr val="tx1"/>
              </a:solidFill>
              <a:cs typeface="Calibri"/>
            </a:endParaRPr>
          </a:p>
          <a:p>
            <a:pPr marL="171450" indent="-171450">
              <a:buFont typeface="Arial" panose="020B0604020202020204" pitchFamily="34" charset="0"/>
              <a:buChar char="•"/>
            </a:pPr>
            <a:r>
              <a:rPr lang="en-US" sz="1400" dirty="0">
                <a:solidFill>
                  <a:schemeClr val="tx1"/>
                </a:solidFill>
              </a:rPr>
              <a:t>Cálculo de los ingresos y gastos por intereses</a:t>
            </a:r>
            <a:endParaRPr lang="de-DE" sz="1400" dirty="0">
              <a:solidFill>
                <a:schemeClr val="tx1"/>
              </a:solidFill>
            </a:endParaRPr>
          </a:p>
        </p:txBody>
      </p:sp>
      <p:sp>
        <p:nvSpPr>
          <p:cNvPr id="15" name="Rechteck 14">
            <a:extLst>
              <a:ext uri="{FF2B5EF4-FFF2-40B4-BE49-F238E27FC236}">
                <a16:creationId xmlns:a16="http://schemas.microsoft.com/office/drawing/2014/main" xmlns="" id="{C9955025-9C8B-4B84-8FFE-EB55C634A7C8}"/>
              </a:ext>
            </a:extLst>
          </p:cNvPr>
          <p:cNvSpPr/>
          <p:nvPr/>
        </p:nvSpPr>
        <p:spPr>
          <a:xfrm>
            <a:off x="6461629" y="3003256"/>
            <a:ext cx="1536661" cy="210536"/>
          </a:xfrm>
          <a:prstGeom prst="rect">
            <a:avLst/>
          </a:prstGeom>
          <a:solidFill>
            <a:schemeClr val="bg1"/>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300" err="1">
                <a:solidFill>
                  <a:schemeClr val="tx1"/>
                </a:solidFill>
              </a:rPr>
              <a:t>Adquisiciones</a:t>
            </a:r>
            <a:endParaRPr lang="de-DE" sz="1300">
              <a:solidFill>
                <a:schemeClr val="tx1"/>
              </a:solidFill>
              <a:cs typeface="Calibri"/>
            </a:endParaRPr>
          </a:p>
        </p:txBody>
      </p:sp>
      <p:sp>
        <p:nvSpPr>
          <p:cNvPr id="16" name="Rechteck 15">
            <a:extLst>
              <a:ext uri="{FF2B5EF4-FFF2-40B4-BE49-F238E27FC236}">
                <a16:creationId xmlns:a16="http://schemas.microsoft.com/office/drawing/2014/main" xmlns="" id="{7F4DD27C-E5D1-4062-B8A8-137F33C55EA7}"/>
              </a:ext>
            </a:extLst>
          </p:cNvPr>
          <p:cNvSpPr/>
          <p:nvPr/>
        </p:nvSpPr>
        <p:spPr>
          <a:xfrm>
            <a:off x="7666697" y="3254569"/>
            <a:ext cx="1205067" cy="210536"/>
          </a:xfrm>
          <a:prstGeom prst="rect">
            <a:avLst/>
          </a:prstGeom>
          <a:solidFill>
            <a:schemeClr val="bg1"/>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200" dirty="0">
                <a:solidFill>
                  <a:schemeClr val="tx1"/>
                </a:solidFill>
              </a:rPr>
              <a:t>Capital de trabajo</a:t>
            </a:r>
            <a:endParaRPr lang="de-DE" sz="1200" dirty="0">
              <a:solidFill>
                <a:schemeClr val="tx1"/>
              </a:solidFill>
              <a:cs typeface="Calibri"/>
            </a:endParaRPr>
          </a:p>
        </p:txBody>
      </p:sp>
      <p:sp>
        <p:nvSpPr>
          <p:cNvPr id="17" name="Rechteck 16">
            <a:extLst>
              <a:ext uri="{FF2B5EF4-FFF2-40B4-BE49-F238E27FC236}">
                <a16:creationId xmlns:a16="http://schemas.microsoft.com/office/drawing/2014/main" xmlns="" id="{D32FF549-170C-4C50-9807-AF048FB42FD1}"/>
              </a:ext>
            </a:extLst>
          </p:cNvPr>
          <p:cNvSpPr/>
          <p:nvPr/>
        </p:nvSpPr>
        <p:spPr>
          <a:xfrm>
            <a:off x="6461628" y="3526847"/>
            <a:ext cx="1536661" cy="210536"/>
          </a:xfrm>
          <a:prstGeom prst="rect">
            <a:avLst/>
          </a:prstGeom>
          <a:solidFill>
            <a:schemeClr val="bg1"/>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300" err="1">
                <a:solidFill>
                  <a:schemeClr val="tx1"/>
                </a:solidFill>
              </a:rPr>
              <a:t>Personal</a:t>
            </a:r>
            <a:endParaRPr lang="de-DE" sz="1300">
              <a:solidFill>
                <a:schemeClr val="tx1"/>
              </a:solidFill>
              <a:cs typeface="Calibri"/>
            </a:endParaRPr>
          </a:p>
        </p:txBody>
      </p:sp>
      <p:sp>
        <p:nvSpPr>
          <p:cNvPr id="18" name="Rechteck 17">
            <a:extLst>
              <a:ext uri="{FF2B5EF4-FFF2-40B4-BE49-F238E27FC236}">
                <a16:creationId xmlns:a16="http://schemas.microsoft.com/office/drawing/2014/main" xmlns="" id="{F2E7F9C6-4FF5-4F56-AE82-6D243BD5BAF0}"/>
              </a:ext>
            </a:extLst>
          </p:cNvPr>
          <p:cNvSpPr/>
          <p:nvPr/>
        </p:nvSpPr>
        <p:spPr>
          <a:xfrm>
            <a:off x="6461627" y="3795295"/>
            <a:ext cx="1536967" cy="226662"/>
          </a:xfrm>
          <a:prstGeom prst="rect">
            <a:avLst/>
          </a:prstGeom>
          <a:solidFill>
            <a:schemeClr val="bg1"/>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000" dirty="0">
                <a:solidFill>
                  <a:schemeClr val="tx1"/>
                </a:solidFill>
              </a:rPr>
              <a:t>Otros </a:t>
            </a:r>
            <a:r>
              <a:rPr lang="de-DE" sz="1000" dirty="0" err="1">
                <a:solidFill>
                  <a:schemeClr val="tx1"/>
                </a:solidFill>
              </a:rPr>
              <a:t>gastos de </a:t>
            </a:r>
            <a:r>
              <a:rPr lang="de-DE" sz="1000" dirty="0">
                <a:solidFill>
                  <a:schemeClr val="tx1"/>
                </a:solidFill>
              </a:rPr>
              <a:t>explotación</a:t>
            </a:r>
          </a:p>
        </p:txBody>
      </p:sp>
      <p:sp>
        <p:nvSpPr>
          <p:cNvPr id="19" name="Rechteck 18">
            <a:extLst>
              <a:ext uri="{FF2B5EF4-FFF2-40B4-BE49-F238E27FC236}">
                <a16:creationId xmlns:a16="http://schemas.microsoft.com/office/drawing/2014/main" xmlns="" id="{EDB86EC3-2D25-4E95-A0D2-817022D7628E}"/>
              </a:ext>
            </a:extLst>
          </p:cNvPr>
          <p:cNvSpPr/>
          <p:nvPr/>
        </p:nvSpPr>
        <p:spPr>
          <a:xfrm>
            <a:off x="7064160" y="4314296"/>
            <a:ext cx="1205067" cy="210536"/>
          </a:xfrm>
          <a:prstGeom prst="rect">
            <a:avLst/>
          </a:prstGeom>
          <a:solidFill>
            <a:schemeClr val="bg1"/>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200" dirty="0">
                <a:solidFill>
                  <a:schemeClr val="tx1"/>
                </a:solidFill>
              </a:rPr>
              <a:t>Inversiones</a:t>
            </a:r>
            <a:endParaRPr lang="de-DE" sz="1200" dirty="0">
              <a:solidFill>
                <a:schemeClr val="tx1"/>
              </a:solidFill>
              <a:cs typeface="Calibri"/>
            </a:endParaRPr>
          </a:p>
        </p:txBody>
      </p:sp>
      <p:cxnSp>
        <p:nvCxnSpPr>
          <p:cNvPr id="20" name="Gerade Verbindung mit Pfeil 19">
            <a:extLst>
              <a:ext uri="{FF2B5EF4-FFF2-40B4-BE49-F238E27FC236}">
                <a16:creationId xmlns:a16="http://schemas.microsoft.com/office/drawing/2014/main" xmlns="" id="{5AEF793C-7643-4AB8-A064-B13AB4AECAD4}"/>
              </a:ext>
            </a:extLst>
          </p:cNvPr>
          <p:cNvCxnSpPr>
            <a:cxnSpLocks/>
            <a:stCxn id="15" idx="1"/>
            <a:endCxn id="36" idx="3"/>
          </p:cNvCxnSpPr>
          <p:nvPr/>
        </p:nvCxnSpPr>
        <p:spPr>
          <a:xfrm flipH="1">
            <a:off x="6017273" y="3108524"/>
            <a:ext cx="444356" cy="1077"/>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xmlns="" id="{E4FF55ED-CFC1-4C92-BD68-5EDBB930BFE7}"/>
              </a:ext>
            </a:extLst>
          </p:cNvPr>
          <p:cNvCxnSpPr>
            <a:cxnSpLocks/>
            <a:stCxn id="17" idx="1"/>
            <a:endCxn id="38" idx="3"/>
          </p:cNvCxnSpPr>
          <p:nvPr/>
        </p:nvCxnSpPr>
        <p:spPr>
          <a:xfrm flipH="1">
            <a:off x="6017273" y="3632115"/>
            <a:ext cx="444355" cy="380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xmlns="" id="{8F597672-0665-4195-A210-D7632E3B8951}"/>
              </a:ext>
            </a:extLst>
          </p:cNvPr>
          <p:cNvCxnSpPr>
            <a:cxnSpLocks/>
            <a:stCxn id="18" idx="1"/>
            <a:endCxn id="39" idx="3"/>
          </p:cNvCxnSpPr>
          <p:nvPr/>
        </p:nvCxnSpPr>
        <p:spPr>
          <a:xfrm flipH="1" flipV="1">
            <a:off x="6017273" y="3899072"/>
            <a:ext cx="444354" cy="9554"/>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xmlns="" id="{5325C71B-D438-4169-81DC-B8D92B0C4F9B}"/>
              </a:ext>
            </a:extLst>
          </p:cNvPr>
          <p:cNvCxnSpPr>
            <a:cxnSpLocks/>
            <a:stCxn id="19" idx="1"/>
            <a:endCxn id="41" idx="3"/>
          </p:cNvCxnSpPr>
          <p:nvPr/>
        </p:nvCxnSpPr>
        <p:spPr>
          <a:xfrm flipH="1">
            <a:off x="6013828" y="4419564"/>
            <a:ext cx="1050332" cy="5822"/>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Verbinder: gewinkelt 23">
            <a:extLst>
              <a:ext uri="{FF2B5EF4-FFF2-40B4-BE49-F238E27FC236}">
                <a16:creationId xmlns:a16="http://schemas.microsoft.com/office/drawing/2014/main" xmlns="" id="{1828C4E9-0FD4-475F-BD87-23EC688AAD27}"/>
              </a:ext>
            </a:extLst>
          </p:cNvPr>
          <p:cNvCxnSpPr>
            <a:cxnSpLocks/>
            <a:stCxn id="12" idx="3"/>
            <a:endCxn id="16" idx="0"/>
          </p:cNvCxnSpPr>
          <p:nvPr/>
        </p:nvCxnSpPr>
        <p:spPr>
          <a:xfrm>
            <a:off x="7998594" y="2838671"/>
            <a:ext cx="270637" cy="415898"/>
          </a:xfrm>
          <a:prstGeom prst="bentConnector2">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Verbinder: gewinkelt 24">
            <a:extLst>
              <a:ext uri="{FF2B5EF4-FFF2-40B4-BE49-F238E27FC236}">
                <a16:creationId xmlns:a16="http://schemas.microsoft.com/office/drawing/2014/main" xmlns="" id="{EE8435AB-358C-4DA9-94CC-5D9D0EC43299}"/>
              </a:ext>
            </a:extLst>
          </p:cNvPr>
          <p:cNvCxnSpPr>
            <a:cxnSpLocks/>
            <a:stCxn id="15" idx="3"/>
            <a:endCxn id="16" idx="0"/>
          </p:cNvCxnSpPr>
          <p:nvPr/>
        </p:nvCxnSpPr>
        <p:spPr>
          <a:xfrm>
            <a:off x="7998290" y="3108524"/>
            <a:ext cx="270941" cy="146045"/>
          </a:xfrm>
          <a:prstGeom prst="bentConnector2">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 name="Verbinder: gewinkelt 25">
            <a:extLst>
              <a:ext uri="{FF2B5EF4-FFF2-40B4-BE49-F238E27FC236}">
                <a16:creationId xmlns:a16="http://schemas.microsoft.com/office/drawing/2014/main" xmlns="" id="{74AF5596-0F4E-4927-A373-C83AB7B182AB}"/>
              </a:ext>
            </a:extLst>
          </p:cNvPr>
          <p:cNvCxnSpPr>
            <a:cxnSpLocks/>
            <a:stCxn id="17" idx="3"/>
            <a:endCxn id="16" idx="2"/>
          </p:cNvCxnSpPr>
          <p:nvPr/>
        </p:nvCxnSpPr>
        <p:spPr>
          <a:xfrm flipV="1">
            <a:off x="7998289" y="3465105"/>
            <a:ext cx="270942" cy="167010"/>
          </a:xfrm>
          <a:prstGeom prst="bentConnector2">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xmlns="" id="{5FA714B1-84F5-4F20-9CDE-5E1D3E206DBC}"/>
              </a:ext>
            </a:extLst>
          </p:cNvPr>
          <p:cNvCxnSpPr>
            <a:cxnSpLocks/>
            <a:stCxn id="18" idx="3"/>
            <a:endCxn id="16" idx="2"/>
          </p:cNvCxnSpPr>
          <p:nvPr/>
        </p:nvCxnSpPr>
        <p:spPr>
          <a:xfrm flipV="1">
            <a:off x="7998594" y="3465105"/>
            <a:ext cx="270637" cy="443521"/>
          </a:xfrm>
          <a:prstGeom prst="bentConnector2">
            <a:avLst/>
          </a:prstGeom>
          <a:ln>
            <a:solidFill>
              <a:schemeClr val="tx1">
                <a:lumMod val="50000"/>
                <a:lumOff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8" name="Verbinder: gewinkelt 27">
            <a:extLst>
              <a:ext uri="{FF2B5EF4-FFF2-40B4-BE49-F238E27FC236}">
                <a16:creationId xmlns:a16="http://schemas.microsoft.com/office/drawing/2014/main" xmlns="" id="{2C8168A5-670E-423A-BE63-D562F301A42F}"/>
              </a:ext>
            </a:extLst>
          </p:cNvPr>
          <p:cNvCxnSpPr>
            <a:cxnSpLocks/>
            <a:stCxn id="14" idx="3"/>
            <a:endCxn id="9" idx="1"/>
          </p:cNvCxnSpPr>
          <p:nvPr/>
        </p:nvCxnSpPr>
        <p:spPr>
          <a:xfrm flipV="1">
            <a:off x="8871913" y="4415010"/>
            <a:ext cx="633110" cy="1326041"/>
          </a:xfrm>
          <a:prstGeom prst="bentConnector3">
            <a:avLst>
              <a:gd name="adj1" fmla="val 50000"/>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xmlns="" id="{13B092AE-FC8C-47FC-BC0B-063B5FCE2355}"/>
              </a:ext>
            </a:extLst>
          </p:cNvPr>
          <p:cNvCxnSpPr>
            <a:cxnSpLocks/>
          </p:cNvCxnSpPr>
          <p:nvPr/>
        </p:nvCxnSpPr>
        <p:spPr>
          <a:xfrm rot="5400000" flipH="1" flipV="1">
            <a:off x="6309804" y="2997863"/>
            <a:ext cx="1767843" cy="4602135"/>
          </a:xfrm>
          <a:prstGeom prst="bentConnector4">
            <a:avLst>
              <a:gd name="adj1" fmla="val -28176"/>
              <a:gd name="adj2" fmla="val 96346"/>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Verbinder: gewinkelt 29">
            <a:extLst>
              <a:ext uri="{FF2B5EF4-FFF2-40B4-BE49-F238E27FC236}">
                <a16:creationId xmlns:a16="http://schemas.microsoft.com/office/drawing/2014/main" xmlns="" id="{6F5038EE-DD07-455F-B13D-D39553987A31}"/>
              </a:ext>
            </a:extLst>
          </p:cNvPr>
          <p:cNvCxnSpPr>
            <a:cxnSpLocks/>
            <a:stCxn id="6" idx="2"/>
            <a:endCxn id="14" idx="1"/>
          </p:cNvCxnSpPr>
          <p:nvPr/>
        </p:nvCxnSpPr>
        <p:spPr>
          <a:xfrm rot="5400000" flipH="1" flipV="1">
            <a:off x="5461585" y="5182354"/>
            <a:ext cx="441802" cy="1559196"/>
          </a:xfrm>
          <a:prstGeom prst="bentConnector4">
            <a:avLst>
              <a:gd name="adj1" fmla="val -51743"/>
              <a:gd name="adj2" fmla="val 88639"/>
            </a:avLst>
          </a:prstGeom>
          <a:ln>
            <a:solidFill>
              <a:schemeClr val="tx1">
                <a:lumMod val="50000"/>
                <a:lumOff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xmlns="" id="{541219AF-7231-4D85-AEEA-84AB564D7731}"/>
              </a:ext>
            </a:extLst>
          </p:cNvPr>
          <p:cNvSpPr/>
          <p:nvPr/>
        </p:nvSpPr>
        <p:spPr>
          <a:xfrm>
            <a:off x="9592409" y="2719598"/>
            <a:ext cx="2242387" cy="49070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bg1"/>
                </a:solidFill>
              </a:rPr>
              <a:t>Activos</a:t>
            </a:r>
          </a:p>
        </p:txBody>
      </p:sp>
      <p:sp>
        <p:nvSpPr>
          <p:cNvPr id="32" name="Rechteck 31">
            <a:extLst>
              <a:ext uri="{FF2B5EF4-FFF2-40B4-BE49-F238E27FC236}">
                <a16:creationId xmlns:a16="http://schemas.microsoft.com/office/drawing/2014/main" xmlns="" id="{EA0BC6A4-4511-49F4-AAAC-3EDC0F0ECDF7}"/>
              </a:ext>
            </a:extLst>
          </p:cNvPr>
          <p:cNvSpPr/>
          <p:nvPr/>
        </p:nvSpPr>
        <p:spPr>
          <a:xfrm>
            <a:off x="9595855" y="3244900"/>
            <a:ext cx="2238941" cy="790242"/>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71450" indent="-171450">
              <a:buFont typeface="Arial" panose="020B0604020202020204" pitchFamily="34" charset="0"/>
              <a:buChar char="•"/>
            </a:pPr>
            <a:r>
              <a:rPr lang="de-DE" sz="1400" dirty="0">
                <a:solidFill>
                  <a:srgbClr val="245473"/>
                </a:solidFill>
              </a:rPr>
              <a:t>Activos fijos</a:t>
            </a:r>
            <a:endParaRPr lang="de-DE" sz="1400" dirty="0">
              <a:solidFill>
                <a:srgbClr val="245473"/>
              </a:solidFill>
              <a:cs typeface="Calibri"/>
            </a:endParaRPr>
          </a:p>
          <a:p>
            <a:pPr marL="171450" indent="-171450">
              <a:buFont typeface="Arial" panose="020B0604020202020204" pitchFamily="34" charset="0"/>
              <a:buChar char="•"/>
            </a:pPr>
            <a:r>
              <a:rPr lang="de-DE" sz="1400" dirty="0">
                <a:solidFill>
                  <a:srgbClr val="245473"/>
                </a:solidFill>
              </a:rPr>
              <a:t>Activos corrientes</a:t>
            </a:r>
            <a:endParaRPr lang="de-DE" sz="1400" dirty="0">
              <a:solidFill>
                <a:srgbClr val="245473"/>
              </a:solidFill>
              <a:cs typeface="Calibri"/>
            </a:endParaRPr>
          </a:p>
        </p:txBody>
      </p:sp>
      <p:sp>
        <p:nvSpPr>
          <p:cNvPr id="33" name="Rechteck 32">
            <a:extLst>
              <a:ext uri="{FF2B5EF4-FFF2-40B4-BE49-F238E27FC236}">
                <a16:creationId xmlns:a16="http://schemas.microsoft.com/office/drawing/2014/main" xmlns="" id="{AF55BD10-3706-4355-B254-BEEDFC25B39B}"/>
              </a:ext>
            </a:extLst>
          </p:cNvPr>
          <p:cNvSpPr/>
          <p:nvPr/>
        </p:nvSpPr>
        <p:spPr>
          <a:xfrm>
            <a:off x="9599301" y="4198719"/>
            <a:ext cx="2238941" cy="49070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err="1">
                <a:solidFill>
                  <a:schemeClr val="bg1"/>
                </a:solidFill>
              </a:rPr>
              <a:t>Pasivo</a:t>
            </a:r>
            <a:endParaRPr lang="de-DE" sz="1400" dirty="0">
              <a:solidFill>
                <a:schemeClr val="bg1"/>
              </a:solidFill>
            </a:endParaRPr>
          </a:p>
        </p:txBody>
      </p:sp>
      <p:sp>
        <p:nvSpPr>
          <p:cNvPr id="34" name="Rechteck 33">
            <a:extLst>
              <a:ext uri="{FF2B5EF4-FFF2-40B4-BE49-F238E27FC236}">
                <a16:creationId xmlns:a16="http://schemas.microsoft.com/office/drawing/2014/main" xmlns="" id="{69EBEA4B-F480-40C6-8763-63BCBFB0B2EE}"/>
              </a:ext>
            </a:extLst>
          </p:cNvPr>
          <p:cNvSpPr/>
          <p:nvPr/>
        </p:nvSpPr>
        <p:spPr>
          <a:xfrm>
            <a:off x="9599301" y="4713262"/>
            <a:ext cx="2238941" cy="79024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171450" indent="-171450">
              <a:buFont typeface="Arial" panose="020B0604020202020204" pitchFamily="34" charset="0"/>
              <a:buChar char="•"/>
            </a:pPr>
            <a:r>
              <a:rPr lang="de-DE" sz="1400" dirty="0">
                <a:solidFill>
                  <a:srgbClr val="245473"/>
                </a:solidFill>
              </a:rPr>
              <a:t>Equidad</a:t>
            </a:r>
            <a:endParaRPr lang="de-DE" sz="1400" dirty="0">
              <a:solidFill>
                <a:srgbClr val="245473"/>
              </a:solidFill>
              <a:cs typeface="Calibri"/>
            </a:endParaRPr>
          </a:p>
          <a:p>
            <a:pPr marL="171450" indent="-171450">
              <a:buFont typeface="Arial" panose="020B0604020202020204" pitchFamily="34" charset="0"/>
              <a:buChar char="•"/>
            </a:pPr>
            <a:r>
              <a:rPr lang="de-DE" sz="1400" dirty="0">
                <a:solidFill>
                  <a:srgbClr val="245473"/>
                </a:solidFill>
              </a:rPr>
              <a:t>Disposiciones </a:t>
            </a:r>
            <a:endParaRPr lang="de-DE" sz="1400" dirty="0">
              <a:solidFill>
                <a:srgbClr val="245473"/>
              </a:solidFill>
              <a:cs typeface="Calibri"/>
            </a:endParaRPr>
          </a:p>
          <a:p>
            <a:pPr marL="171450" indent="-171450">
              <a:buFont typeface="Arial" panose="020B0604020202020204" pitchFamily="34" charset="0"/>
              <a:buChar char="•"/>
            </a:pPr>
            <a:r>
              <a:rPr lang="de-DE" sz="1400" dirty="0">
                <a:solidFill>
                  <a:srgbClr val="245473"/>
                </a:solidFill>
              </a:rPr>
              <a:t>Pasivo</a:t>
            </a:r>
            <a:endParaRPr lang="de-DE" sz="1400" dirty="0">
              <a:solidFill>
                <a:srgbClr val="245473"/>
              </a:solidFill>
              <a:cs typeface="Calibri"/>
            </a:endParaRPr>
          </a:p>
        </p:txBody>
      </p:sp>
      <p:sp>
        <p:nvSpPr>
          <p:cNvPr id="35" name="Rechteck 34">
            <a:extLst>
              <a:ext uri="{FF2B5EF4-FFF2-40B4-BE49-F238E27FC236}">
                <a16:creationId xmlns:a16="http://schemas.microsoft.com/office/drawing/2014/main" xmlns="" id="{CD656288-28BA-4D67-9430-3E342764AA04}"/>
              </a:ext>
            </a:extLst>
          </p:cNvPr>
          <p:cNvSpPr/>
          <p:nvPr/>
        </p:nvSpPr>
        <p:spPr>
          <a:xfrm>
            <a:off x="3778333" y="2742253"/>
            <a:ext cx="2238941" cy="208381"/>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Producción total</a:t>
            </a:r>
          </a:p>
        </p:txBody>
      </p:sp>
      <p:sp>
        <p:nvSpPr>
          <p:cNvPr id="36" name="Rechteck 35">
            <a:extLst>
              <a:ext uri="{FF2B5EF4-FFF2-40B4-BE49-F238E27FC236}">
                <a16:creationId xmlns:a16="http://schemas.microsoft.com/office/drawing/2014/main" xmlns="" id="{A1BD55F8-211E-4282-A9EF-9E433E8858F2}"/>
              </a:ext>
            </a:extLst>
          </p:cNvPr>
          <p:cNvSpPr/>
          <p:nvPr/>
        </p:nvSpPr>
        <p:spPr>
          <a:xfrm>
            <a:off x="3778332" y="3005410"/>
            <a:ext cx="2238941" cy="208381"/>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Coste de los materiales</a:t>
            </a:r>
          </a:p>
        </p:txBody>
      </p:sp>
      <p:sp>
        <p:nvSpPr>
          <p:cNvPr id="37" name="Rechteck 36">
            <a:extLst>
              <a:ext uri="{FF2B5EF4-FFF2-40B4-BE49-F238E27FC236}">
                <a16:creationId xmlns:a16="http://schemas.microsoft.com/office/drawing/2014/main" xmlns="" id="{A3F0BEAD-3DCB-4B2B-A045-88A5FF4A7EA2}"/>
              </a:ext>
            </a:extLst>
          </p:cNvPr>
          <p:cNvSpPr/>
          <p:nvPr/>
        </p:nvSpPr>
        <p:spPr>
          <a:xfrm>
            <a:off x="3778332" y="3268567"/>
            <a:ext cx="2238941" cy="208381"/>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Beneficio bruto</a:t>
            </a:r>
          </a:p>
        </p:txBody>
      </p:sp>
      <p:sp>
        <p:nvSpPr>
          <p:cNvPr id="38" name="Rechteck 37">
            <a:extLst>
              <a:ext uri="{FF2B5EF4-FFF2-40B4-BE49-F238E27FC236}">
                <a16:creationId xmlns:a16="http://schemas.microsoft.com/office/drawing/2014/main" xmlns="" id="{66E5971D-93E9-4F8B-AE27-23B099D5AD33}"/>
              </a:ext>
            </a:extLst>
          </p:cNvPr>
          <p:cNvSpPr/>
          <p:nvPr/>
        </p:nvSpPr>
        <p:spPr>
          <a:xfrm>
            <a:off x="3778332" y="3531724"/>
            <a:ext cx="2238941" cy="208381"/>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err="1">
                <a:solidFill>
                  <a:schemeClr val="tx1"/>
                </a:solidFill>
              </a:rPr>
              <a:t>- Gastos de personal</a:t>
            </a:r>
            <a:endParaRPr lang="de-DE" sz="1400" dirty="0">
              <a:solidFill>
                <a:schemeClr val="tx1"/>
              </a:solidFill>
            </a:endParaRPr>
          </a:p>
        </p:txBody>
      </p:sp>
      <p:sp>
        <p:nvSpPr>
          <p:cNvPr id="39" name="Rechteck 38">
            <a:extLst>
              <a:ext uri="{FF2B5EF4-FFF2-40B4-BE49-F238E27FC236}">
                <a16:creationId xmlns:a16="http://schemas.microsoft.com/office/drawing/2014/main" xmlns="" id="{A6410869-2043-4D10-97B2-0624AF83C68C}"/>
              </a:ext>
            </a:extLst>
          </p:cNvPr>
          <p:cNvSpPr/>
          <p:nvPr/>
        </p:nvSpPr>
        <p:spPr>
          <a:xfrm>
            <a:off x="3778332" y="3794881"/>
            <a:ext cx="2238941" cy="208381"/>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Otros </a:t>
            </a:r>
            <a:r>
              <a:rPr lang="de-DE" sz="1400" dirty="0" err="1">
                <a:solidFill>
                  <a:schemeClr val="tx1"/>
                </a:solidFill>
              </a:rPr>
              <a:t>gastos de </a:t>
            </a:r>
            <a:r>
              <a:rPr lang="de-DE" sz="1400" dirty="0">
                <a:solidFill>
                  <a:schemeClr val="tx1"/>
                </a:solidFill>
              </a:rPr>
              <a:t>explotación</a:t>
            </a:r>
          </a:p>
        </p:txBody>
      </p:sp>
      <p:sp>
        <p:nvSpPr>
          <p:cNvPr id="40" name="Rechteck 39">
            <a:extLst>
              <a:ext uri="{FF2B5EF4-FFF2-40B4-BE49-F238E27FC236}">
                <a16:creationId xmlns:a16="http://schemas.microsoft.com/office/drawing/2014/main" xmlns="" id="{4F4EB2D6-AD44-4BA5-BADC-A0A930AFB7C7}"/>
              </a:ext>
            </a:extLst>
          </p:cNvPr>
          <p:cNvSpPr/>
          <p:nvPr/>
        </p:nvSpPr>
        <p:spPr>
          <a:xfrm>
            <a:off x="3778332" y="4058038"/>
            <a:ext cx="2238941" cy="208381"/>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EBITDA</a:t>
            </a:r>
          </a:p>
        </p:txBody>
      </p:sp>
      <p:sp>
        <p:nvSpPr>
          <p:cNvPr id="41" name="Rechteck 40">
            <a:extLst>
              <a:ext uri="{FF2B5EF4-FFF2-40B4-BE49-F238E27FC236}">
                <a16:creationId xmlns:a16="http://schemas.microsoft.com/office/drawing/2014/main" xmlns="" id="{433EC9BD-65B1-4D37-B427-D8FB4F315BB9}"/>
              </a:ext>
            </a:extLst>
          </p:cNvPr>
          <p:cNvSpPr/>
          <p:nvPr/>
        </p:nvSpPr>
        <p:spPr>
          <a:xfrm>
            <a:off x="3774887" y="4321195"/>
            <a:ext cx="2238941" cy="208381"/>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200" dirty="0" err="1">
                <a:solidFill>
                  <a:schemeClr val="tx1"/>
                </a:solidFill>
              </a:rPr>
              <a:t>- Amortizaciones </a:t>
            </a:r>
            <a:r>
              <a:rPr lang="de-DE" sz="1200" dirty="0">
                <a:solidFill>
                  <a:schemeClr val="tx1"/>
                </a:solidFill>
              </a:rPr>
              <a:t>y </a:t>
            </a:r>
            <a:r>
              <a:rPr lang="de-DE" sz="1200" dirty="0" err="1">
                <a:solidFill>
                  <a:schemeClr val="tx1"/>
                </a:solidFill>
              </a:rPr>
              <a:t>depreciaciones</a:t>
            </a:r>
            <a:endParaRPr lang="de-DE" sz="1200" dirty="0">
              <a:solidFill>
                <a:schemeClr val="tx1"/>
              </a:solidFill>
            </a:endParaRPr>
          </a:p>
        </p:txBody>
      </p:sp>
      <p:sp>
        <p:nvSpPr>
          <p:cNvPr id="42" name="Rechteck 41">
            <a:extLst>
              <a:ext uri="{FF2B5EF4-FFF2-40B4-BE49-F238E27FC236}">
                <a16:creationId xmlns:a16="http://schemas.microsoft.com/office/drawing/2014/main" xmlns="" id="{4BECA545-7965-49FB-B838-1397AEE572F8}"/>
              </a:ext>
            </a:extLst>
          </p:cNvPr>
          <p:cNvSpPr/>
          <p:nvPr/>
        </p:nvSpPr>
        <p:spPr>
          <a:xfrm>
            <a:off x="3774885" y="4847509"/>
            <a:ext cx="2238941" cy="208381"/>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a:t>
            </a:r>
            <a:r>
              <a:rPr lang="de-DE" sz="1400" dirty="0" err="1">
                <a:solidFill>
                  <a:schemeClr val="tx1"/>
                </a:solidFill>
              </a:rPr>
              <a:t>Resultado </a:t>
            </a:r>
            <a:r>
              <a:rPr lang="de-DE" sz="1400" dirty="0">
                <a:solidFill>
                  <a:schemeClr val="tx1"/>
                </a:solidFill>
              </a:rPr>
              <a:t>financiero</a:t>
            </a:r>
          </a:p>
        </p:txBody>
      </p:sp>
      <p:sp>
        <p:nvSpPr>
          <p:cNvPr id="43" name="Rechteck 42">
            <a:extLst>
              <a:ext uri="{FF2B5EF4-FFF2-40B4-BE49-F238E27FC236}">
                <a16:creationId xmlns:a16="http://schemas.microsoft.com/office/drawing/2014/main" xmlns="" id="{723CDEF9-51B3-4030-8645-A97C2414595B}"/>
              </a:ext>
            </a:extLst>
          </p:cNvPr>
          <p:cNvSpPr/>
          <p:nvPr/>
        </p:nvSpPr>
        <p:spPr>
          <a:xfrm>
            <a:off x="3774885" y="4584352"/>
            <a:ext cx="2238941" cy="208381"/>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EBIT</a:t>
            </a:r>
          </a:p>
        </p:txBody>
      </p:sp>
      <p:sp>
        <p:nvSpPr>
          <p:cNvPr id="44" name="Rechteck 43">
            <a:extLst>
              <a:ext uri="{FF2B5EF4-FFF2-40B4-BE49-F238E27FC236}">
                <a16:creationId xmlns:a16="http://schemas.microsoft.com/office/drawing/2014/main" xmlns="" id="{BDB70FC9-AFAF-4C13-8EC0-2CCCFE3A839A}"/>
              </a:ext>
            </a:extLst>
          </p:cNvPr>
          <p:cNvSpPr/>
          <p:nvPr/>
        </p:nvSpPr>
        <p:spPr>
          <a:xfrm>
            <a:off x="3774884" y="5110666"/>
            <a:ext cx="2238941" cy="208381"/>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a:t>
            </a:r>
            <a:r>
              <a:rPr lang="de-DE" sz="1400" dirty="0" err="1">
                <a:solidFill>
                  <a:schemeClr val="tx1"/>
                </a:solidFill>
              </a:rPr>
              <a:t>Beneficio de </a:t>
            </a:r>
            <a:r>
              <a:rPr lang="de-DE" sz="1400" dirty="0">
                <a:solidFill>
                  <a:schemeClr val="tx1"/>
                </a:solidFill>
              </a:rPr>
              <a:t>explotación</a:t>
            </a:r>
          </a:p>
        </p:txBody>
      </p:sp>
      <p:sp>
        <p:nvSpPr>
          <p:cNvPr id="45" name="Rechteck 44">
            <a:extLst>
              <a:ext uri="{FF2B5EF4-FFF2-40B4-BE49-F238E27FC236}">
                <a16:creationId xmlns:a16="http://schemas.microsoft.com/office/drawing/2014/main" xmlns="" id="{24DE69D9-CB2E-4B15-A171-A1C731F20958}"/>
              </a:ext>
            </a:extLst>
          </p:cNvPr>
          <p:cNvSpPr/>
          <p:nvPr/>
        </p:nvSpPr>
        <p:spPr>
          <a:xfrm>
            <a:off x="3783416" y="5373823"/>
            <a:ext cx="2238941" cy="208381"/>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a:t>
            </a:r>
            <a:r>
              <a:rPr lang="de-DE" sz="1400" dirty="0" err="1">
                <a:solidFill>
                  <a:schemeClr val="tx1"/>
                </a:solidFill>
              </a:rPr>
              <a:t>Resultado </a:t>
            </a:r>
            <a:r>
              <a:rPr lang="de-DE" sz="1400" dirty="0">
                <a:solidFill>
                  <a:schemeClr val="tx1"/>
                </a:solidFill>
              </a:rPr>
              <a:t>no operativo</a:t>
            </a:r>
          </a:p>
        </p:txBody>
      </p:sp>
      <p:sp>
        <p:nvSpPr>
          <p:cNvPr id="46" name="Rechteck 45">
            <a:extLst>
              <a:ext uri="{FF2B5EF4-FFF2-40B4-BE49-F238E27FC236}">
                <a16:creationId xmlns:a16="http://schemas.microsoft.com/office/drawing/2014/main" xmlns="" id="{271FAAC0-6CFD-43AD-840A-DF329A02722A}"/>
              </a:ext>
            </a:extLst>
          </p:cNvPr>
          <p:cNvSpPr/>
          <p:nvPr/>
        </p:nvSpPr>
        <p:spPr>
          <a:xfrm>
            <a:off x="3783416" y="5636980"/>
            <a:ext cx="2238941" cy="208381"/>
          </a:xfrm>
          <a:prstGeom prst="rect">
            <a:avLst/>
          </a:prstGeom>
          <a:solidFill>
            <a:schemeClr val="bg1"/>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err="1">
                <a:solidFill>
                  <a:schemeClr val="tx1"/>
                </a:solidFill>
              </a:rPr>
              <a:t>- Taces</a:t>
            </a:r>
            <a:endParaRPr lang="de-DE" sz="1400" dirty="0">
              <a:solidFill>
                <a:schemeClr val="tx1"/>
              </a:solidFill>
            </a:endParaRPr>
          </a:p>
        </p:txBody>
      </p:sp>
      <p:sp>
        <p:nvSpPr>
          <p:cNvPr id="47" name="Rechteck 46">
            <a:extLst>
              <a:ext uri="{FF2B5EF4-FFF2-40B4-BE49-F238E27FC236}">
                <a16:creationId xmlns:a16="http://schemas.microsoft.com/office/drawing/2014/main" xmlns="" id="{4E90BEB9-2F27-4213-A751-C4144271E858}"/>
              </a:ext>
            </a:extLst>
          </p:cNvPr>
          <p:cNvSpPr/>
          <p:nvPr/>
        </p:nvSpPr>
        <p:spPr>
          <a:xfrm>
            <a:off x="3783416" y="5900142"/>
            <a:ext cx="2238941" cy="208381"/>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1400" dirty="0">
                <a:solidFill>
                  <a:schemeClr val="tx1"/>
                </a:solidFill>
              </a:rPr>
              <a:t>= Beneficio / Pérdida</a:t>
            </a:r>
          </a:p>
        </p:txBody>
      </p:sp>
      <p:cxnSp>
        <p:nvCxnSpPr>
          <p:cNvPr id="86" name="Verbinder: gewinkelt 85">
            <a:extLst>
              <a:ext uri="{FF2B5EF4-FFF2-40B4-BE49-F238E27FC236}">
                <a16:creationId xmlns:a16="http://schemas.microsoft.com/office/drawing/2014/main" xmlns="" id="{984B88F0-B36A-40C8-9C6B-15511BDFF620}"/>
              </a:ext>
            </a:extLst>
          </p:cNvPr>
          <p:cNvCxnSpPr>
            <a:cxnSpLocks/>
          </p:cNvCxnSpPr>
          <p:nvPr/>
        </p:nvCxnSpPr>
        <p:spPr>
          <a:xfrm flipV="1">
            <a:off x="8294803" y="3645135"/>
            <a:ext cx="1326622" cy="774992"/>
          </a:xfrm>
          <a:prstGeom prst="bentConnector3">
            <a:avLst>
              <a:gd name="adj1" fmla="val 50000"/>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Verbinder: gewinkelt 96">
            <a:extLst>
              <a:ext uri="{FF2B5EF4-FFF2-40B4-BE49-F238E27FC236}">
                <a16:creationId xmlns:a16="http://schemas.microsoft.com/office/drawing/2014/main" xmlns="" id="{94E2AD73-98BA-4F73-B917-257DDBEE707E}"/>
              </a:ext>
            </a:extLst>
          </p:cNvPr>
          <p:cNvCxnSpPr>
            <a:cxnSpLocks/>
          </p:cNvCxnSpPr>
          <p:nvPr/>
        </p:nvCxnSpPr>
        <p:spPr>
          <a:xfrm>
            <a:off x="8861536" y="3364950"/>
            <a:ext cx="633259" cy="1055173"/>
          </a:xfrm>
          <a:prstGeom prst="bentConnector3">
            <a:avLst>
              <a:gd name="adj1" fmla="val 50000"/>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9659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extLst>
              <p:ext uri="{D42A27DB-BD31-4B8C-83A1-F6EECF244321}">
                <p14:modId xmlns:p14="http://schemas.microsoft.com/office/powerpoint/2010/main" val="1662361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09390" y="821270"/>
            <a:ext cx="9855296" cy="697353"/>
          </a:xfrm>
        </p:spPr>
        <p:txBody>
          <a:bodyPr>
            <a:noAutofit/>
          </a:bodyPr>
          <a:lstStyle/>
          <a:p>
            <a:r>
              <a:rPr lang="en-GB" sz="2800"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3501" y="1791231"/>
            <a:ext cx="3381753" cy="48529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1800" dirty="0">
                <a:solidFill>
                  <a:srgbClr val="245473"/>
                </a:solidFill>
                <a:latin typeface="+mj-lt"/>
                <a:ea typeface="Open Sans Light" panose="020B0306030504020204" pitchFamily="34" charset="0"/>
                <a:cs typeface="Open Sans Light" panose="020B0306030504020204" pitchFamily="34" charset="0"/>
              </a:rPr>
              <a:t>Dado que la planificación empresarial es compleja, se desglosa en subplanes que se basan unos en otros: el punto de partida es el plan de ventas, el objetivo es el plan de beneficios.</a:t>
            </a:r>
          </a:p>
          <a:p>
            <a:pPr marL="285750" indent="-285750" algn="l">
              <a:lnSpc>
                <a:spcPct val="100000"/>
              </a:lnSpc>
              <a:spcBef>
                <a:spcPts val="600"/>
              </a:spcBef>
              <a:buFont typeface="Wingdings" panose="05000000000000000000" pitchFamily="2" charset="2"/>
              <a:buChar char="à"/>
            </a:pPr>
            <a:r>
              <a:rPr lang="en-U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lanificación de la producción</a:t>
            </a:r>
            <a:endParaRPr lang="en-US" sz="18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lanificación de los costes de material</a:t>
            </a:r>
            <a:endParaRPr lang="en-US" sz="18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lanificación del personal</a:t>
            </a:r>
            <a:endParaRPr lang="en-US" sz="18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Otros gastos de funcionamiento y</a:t>
            </a:r>
            <a:endParaRPr lang="en-US" sz="18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planificación de la inversión se basa en el resto.</a:t>
            </a:r>
            <a:endParaRPr lang="en-US" sz="18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U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stos conducen a una</a:t>
            </a:r>
            <a:endParaRPr lang="en-US" sz="18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lan financiero</a:t>
            </a:r>
            <a:endParaRPr lang="en-US" sz="18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lanificación de la amortización y de los intereses</a:t>
            </a:r>
            <a:endParaRPr lang="en-US" sz="1800" dirty="0">
              <a:solidFill>
                <a:srgbClr val="245473"/>
              </a:solidFill>
              <a:latin typeface="+mj-lt"/>
              <a:ea typeface="Open Sans Light" panose="020B0306030504020204" pitchFamily="34" charset="0"/>
              <a:cs typeface="Open Sans Light" panose="020B0306030504020204" pitchFamily="34" charset="0"/>
            </a:endParaRPr>
          </a:p>
        </p:txBody>
      </p:sp>
      <p:sp>
        <p:nvSpPr>
          <p:cNvPr id="5" name="Rechteck 4">
            <a:extLst>
              <a:ext uri="{FF2B5EF4-FFF2-40B4-BE49-F238E27FC236}">
                <a16:creationId xmlns:a16="http://schemas.microsoft.com/office/drawing/2014/main" xmlns="" id="{CF6E12EC-3064-424E-99AB-27EF93034598}"/>
              </a:ext>
            </a:extLst>
          </p:cNvPr>
          <p:cNvSpPr/>
          <p:nvPr/>
        </p:nvSpPr>
        <p:spPr>
          <a:xfrm>
            <a:off x="3537274" y="5571012"/>
            <a:ext cx="8026974" cy="5953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dirty="0">
                <a:solidFill>
                  <a:schemeClr val="bg1"/>
                </a:solidFill>
              </a:rPr>
              <a:t>Planificación de pérdidas y ganancias</a:t>
            </a:r>
            <a:endParaRPr lang="en-GB" sz="2400" dirty="0">
              <a:solidFill>
                <a:schemeClr val="bg1"/>
              </a:solidFill>
              <a:cs typeface="Calibri"/>
            </a:endParaRPr>
          </a:p>
        </p:txBody>
      </p:sp>
      <p:sp>
        <p:nvSpPr>
          <p:cNvPr id="49" name="Rechteck 48">
            <a:extLst>
              <a:ext uri="{FF2B5EF4-FFF2-40B4-BE49-F238E27FC236}">
                <a16:creationId xmlns:a16="http://schemas.microsoft.com/office/drawing/2014/main" xmlns="" id="{F6313C2A-A173-48F9-B296-F2E25D12908F}"/>
              </a:ext>
            </a:extLst>
          </p:cNvPr>
          <p:cNvSpPr/>
          <p:nvPr/>
        </p:nvSpPr>
        <p:spPr>
          <a:xfrm>
            <a:off x="5935578" y="2279859"/>
            <a:ext cx="3252844" cy="454417"/>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dirty="0">
                <a:solidFill>
                  <a:schemeClr val="tx2"/>
                </a:solidFill>
              </a:rPr>
              <a:t>Planificación de ventas e ingresos</a:t>
            </a:r>
            <a:endParaRPr lang="en-GB" sz="1600" dirty="0">
              <a:solidFill>
                <a:schemeClr val="tx2"/>
              </a:solidFill>
              <a:cs typeface="Calibri"/>
            </a:endParaRPr>
          </a:p>
        </p:txBody>
      </p:sp>
      <p:sp>
        <p:nvSpPr>
          <p:cNvPr id="50" name="Rechteck 49">
            <a:extLst>
              <a:ext uri="{FF2B5EF4-FFF2-40B4-BE49-F238E27FC236}">
                <a16:creationId xmlns:a16="http://schemas.microsoft.com/office/drawing/2014/main" xmlns="" id="{3BF69443-F382-4888-B9D3-6A5DFD9B0C83}"/>
              </a:ext>
            </a:extLst>
          </p:cNvPr>
          <p:cNvSpPr/>
          <p:nvPr/>
        </p:nvSpPr>
        <p:spPr>
          <a:xfrm>
            <a:off x="5935578" y="2897333"/>
            <a:ext cx="3252844" cy="454417"/>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a:solidFill>
                  <a:schemeClr val="tx2"/>
                </a:solidFill>
              </a:rPr>
              <a:t>Planificación de la producción</a:t>
            </a:r>
            <a:endParaRPr lang="en-GB" sz="1600">
              <a:solidFill>
                <a:schemeClr val="tx2"/>
              </a:solidFill>
              <a:cs typeface="Calibri"/>
            </a:endParaRPr>
          </a:p>
        </p:txBody>
      </p:sp>
      <p:sp>
        <p:nvSpPr>
          <p:cNvPr id="51" name="Rechteck 50">
            <a:extLst>
              <a:ext uri="{FF2B5EF4-FFF2-40B4-BE49-F238E27FC236}">
                <a16:creationId xmlns:a16="http://schemas.microsoft.com/office/drawing/2014/main" xmlns="" id="{E87835AB-937C-4B61-A780-46F0B814AF1C}"/>
              </a:ext>
            </a:extLst>
          </p:cNvPr>
          <p:cNvSpPr/>
          <p:nvPr/>
        </p:nvSpPr>
        <p:spPr>
          <a:xfrm>
            <a:off x="3536983" y="3609438"/>
            <a:ext cx="1303016" cy="786833"/>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dirty="0">
                <a:solidFill>
                  <a:schemeClr val="tx2"/>
                </a:solidFill>
              </a:rPr>
              <a:t>Planificación de los costes de material</a:t>
            </a:r>
            <a:endParaRPr lang="en-GB" sz="1600">
              <a:solidFill>
                <a:schemeClr val="tx2"/>
              </a:solidFill>
              <a:cs typeface="Calibri"/>
            </a:endParaRPr>
          </a:p>
        </p:txBody>
      </p:sp>
      <p:sp>
        <p:nvSpPr>
          <p:cNvPr id="52" name="Rechteck 51">
            <a:extLst>
              <a:ext uri="{FF2B5EF4-FFF2-40B4-BE49-F238E27FC236}">
                <a16:creationId xmlns:a16="http://schemas.microsoft.com/office/drawing/2014/main" xmlns="" id="{20D934C4-EC05-441C-A2E0-DC6DA1643DD4}"/>
              </a:ext>
            </a:extLst>
          </p:cNvPr>
          <p:cNvSpPr/>
          <p:nvPr/>
        </p:nvSpPr>
        <p:spPr>
          <a:xfrm>
            <a:off x="5217972" y="3609439"/>
            <a:ext cx="1323473" cy="786832"/>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dirty="0">
                <a:solidFill>
                  <a:schemeClr val="tx2"/>
                </a:solidFill>
              </a:rPr>
              <a:t>Planificación de los costes de personal</a:t>
            </a:r>
            <a:endParaRPr lang="en-GB" sz="1600" dirty="0">
              <a:solidFill>
                <a:schemeClr val="tx2"/>
              </a:solidFill>
              <a:cs typeface="Calibri"/>
            </a:endParaRPr>
          </a:p>
        </p:txBody>
      </p:sp>
      <p:sp>
        <p:nvSpPr>
          <p:cNvPr id="53" name="Rechteck 52">
            <a:extLst>
              <a:ext uri="{FF2B5EF4-FFF2-40B4-BE49-F238E27FC236}">
                <a16:creationId xmlns:a16="http://schemas.microsoft.com/office/drawing/2014/main" xmlns="" id="{D2B2C36F-4CBC-4513-B303-9866FF356EEC}"/>
              </a:ext>
            </a:extLst>
          </p:cNvPr>
          <p:cNvSpPr/>
          <p:nvPr/>
        </p:nvSpPr>
        <p:spPr>
          <a:xfrm>
            <a:off x="6887431" y="3609439"/>
            <a:ext cx="1329889" cy="745920"/>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dirty="0">
                <a:solidFill>
                  <a:schemeClr val="tx2"/>
                </a:solidFill>
              </a:rPr>
              <a:t>Planificación de otros costes de explotación</a:t>
            </a:r>
            <a:endParaRPr lang="en-GB" sz="1600" dirty="0">
              <a:solidFill>
                <a:schemeClr val="tx2"/>
              </a:solidFill>
              <a:cs typeface="Calibri"/>
            </a:endParaRPr>
          </a:p>
        </p:txBody>
      </p:sp>
      <p:sp>
        <p:nvSpPr>
          <p:cNvPr id="54" name="Rechteck 53">
            <a:extLst>
              <a:ext uri="{FF2B5EF4-FFF2-40B4-BE49-F238E27FC236}">
                <a16:creationId xmlns:a16="http://schemas.microsoft.com/office/drawing/2014/main" xmlns="" id="{94EB0462-59E0-413A-9534-0A3F498AA1EE}"/>
              </a:ext>
            </a:extLst>
          </p:cNvPr>
          <p:cNvSpPr/>
          <p:nvPr/>
        </p:nvSpPr>
        <p:spPr>
          <a:xfrm>
            <a:off x="8569722" y="3609439"/>
            <a:ext cx="1323473" cy="745920"/>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a:solidFill>
                  <a:schemeClr val="tx2"/>
                </a:solidFill>
              </a:rPr>
              <a:t>Planificación de la inversión</a:t>
            </a:r>
            <a:endParaRPr lang="en-GB" sz="1600">
              <a:solidFill>
                <a:schemeClr val="tx2"/>
              </a:solidFill>
              <a:cs typeface="Calibri"/>
            </a:endParaRPr>
          </a:p>
        </p:txBody>
      </p:sp>
      <p:sp>
        <p:nvSpPr>
          <p:cNvPr id="55" name="Rechteck 54">
            <a:extLst>
              <a:ext uri="{FF2B5EF4-FFF2-40B4-BE49-F238E27FC236}">
                <a16:creationId xmlns:a16="http://schemas.microsoft.com/office/drawing/2014/main" xmlns="" id="{7421CE5F-EC57-4ECB-8C46-6192C30470D5}"/>
              </a:ext>
            </a:extLst>
          </p:cNvPr>
          <p:cNvSpPr/>
          <p:nvPr/>
        </p:nvSpPr>
        <p:spPr>
          <a:xfrm>
            <a:off x="10245598" y="4239820"/>
            <a:ext cx="1323473" cy="454417"/>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a:solidFill>
                  <a:schemeClr val="tx2"/>
                </a:solidFill>
              </a:rPr>
              <a:t>Planificación financiera</a:t>
            </a:r>
            <a:endParaRPr lang="en-GB" sz="1600">
              <a:solidFill>
                <a:schemeClr val="tx2"/>
              </a:solidFill>
              <a:cs typeface="Calibri"/>
            </a:endParaRPr>
          </a:p>
        </p:txBody>
      </p:sp>
      <p:sp>
        <p:nvSpPr>
          <p:cNvPr id="56" name="Rechteck 55">
            <a:extLst>
              <a:ext uri="{FF2B5EF4-FFF2-40B4-BE49-F238E27FC236}">
                <a16:creationId xmlns:a16="http://schemas.microsoft.com/office/drawing/2014/main" xmlns="" id="{CB43238E-BF05-4C71-A60E-76AD72D04798}"/>
              </a:ext>
            </a:extLst>
          </p:cNvPr>
          <p:cNvSpPr/>
          <p:nvPr/>
        </p:nvSpPr>
        <p:spPr>
          <a:xfrm>
            <a:off x="10245597" y="4884806"/>
            <a:ext cx="1323473" cy="454417"/>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a:solidFill>
                  <a:schemeClr val="tx2"/>
                </a:solidFill>
              </a:rPr>
              <a:t>Planificación de intereses</a:t>
            </a:r>
            <a:endParaRPr lang="en-GB" sz="1600">
              <a:solidFill>
                <a:schemeClr val="tx2"/>
              </a:solidFill>
              <a:cs typeface="Calibri"/>
            </a:endParaRPr>
          </a:p>
        </p:txBody>
      </p:sp>
      <p:sp>
        <p:nvSpPr>
          <p:cNvPr id="57" name="Rechteck 56">
            <a:extLst>
              <a:ext uri="{FF2B5EF4-FFF2-40B4-BE49-F238E27FC236}">
                <a16:creationId xmlns:a16="http://schemas.microsoft.com/office/drawing/2014/main" xmlns="" id="{B9CBDAD9-C1FF-4546-A96F-4B0EE2025BD4}"/>
              </a:ext>
            </a:extLst>
          </p:cNvPr>
          <p:cNvSpPr/>
          <p:nvPr/>
        </p:nvSpPr>
        <p:spPr>
          <a:xfrm>
            <a:off x="8569722" y="4884805"/>
            <a:ext cx="1323473" cy="454417"/>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a:solidFill>
                  <a:schemeClr val="tx2"/>
                </a:solidFill>
              </a:rPr>
              <a:t>Planificación de la amortización</a:t>
            </a:r>
            <a:endParaRPr lang="en-GB" sz="1600">
              <a:solidFill>
                <a:schemeClr val="tx2"/>
              </a:solidFill>
              <a:cs typeface="Calibri"/>
            </a:endParaRPr>
          </a:p>
        </p:txBody>
      </p:sp>
      <p:cxnSp>
        <p:nvCxnSpPr>
          <p:cNvPr id="61" name="Verbinder: gewinkelt 60">
            <a:extLst>
              <a:ext uri="{FF2B5EF4-FFF2-40B4-BE49-F238E27FC236}">
                <a16:creationId xmlns:a16="http://schemas.microsoft.com/office/drawing/2014/main" xmlns="" id="{79B2B378-83B9-4B61-8C14-250D32DACF65}"/>
              </a:ext>
            </a:extLst>
          </p:cNvPr>
          <p:cNvCxnSpPr>
            <a:cxnSpLocks/>
            <a:stCxn id="50" idx="2"/>
            <a:endCxn id="51" idx="0"/>
          </p:cNvCxnSpPr>
          <p:nvPr/>
        </p:nvCxnSpPr>
        <p:spPr>
          <a:xfrm rot="5400000">
            <a:off x="5746402" y="1793840"/>
            <a:ext cx="257688" cy="3373509"/>
          </a:xfrm>
          <a:prstGeom prst="bentConnector3">
            <a:avLst>
              <a:gd name="adj1" fmla="val 50000"/>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winkelt 63">
            <a:extLst>
              <a:ext uri="{FF2B5EF4-FFF2-40B4-BE49-F238E27FC236}">
                <a16:creationId xmlns:a16="http://schemas.microsoft.com/office/drawing/2014/main" xmlns="" id="{C03B179C-E6B2-4D7C-B8B0-B278C6821ECB}"/>
              </a:ext>
            </a:extLst>
          </p:cNvPr>
          <p:cNvCxnSpPr>
            <a:cxnSpLocks/>
            <a:stCxn id="50" idx="2"/>
            <a:endCxn id="52" idx="0"/>
          </p:cNvCxnSpPr>
          <p:nvPr/>
        </p:nvCxnSpPr>
        <p:spPr>
          <a:xfrm rot="5400000">
            <a:off x="6592011" y="2639449"/>
            <a:ext cx="257689" cy="1682291"/>
          </a:xfrm>
          <a:prstGeom prst="bentConnector3">
            <a:avLst>
              <a:gd name="adj1" fmla="val 50000"/>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7" name="Verbinder: gewinkelt 66">
            <a:extLst>
              <a:ext uri="{FF2B5EF4-FFF2-40B4-BE49-F238E27FC236}">
                <a16:creationId xmlns:a16="http://schemas.microsoft.com/office/drawing/2014/main" xmlns="" id="{DF3163E7-A004-449E-8337-4BC1BDAA5800}"/>
              </a:ext>
            </a:extLst>
          </p:cNvPr>
          <p:cNvCxnSpPr>
            <a:cxnSpLocks/>
            <a:stCxn id="50" idx="2"/>
            <a:endCxn id="54" idx="0"/>
          </p:cNvCxnSpPr>
          <p:nvPr/>
        </p:nvCxnSpPr>
        <p:spPr>
          <a:xfrm rot="16200000" flipH="1">
            <a:off x="8267885" y="2645864"/>
            <a:ext cx="257689" cy="1669459"/>
          </a:xfrm>
          <a:prstGeom prst="bentConnector3">
            <a:avLst>
              <a:gd name="adj1" fmla="val 50000"/>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 name="Verbinder: gewinkelt 69">
            <a:extLst>
              <a:ext uri="{FF2B5EF4-FFF2-40B4-BE49-F238E27FC236}">
                <a16:creationId xmlns:a16="http://schemas.microsoft.com/office/drawing/2014/main" xmlns="" id="{3A9B9856-BC87-43C0-BD0A-562B37CE1BDE}"/>
              </a:ext>
            </a:extLst>
          </p:cNvPr>
          <p:cNvCxnSpPr>
            <a:cxnSpLocks/>
          </p:cNvCxnSpPr>
          <p:nvPr/>
        </p:nvCxnSpPr>
        <p:spPr>
          <a:xfrm rot="16200000" flipH="1">
            <a:off x="8785518" y="2123118"/>
            <a:ext cx="888070" cy="3345335"/>
          </a:xfrm>
          <a:prstGeom prst="bentConnector3">
            <a:avLst>
              <a:gd name="adj1" fmla="val 14233"/>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Gerade Verbindung mit Pfeil 73">
            <a:extLst>
              <a:ext uri="{FF2B5EF4-FFF2-40B4-BE49-F238E27FC236}">
                <a16:creationId xmlns:a16="http://schemas.microsoft.com/office/drawing/2014/main" xmlns="" id="{542D386F-A12E-4182-98C2-A04ABB6B5ED5}"/>
              </a:ext>
            </a:extLst>
          </p:cNvPr>
          <p:cNvCxnSpPr>
            <a:cxnSpLocks/>
            <a:stCxn id="53" idx="2"/>
            <a:endCxn id="5" idx="0"/>
          </p:cNvCxnSpPr>
          <p:nvPr/>
        </p:nvCxnSpPr>
        <p:spPr>
          <a:xfrm flipH="1">
            <a:off x="7550761" y="4355359"/>
            <a:ext cx="1615" cy="1215653"/>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xmlns="" id="{79A47B39-EB2F-4994-A1B3-39D0AB823CEC}"/>
              </a:ext>
            </a:extLst>
          </p:cNvPr>
          <p:cNvCxnSpPr>
            <a:cxnSpLocks/>
            <a:stCxn id="52" idx="2"/>
          </p:cNvCxnSpPr>
          <p:nvPr/>
        </p:nvCxnSpPr>
        <p:spPr>
          <a:xfrm>
            <a:off x="5879709" y="4396271"/>
            <a:ext cx="0" cy="1133521"/>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Gerade Verbindung mit Pfeil 79">
            <a:extLst>
              <a:ext uri="{FF2B5EF4-FFF2-40B4-BE49-F238E27FC236}">
                <a16:creationId xmlns:a16="http://schemas.microsoft.com/office/drawing/2014/main" xmlns="" id="{8073B33E-F516-4CFF-BA68-4302DB95D6AD}"/>
              </a:ext>
            </a:extLst>
          </p:cNvPr>
          <p:cNvCxnSpPr>
            <a:cxnSpLocks/>
            <a:stCxn id="51" idx="2"/>
          </p:cNvCxnSpPr>
          <p:nvPr/>
        </p:nvCxnSpPr>
        <p:spPr>
          <a:xfrm>
            <a:off x="4188491" y="4396271"/>
            <a:ext cx="15343" cy="1133521"/>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3" name="Gerade Verbindung mit Pfeil 82">
            <a:extLst>
              <a:ext uri="{FF2B5EF4-FFF2-40B4-BE49-F238E27FC236}">
                <a16:creationId xmlns:a16="http://schemas.microsoft.com/office/drawing/2014/main" xmlns="" id="{86B86325-154A-4ED5-BA1A-B90C5C52310C}"/>
              </a:ext>
            </a:extLst>
          </p:cNvPr>
          <p:cNvCxnSpPr>
            <a:cxnSpLocks/>
            <a:stCxn id="54" idx="2"/>
            <a:endCxn id="57" idx="0"/>
          </p:cNvCxnSpPr>
          <p:nvPr/>
        </p:nvCxnSpPr>
        <p:spPr>
          <a:xfrm>
            <a:off x="9231459" y="4355359"/>
            <a:ext cx="0" cy="529446"/>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xmlns="" id="{FE80AC5D-0AE7-4B15-B672-97744A1AC403}"/>
              </a:ext>
            </a:extLst>
          </p:cNvPr>
          <p:cNvCxnSpPr>
            <a:cxnSpLocks/>
            <a:stCxn id="57" idx="2"/>
          </p:cNvCxnSpPr>
          <p:nvPr/>
        </p:nvCxnSpPr>
        <p:spPr>
          <a:xfrm>
            <a:off x="9231459" y="5339222"/>
            <a:ext cx="0" cy="190570"/>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Gerade Verbindung mit Pfeil 89">
            <a:extLst>
              <a:ext uri="{FF2B5EF4-FFF2-40B4-BE49-F238E27FC236}">
                <a16:creationId xmlns:a16="http://schemas.microsoft.com/office/drawing/2014/main" xmlns="" id="{4518D74A-AB9A-4AA7-AE05-FAFA66E80D35}"/>
              </a:ext>
            </a:extLst>
          </p:cNvPr>
          <p:cNvCxnSpPr>
            <a:cxnSpLocks/>
            <a:stCxn id="55" idx="2"/>
            <a:endCxn id="56" idx="0"/>
          </p:cNvCxnSpPr>
          <p:nvPr/>
        </p:nvCxnSpPr>
        <p:spPr>
          <a:xfrm flipH="1">
            <a:off x="10907334" y="4694237"/>
            <a:ext cx="1" cy="190569"/>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3" name="Gerade Verbindung mit Pfeil 92">
            <a:extLst>
              <a:ext uri="{FF2B5EF4-FFF2-40B4-BE49-F238E27FC236}">
                <a16:creationId xmlns:a16="http://schemas.microsoft.com/office/drawing/2014/main" xmlns="" id="{7AC884F8-CA0A-4AAA-B180-B2886D63B222}"/>
              </a:ext>
            </a:extLst>
          </p:cNvPr>
          <p:cNvCxnSpPr>
            <a:cxnSpLocks/>
            <a:stCxn id="56" idx="2"/>
          </p:cNvCxnSpPr>
          <p:nvPr/>
        </p:nvCxnSpPr>
        <p:spPr>
          <a:xfrm>
            <a:off x="10907334" y="5339223"/>
            <a:ext cx="1" cy="190569"/>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Verbinder: gewinkelt 95">
            <a:extLst>
              <a:ext uri="{FF2B5EF4-FFF2-40B4-BE49-F238E27FC236}">
                <a16:creationId xmlns:a16="http://schemas.microsoft.com/office/drawing/2014/main" xmlns="" id="{4F4F4A9A-3297-4FE5-86B9-26B782E17088}"/>
              </a:ext>
            </a:extLst>
          </p:cNvPr>
          <p:cNvCxnSpPr>
            <a:cxnSpLocks/>
            <a:endCxn id="55" idx="1"/>
          </p:cNvCxnSpPr>
          <p:nvPr/>
        </p:nvCxnSpPr>
        <p:spPr>
          <a:xfrm rot="5400000" flipH="1" flipV="1">
            <a:off x="9630242" y="4914438"/>
            <a:ext cx="1062764" cy="167947"/>
          </a:xfrm>
          <a:prstGeom prst="bentConnector2">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0" name="TextBox 35">
            <a:extLst>
              <a:ext uri="{FF2B5EF4-FFF2-40B4-BE49-F238E27FC236}">
                <a16:creationId xmlns:a16="http://schemas.microsoft.com/office/drawing/2014/main" xmlns="" id="{56855E61-FBFA-4AA1-AF7A-5645026907FD}"/>
              </a:ext>
            </a:extLst>
          </p:cNvPr>
          <p:cNvSpPr txBox="1"/>
          <p:nvPr/>
        </p:nvSpPr>
        <p:spPr>
          <a:xfrm>
            <a:off x="3400464" y="1838763"/>
            <a:ext cx="3907857" cy="338554"/>
          </a:xfrm>
          <a:prstGeom prst="rect">
            <a:avLst/>
          </a:prstGeom>
          <a:noFill/>
        </p:spPr>
        <p:txBody>
          <a:bodyPr wrap="square" lIns="91440" tIns="45720" rIns="91440" bIns="45720" rtlCol="0" anchor="b" anchorCtr="0">
            <a:spAutoFit/>
          </a:bodyPr>
          <a:lstStyle/>
          <a:p>
            <a:r>
              <a:rPr lang="en-US" sz="1600" b="1" dirty="0">
                <a:solidFill>
                  <a:schemeClr val="tx2"/>
                </a:solidFill>
                <a:latin typeface="Poppins"/>
                <a:ea typeface="League Spartan" charset="0"/>
                <a:cs typeface="Poppins" pitchFamily="2" charset="77"/>
              </a:rPr>
              <a:t>Subplanes de planificación de pérdidas y ganancias</a:t>
            </a:r>
          </a:p>
        </p:txBody>
      </p:sp>
      <p:cxnSp>
        <p:nvCxnSpPr>
          <p:cNvPr id="103" name="Gerade Verbindung mit Pfeil 102">
            <a:extLst>
              <a:ext uri="{FF2B5EF4-FFF2-40B4-BE49-F238E27FC236}">
                <a16:creationId xmlns:a16="http://schemas.microsoft.com/office/drawing/2014/main" xmlns="" id="{8D5ECE90-0ED7-4F05-A0CA-A8A1866C9187}"/>
              </a:ext>
            </a:extLst>
          </p:cNvPr>
          <p:cNvCxnSpPr>
            <a:cxnSpLocks/>
            <a:stCxn id="50" idx="2"/>
            <a:endCxn id="53" idx="0"/>
          </p:cNvCxnSpPr>
          <p:nvPr/>
        </p:nvCxnSpPr>
        <p:spPr>
          <a:xfrm flipH="1">
            <a:off x="7552376" y="3351750"/>
            <a:ext cx="9624" cy="257689"/>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105">
            <a:extLst>
              <a:ext uri="{FF2B5EF4-FFF2-40B4-BE49-F238E27FC236}">
                <a16:creationId xmlns:a16="http://schemas.microsoft.com/office/drawing/2014/main" xmlns="" id="{AD19E715-D9EF-45AA-A93A-4F5B572AD67E}"/>
              </a:ext>
            </a:extLst>
          </p:cNvPr>
          <p:cNvCxnSpPr>
            <a:cxnSpLocks/>
            <a:stCxn id="49" idx="2"/>
            <a:endCxn id="50" idx="0"/>
          </p:cNvCxnSpPr>
          <p:nvPr/>
        </p:nvCxnSpPr>
        <p:spPr>
          <a:xfrm>
            <a:off x="7562000" y="2734276"/>
            <a:ext cx="0" cy="163057"/>
          </a:xfrm>
          <a:prstGeom prst="straightConnector1">
            <a:avLst/>
          </a:prstGeom>
          <a:ln>
            <a:solidFill>
              <a:schemeClr val="tx1">
                <a:lumMod val="50000"/>
                <a:lumOff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64321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extLst>
              <p:ext uri="{D42A27DB-BD31-4B8C-83A1-F6EECF244321}">
                <p14:modId xmlns:p14="http://schemas.microsoft.com/office/powerpoint/2010/main" val="2954092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hteck 31">
            <a:extLst>
              <a:ext uri="{FF2B5EF4-FFF2-40B4-BE49-F238E27FC236}">
                <a16:creationId xmlns:a16="http://schemas.microsoft.com/office/drawing/2014/main" xmlns="" id="{F018B139-7093-4A7C-9C0C-F33399D05A5B}"/>
              </a:ext>
            </a:extLst>
          </p:cNvPr>
          <p:cNvSpPr/>
          <p:nvPr/>
        </p:nvSpPr>
        <p:spPr>
          <a:xfrm>
            <a:off x="5115066" y="4447103"/>
            <a:ext cx="3571960" cy="5953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b="1" dirty="0">
                <a:solidFill>
                  <a:schemeClr val="tx2"/>
                </a:solidFill>
              </a:rPr>
              <a:t>= Cambio en el efectivo y equivalentes de efectivo</a:t>
            </a:r>
          </a:p>
        </p:txBody>
      </p:sp>
      <p:sp>
        <p:nvSpPr>
          <p:cNvPr id="33" name="Rechteck 32">
            <a:extLst>
              <a:ext uri="{FF2B5EF4-FFF2-40B4-BE49-F238E27FC236}">
                <a16:creationId xmlns:a16="http://schemas.microsoft.com/office/drawing/2014/main" xmlns="" id="{81C8664D-65B7-4E46-B309-63E75FA4E9F2}"/>
              </a:ext>
            </a:extLst>
          </p:cNvPr>
          <p:cNvSpPr/>
          <p:nvPr/>
        </p:nvSpPr>
        <p:spPr>
          <a:xfrm>
            <a:off x="5180898" y="2579409"/>
            <a:ext cx="3571960" cy="4544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dirty="0">
                <a:solidFill>
                  <a:schemeClr val="tx2"/>
                </a:solidFill>
              </a:rPr>
              <a:t>    Flujo de caja de las actividades de explotación</a:t>
            </a:r>
          </a:p>
        </p:txBody>
      </p:sp>
      <p:sp>
        <p:nvSpPr>
          <p:cNvPr id="34" name="Rechteck 33">
            <a:extLst>
              <a:ext uri="{FF2B5EF4-FFF2-40B4-BE49-F238E27FC236}">
                <a16:creationId xmlns:a16="http://schemas.microsoft.com/office/drawing/2014/main" xmlns="" id="{365AF5B4-2041-47CE-9087-5C8F30BDBAD3}"/>
              </a:ext>
            </a:extLst>
          </p:cNvPr>
          <p:cNvSpPr/>
          <p:nvPr/>
        </p:nvSpPr>
        <p:spPr>
          <a:xfrm>
            <a:off x="5258063" y="3176580"/>
            <a:ext cx="3571960" cy="4544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b="1" dirty="0">
                <a:solidFill>
                  <a:schemeClr val="tx2"/>
                </a:solidFill>
              </a:rPr>
              <a:t>+ </a:t>
            </a:r>
            <a:r>
              <a:rPr lang="en-US" sz="1600" dirty="0">
                <a:solidFill>
                  <a:schemeClr val="tx2"/>
                </a:solidFill>
              </a:rPr>
              <a:t>Flujo de caja de las actividades de inversión</a:t>
            </a:r>
          </a:p>
        </p:txBody>
      </p:sp>
      <p:sp>
        <p:nvSpPr>
          <p:cNvPr id="35" name="Rechteck 34">
            <a:extLst>
              <a:ext uri="{FF2B5EF4-FFF2-40B4-BE49-F238E27FC236}">
                <a16:creationId xmlns:a16="http://schemas.microsoft.com/office/drawing/2014/main" xmlns="" id="{3DF426D4-10A2-4A28-8CDC-C88E76EDFB2B}"/>
              </a:ext>
            </a:extLst>
          </p:cNvPr>
          <p:cNvSpPr/>
          <p:nvPr/>
        </p:nvSpPr>
        <p:spPr>
          <a:xfrm>
            <a:off x="5258063" y="3741650"/>
            <a:ext cx="3571960" cy="4544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en-US" sz="1600" b="1" dirty="0">
                <a:solidFill>
                  <a:schemeClr val="tx2"/>
                </a:solidFill>
              </a:rPr>
              <a:t>+ </a:t>
            </a:r>
            <a:r>
              <a:rPr lang="en-US" sz="1600" dirty="0">
                <a:solidFill>
                  <a:schemeClr val="tx2"/>
                </a:solidFill>
              </a:rPr>
              <a:t>Flujo de caja de las actividades de financiación</a:t>
            </a: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8896" y="764353"/>
            <a:ext cx="11380304" cy="697353"/>
          </a:xfrm>
        </p:spPr>
        <p:txBody>
          <a:bodyPr>
            <a:noAutofit/>
          </a:bodyPr>
          <a:lstStyle/>
          <a:p>
            <a:r>
              <a:rPr lang="en-GB" sz="2800"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94166" y="1761916"/>
            <a:ext cx="4891491" cy="483752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1900" dirty="0">
                <a:solidFill>
                  <a:srgbClr val="245473"/>
                </a:solidFill>
                <a:latin typeface="+mj-lt"/>
                <a:ea typeface="Open Sans Light" panose="020B0306030504020204" pitchFamily="34" charset="0"/>
                <a:cs typeface="Open Sans Light" panose="020B0306030504020204" pitchFamily="34" charset="0"/>
              </a:rPr>
              <a:t>La planificación de la liquidez es extremadamente esencial. Es el instrumento clave de la planificación financiera. La planificación de la liquidez significa nada más y nada menos que garantizar que una empresa siga siendo solvente en todo momento en un futuro previsible. La planificación de la liquidez también ofrece una visión general de la liquidez libre que se puede gestionar a corto, medio y largo plazo.</a:t>
            </a:r>
            <a:endParaRPr lang="en-US" sz="1900" dirty="0">
              <a:solidFill>
                <a:srgbClr val="245473"/>
              </a:solidFill>
            </a:endParaRPr>
          </a:p>
          <a:p>
            <a:pPr algn="l">
              <a:lnSpc>
                <a:spcPct val="100000"/>
              </a:lnSpc>
              <a:spcBef>
                <a:spcPts val="600"/>
              </a:spcBef>
            </a:pPr>
            <a:r>
              <a:rPr lang="en-US" sz="1900" dirty="0" err="1">
                <a:solidFill>
                  <a:srgbClr val="245473"/>
                </a:solidFill>
                <a:latin typeface="+mj-lt"/>
                <a:ea typeface="Open Sans Light" panose="020B0306030504020204" pitchFamily="34" charset="0"/>
                <a:cs typeface="Open Sans Light" panose="020B0306030504020204" pitchFamily="34" charset="0"/>
              </a:rPr>
              <a:t>La </a:t>
            </a:r>
            <a:r>
              <a:rPr lang="en-US" sz="1900" dirty="0">
                <a:solidFill>
                  <a:srgbClr val="245473"/>
                </a:solidFill>
                <a:latin typeface="+mj-lt"/>
                <a:ea typeface="Open Sans Light" panose="020B0306030504020204" pitchFamily="34" charset="0"/>
                <a:cs typeface="Open Sans Light" panose="020B0306030504020204" pitchFamily="34" charset="0"/>
              </a:rPr>
              <a:t>planificación de la liquidez sirve para ilustrar los flujos de caja de todas las unidades organizativas a lo largo del tiempo. Distingue entre diferentes flujos de caja, por ejemplo, los pagos de los clientes y los pagos de los RRHH. El calendario -el horizonte de planificación subyacente- suele incluir los próximos 6-12 meses. Sin embargo, algunos modelos de negocio pueden requerir una planificación con varios años de antelación. </a:t>
            </a:r>
            <a:endParaRPr lang="en-US" sz="1900" b="1" dirty="0">
              <a:solidFill>
                <a:srgbClr val="245473"/>
              </a:solidFill>
              <a:latin typeface="+mj-lt"/>
              <a:ea typeface="Open Sans Light" panose="020B0306030504020204" pitchFamily="34" charset="0"/>
              <a:cs typeface="Open Sans Light" panose="020B0306030504020204" pitchFamily="34" charset="0"/>
            </a:endParaRPr>
          </a:p>
        </p:txBody>
      </p:sp>
      <p:sp>
        <p:nvSpPr>
          <p:cNvPr id="5" name="Rechteck 4">
            <a:extLst>
              <a:ext uri="{FF2B5EF4-FFF2-40B4-BE49-F238E27FC236}">
                <a16:creationId xmlns:a16="http://schemas.microsoft.com/office/drawing/2014/main" xmlns="" id="{CF6E12EC-3064-424E-99AB-27EF93034598}"/>
              </a:ext>
            </a:extLst>
          </p:cNvPr>
          <p:cNvSpPr/>
          <p:nvPr/>
        </p:nvSpPr>
        <p:spPr>
          <a:xfrm>
            <a:off x="8548823" y="4447103"/>
            <a:ext cx="3571960" cy="595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b="1" dirty="0">
                <a:solidFill>
                  <a:schemeClr val="bg1"/>
                </a:solidFill>
              </a:rPr>
              <a:t>Efectivo y equivalentes de efectivo = Total de las partidas 1-3</a:t>
            </a:r>
            <a:endParaRPr lang="de-DE" sz="1600" b="1" dirty="0">
              <a:solidFill>
                <a:schemeClr val="bg1"/>
              </a:solidFill>
            </a:endParaRPr>
          </a:p>
        </p:txBody>
      </p:sp>
      <p:sp>
        <p:nvSpPr>
          <p:cNvPr id="49" name="Rechteck 48">
            <a:extLst>
              <a:ext uri="{FF2B5EF4-FFF2-40B4-BE49-F238E27FC236}">
                <a16:creationId xmlns:a16="http://schemas.microsoft.com/office/drawing/2014/main" xmlns="" id="{F6313C2A-A173-48F9-B296-F2E25D12908F}"/>
              </a:ext>
            </a:extLst>
          </p:cNvPr>
          <p:cNvSpPr/>
          <p:nvPr/>
        </p:nvSpPr>
        <p:spPr>
          <a:xfrm>
            <a:off x="8542314" y="2579409"/>
            <a:ext cx="3571960" cy="45441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tx2"/>
                </a:solidFill>
              </a:rPr>
              <a:t>Entrada/salida de efectivo de las actividades de explotación</a:t>
            </a:r>
            <a:endParaRPr lang="de-DE" sz="1600" dirty="0">
              <a:solidFill>
                <a:schemeClr val="tx2"/>
              </a:solidFill>
            </a:endParaRPr>
          </a:p>
        </p:txBody>
      </p:sp>
      <p:sp>
        <p:nvSpPr>
          <p:cNvPr id="100" name="TextBox 35">
            <a:extLst>
              <a:ext uri="{FF2B5EF4-FFF2-40B4-BE49-F238E27FC236}">
                <a16:creationId xmlns:a16="http://schemas.microsoft.com/office/drawing/2014/main" xmlns="" id="{56855E61-FBFA-4AA1-AF7A-5645026907FD}"/>
              </a:ext>
            </a:extLst>
          </p:cNvPr>
          <p:cNvSpPr txBox="1"/>
          <p:nvPr/>
        </p:nvSpPr>
        <p:spPr>
          <a:xfrm>
            <a:off x="5180898" y="1921493"/>
            <a:ext cx="3907857" cy="400110"/>
          </a:xfrm>
          <a:prstGeom prst="rect">
            <a:avLst/>
          </a:prstGeom>
          <a:noFill/>
        </p:spPr>
        <p:txBody>
          <a:bodyPr wrap="square" rtlCol="0" anchor="b" anchorCtr="0">
            <a:spAutoFit/>
          </a:bodyPr>
          <a:lstStyle/>
          <a:p>
            <a:r>
              <a:rPr lang="en-US" sz="2000" b="1" dirty="0">
                <a:solidFill>
                  <a:srgbClr val="F95C2C"/>
                </a:solidFill>
                <a:latin typeface="+mj-lt"/>
                <a:ea typeface="League Spartan" charset="0"/>
                <a:cs typeface="Poppins" pitchFamily="2" charset="77"/>
              </a:rPr>
              <a:t>Subplanes de planificación de la liquidez</a:t>
            </a:r>
          </a:p>
        </p:txBody>
      </p:sp>
      <p:sp>
        <p:nvSpPr>
          <p:cNvPr id="30" name="Rechteck 29">
            <a:extLst>
              <a:ext uri="{FF2B5EF4-FFF2-40B4-BE49-F238E27FC236}">
                <a16:creationId xmlns:a16="http://schemas.microsoft.com/office/drawing/2014/main" xmlns="" id="{CB52A941-8526-411B-A506-44A1ABD1E91B}"/>
              </a:ext>
            </a:extLst>
          </p:cNvPr>
          <p:cNvSpPr/>
          <p:nvPr/>
        </p:nvSpPr>
        <p:spPr>
          <a:xfrm>
            <a:off x="8542314" y="3186226"/>
            <a:ext cx="3571960" cy="45441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tx2"/>
                </a:solidFill>
              </a:rPr>
              <a:t>Saldo de inversiones/desinversiones</a:t>
            </a:r>
          </a:p>
        </p:txBody>
      </p:sp>
      <p:sp>
        <p:nvSpPr>
          <p:cNvPr id="31" name="Rechteck 30">
            <a:extLst>
              <a:ext uri="{FF2B5EF4-FFF2-40B4-BE49-F238E27FC236}">
                <a16:creationId xmlns:a16="http://schemas.microsoft.com/office/drawing/2014/main" xmlns="" id="{3D027F2A-C7BB-442C-BE44-DB66F4D99BEB}"/>
              </a:ext>
            </a:extLst>
          </p:cNvPr>
          <p:cNvSpPr/>
          <p:nvPr/>
        </p:nvSpPr>
        <p:spPr>
          <a:xfrm>
            <a:off x="8542314" y="3741650"/>
            <a:ext cx="3571960" cy="45441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tx2"/>
                </a:solidFill>
              </a:rPr>
              <a:t>Saldo de las actividades de financiación externa</a:t>
            </a:r>
          </a:p>
        </p:txBody>
      </p:sp>
      <p:cxnSp>
        <p:nvCxnSpPr>
          <p:cNvPr id="7" name="Gerader Verbinder 6">
            <a:extLst>
              <a:ext uri="{FF2B5EF4-FFF2-40B4-BE49-F238E27FC236}">
                <a16:creationId xmlns:a16="http://schemas.microsoft.com/office/drawing/2014/main" xmlns="" id="{CB4BCE39-4255-4997-9BF0-DB788D061721}"/>
              </a:ext>
            </a:extLst>
          </p:cNvPr>
          <p:cNvCxnSpPr>
            <a:cxnSpLocks/>
          </p:cNvCxnSpPr>
          <p:nvPr/>
        </p:nvCxnSpPr>
        <p:spPr>
          <a:xfrm>
            <a:off x="5246503" y="4331599"/>
            <a:ext cx="6877278"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xmlns="" id="{60525234-311B-4B99-A1A3-94996944867C}"/>
              </a:ext>
            </a:extLst>
          </p:cNvPr>
          <p:cNvSpPr txBox="1"/>
          <p:nvPr/>
        </p:nvSpPr>
        <p:spPr>
          <a:xfrm>
            <a:off x="5498102" y="5257348"/>
            <a:ext cx="6101442" cy="923330"/>
          </a:xfrm>
          <a:prstGeom prst="rect">
            <a:avLst/>
          </a:prstGeom>
          <a:noFill/>
        </p:spPr>
        <p:txBody>
          <a:bodyPr wrap="square">
            <a:spAutoFit/>
          </a:bodyPr>
          <a:lstStyle/>
          <a:p>
            <a:r>
              <a:rPr lang="en-US" sz="1800" b="1" dirty="0">
                <a:solidFill>
                  <a:srgbClr val="F95C2C"/>
                </a:solidFill>
                <a:latin typeface="+mj-lt"/>
                <a:ea typeface="Open Sans Light" panose="020B0306030504020204" pitchFamily="34" charset="0"/>
                <a:cs typeface="Open Sans Light" panose="020B0306030504020204" pitchFamily="34" charset="0"/>
              </a:rPr>
              <a:t>No hay que confundir la planificación de la liquidez con la gestión diaria de la tesorería, que se centra únicamente en los saldos futuros de las cuentas bancarias individuales y en la creación de previsiones diarias de tesorería</a:t>
            </a:r>
            <a:r>
              <a:rPr lang="en-US" sz="1700" b="1" dirty="0">
                <a:solidFill>
                  <a:srgbClr val="F95C2C"/>
                </a:solidFill>
                <a:latin typeface="+mj-lt"/>
                <a:ea typeface="Open Sans Light" panose="020B0306030504020204" pitchFamily="34" charset="0"/>
                <a:cs typeface="Open Sans Light" panose="020B0306030504020204" pitchFamily="34" charset="0"/>
              </a:rPr>
              <a:t>.</a:t>
            </a:r>
            <a:endParaRPr lang="en-IE" dirty="0">
              <a:solidFill>
                <a:srgbClr val="F95C2C"/>
              </a:solidFill>
            </a:endParaRPr>
          </a:p>
        </p:txBody>
      </p:sp>
    </p:spTree>
    <p:extLst>
      <p:ext uri="{BB962C8B-B14F-4D97-AF65-F5344CB8AC3E}">
        <p14:creationId xmlns:p14="http://schemas.microsoft.com/office/powerpoint/2010/main" val="12151707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25564" y="656794"/>
            <a:ext cx="9891521" cy="867100"/>
          </a:xfrm>
        </p:spPr>
        <p:txBody>
          <a:bodyPr>
            <a:normAutofit/>
          </a:bodyPr>
          <a:lstStyle/>
          <a:p>
            <a:r>
              <a:rPr lang="en-GB" sz="2800"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7131" y="1882038"/>
            <a:ext cx="2433554"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La planificación financiera comienza con el statu quo. Primero se planifica el desarrollo sin medidas. De este modo se sientan las bases, se hace evidente la necesidad de financiación y se ponen de manifiesto las causas del desequilibrio.</a:t>
            </a:r>
          </a:p>
        </p:txBody>
      </p:sp>
      <p:grpSp>
        <p:nvGrpSpPr>
          <p:cNvPr id="3" name="Gruppieren 2">
            <a:extLst>
              <a:ext uri="{FF2B5EF4-FFF2-40B4-BE49-F238E27FC236}">
                <a16:creationId xmlns:a16="http://schemas.microsoft.com/office/drawing/2014/main" xmlns="" id="{90702F68-82C1-42CC-9582-7CD198FA5AC1}"/>
              </a:ext>
            </a:extLst>
          </p:cNvPr>
          <p:cNvGrpSpPr>
            <a:grpSpLocks noChangeAspect="1"/>
          </p:cNvGrpSpPr>
          <p:nvPr/>
        </p:nvGrpSpPr>
        <p:grpSpPr>
          <a:xfrm>
            <a:off x="5470813" y="2056849"/>
            <a:ext cx="4106971" cy="4106972"/>
            <a:chOff x="5766160" y="2497407"/>
            <a:chExt cx="3413220" cy="3413221"/>
          </a:xfrm>
        </p:grpSpPr>
        <p:sp>
          <p:nvSpPr>
            <p:cNvPr id="15" name="Freeform 38">
              <a:extLst>
                <a:ext uri="{FF2B5EF4-FFF2-40B4-BE49-F238E27FC236}">
                  <a16:creationId xmlns:a16="http://schemas.microsoft.com/office/drawing/2014/main" xmlns="" id="{8EDE0225-25D9-4A5D-937B-C1B3B531F6B2}"/>
                </a:ext>
              </a:extLst>
            </p:cNvPr>
            <p:cNvSpPr/>
            <p:nvPr/>
          </p:nvSpPr>
          <p:spPr>
            <a:xfrm>
              <a:off x="5766160" y="2497407"/>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6" name="Freeform 39">
              <a:extLst>
                <a:ext uri="{FF2B5EF4-FFF2-40B4-BE49-F238E27FC236}">
                  <a16:creationId xmlns:a16="http://schemas.microsoft.com/office/drawing/2014/main" xmlns="" id="{16AE0FC8-7583-4919-A369-3E1B34DC5C04}"/>
                </a:ext>
              </a:extLst>
            </p:cNvPr>
            <p:cNvSpPr/>
            <p:nvPr/>
          </p:nvSpPr>
          <p:spPr>
            <a:xfrm rot="5400000">
              <a:off x="7472770" y="3238401"/>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7" name="Freeform 40">
              <a:extLst>
                <a:ext uri="{FF2B5EF4-FFF2-40B4-BE49-F238E27FC236}">
                  <a16:creationId xmlns:a16="http://schemas.microsoft.com/office/drawing/2014/main" xmlns="" id="{7E93E9F9-3FF7-4606-A59B-D8D903F0FDA9}"/>
                </a:ext>
              </a:extLst>
            </p:cNvPr>
            <p:cNvSpPr/>
            <p:nvPr/>
          </p:nvSpPr>
          <p:spPr>
            <a:xfrm rot="10800000">
              <a:off x="6731776" y="4945011"/>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8" name="Freeform 41">
              <a:extLst>
                <a:ext uri="{FF2B5EF4-FFF2-40B4-BE49-F238E27FC236}">
                  <a16:creationId xmlns:a16="http://schemas.microsoft.com/office/drawing/2014/main" xmlns="" id="{AEEBB382-01E1-4868-891D-33C37437EC4E}"/>
                </a:ext>
              </a:extLst>
            </p:cNvPr>
            <p:cNvSpPr/>
            <p:nvPr/>
          </p:nvSpPr>
          <p:spPr>
            <a:xfrm rot="16200000">
              <a:off x="5025166" y="4204018"/>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9" name="TextBox 43">
              <a:extLst>
                <a:ext uri="{FF2B5EF4-FFF2-40B4-BE49-F238E27FC236}">
                  <a16:creationId xmlns:a16="http://schemas.microsoft.com/office/drawing/2014/main" xmlns="" id="{AEC72BF0-11CD-4FCE-862D-B247DF65D7A2}"/>
                </a:ext>
              </a:extLst>
            </p:cNvPr>
            <p:cNvSpPr txBox="1"/>
            <p:nvPr/>
          </p:nvSpPr>
          <p:spPr>
            <a:xfrm>
              <a:off x="6731778" y="3665409"/>
              <a:ext cx="1481987" cy="1077218"/>
            </a:xfrm>
            <a:prstGeom prst="rect">
              <a:avLst/>
            </a:prstGeom>
            <a:noFill/>
          </p:spPr>
          <p:txBody>
            <a:bodyPr wrap="square" rtlCol="0" anchor="ctr">
              <a:spAutoFit/>
            </a:bodyPr>
            <a:lstStyle/>
            <a:p>
              <a:pPr algn="ctr"/>
              <a:r>
                <a:rPr lang="en-US" sz="1600" b="1" dirty="0">
                  <a:solidFill>
                    <a:schemeClr val="tx2"/>
                  </a:solidFill>
                  <a:latin typeface="+mj-lt"/>
                  <a:cs typeface="Poppins" pitchFamily="2" charset="77"/>
                </a:rPr>
                <a:t>Resumen: Planificación empresarial en la crisis</a:t>
              </a:r>
            </a:p>
          </p:txBody>
        </p:sp>
        <p:sp>
          <p:nvSpPr>
            <p:cNvPr id="20" name="TextBox 44">
              <a:extLst>
                <a:ext uri="{FF2B5EF4-FFF2-40B4-BE49-F238E27FC236}">
                  <a16:creationId xmlns:a16="http://schemas.microsoft.com/office/drawing/2014/main" xmlns="" id="{062D07B8-00B6-4F0A-A8A6-5C88DCB3E2A3}"/>
                </a:ext>
              </a:extLst>
            </p:cNvPr>
            <p:cNvSpPr txBox="1"/>
            <p:nvPr/>
          </p:nvSpPr>
          <p:spPr>
            <a:xfrm>
              <a:off x="6262761" y="2882992"/>
              <a:ext cx="1897460" cy="537153"/>
            </a:xfrm>
            <a:prstGeom prst="rect">
              <a:avLst/>
            </a:prstGeom>
            <a:noFill/>
          </p:spPr>
          <p:txBody>
            <a:bodyPr wrap="none" rtlCol="0" anchor="ctr">
              <a:spAutoFit/>
            </a:bodyPr>
            <a:lstStyle/>
            <a:p>
              <a:pPr algn="ctr"/>
              <a:r>
                <a:rPr lang="en-US" b="1" dirty="0">
                  <a:solidFill>
                    <a:schemeClr val="bg1"/>
                  </a:solidFill>
                  <a:latin typeface="+mj-lt"/>
                  <a:cs typeface="Poppins" pitchFamily="2" charset="77"/>
                </a:rPr>
                <a:t>Descripción de las </a:t>
              </a:r>
              <a:br>
                <a:rPr lang="en-US" b="1" dirty="0">
                  <a:solidFill>
                    <a:schemeClr val="bg1"/>
                  </a:solidFill>
                  <a:latin typeface="+mj-lt"/>
                  <a:cs typeface="Poppins" pitchFamily="2" charset="77"/>
                </a:rPr>
              </a:br>
              <a:r>
                <a:rPr lang="en-US" b="1" dirty="0">
                  <a:solidFill>
                    <a:schemeClr val="bg1"/>
                  </a:solidFill>
                  <a:latin typeface="+mj-lt"/>
                  <a:cs typeface="Poppins" pitchFamily="2" charset="77"/>
                </a:rPr>
                <a:t>problema y áreas de pérdida</a:t>
              </a:r>
            </a:p>
          </p:txBody>
        </p:sp>
        <p:sp>
          <p:nvSpPr>
            <p:cNvPr id="21" name="Freeform 41">
              <a:extLst>
                <a:ext uri="{FF2B5EF4-FFF2-40B4-BE49-F238E27FC236}">
                  <a16:creationId xmlns:a16="http://schemas.microsoft.com/office/drawing/2014/main" xmlns="" id="{CF70DE15-9BE8-40DD-A4E0-E82287C12258}"/>
                </a:ext>
              </a:extLst>
            </p:cNvPr>
            <p:cNvSpPr>
              <a:spLocks noChangeArrowheads="1"/>
            </p:cNvSpPr>
            <p:nvPr/>
          </p:nvSpPr>
          <p:spPr bwMode="auto">
            <a:xfrm>
              <a:off x="7075520" y="2604219"/>
              <a:ext cx="274171" cy="292209"/>
            </a:xfrm>
            <a:custGeom>
              <a:avLst/>
              <a:gdLst>
                <a:gd name="T0" fmla="*/ 450379 w 2344"/>
                <a:gd name="T1" fmla="*/ 478140 h 2500"/>
                <a:gd name="T2" fmla="*/ 731775 w 2344"/>
                <a:gd name="T3" fmla="*/ 421973 h 2500"/>
                <a:gd name="T4" fmla="*/ 731775 w 2344"/>
                <a:gd name="T5" fmla="*/ 703168 h 2500"/>
                <a:gd name="T6" fmla="*/ 450379 w 2344"/>
                <a:gd name="T7" fmla="*/ 646641 h 2500"/>
                <a:gd name="T8" fmla="*/ 731775 w 2344"/>
                <a:gd name="T9" fmla="*/ 703168 h 2500"/>
                <a:gd name="T10" fmla="*/ 366068 w 2344"/>
                <a:gd name="T11" fmla="*/ 365446 h 2500"/>
                <a:gd name="T12" fmla="*/ 337964 w 2344"/>
                <a:gd name="T13" fmla="*/ 337362 h 2500"/>
                <a:gd name="T14" fmla="*/ 366068 w 2344"/>
                <a:gd name="T15" fmla="*/ 309279 h 2500"/>
                <a:gd name="T16" fmla="*/ 394171 w 2344"/>
                <a:gd name="T17" fmla="*/ 337362 h 2500"/>
                <a:gd name="T18" fmla="*/ 366068 w 2344"/>
                <a:gd name="T19" fmla="*/ 478140 h 2500"/>
                <a:gd name="T20" fmla="*/ 337964 w 2344"/>
                <a:gd name="T21" fmla="*/ 449696 h 2500"/>
                <a:gd name="T22" fmla="*/ 366068 w 2344"/>
                <a:gd name="T23" fmla="*/ 421973 h 2500"/>
                <a:gd name="T24" fmla="*/ 394171 w 2344"/>
                <a:gd name="T25" fmla="*/ 449696 h 2500"/>
                <a:gd name="T26" fmla="*/ 366068 w 2344"/>
                <a:gd name="T27" fmla="*/ 478140 h 2500"/>
                <a:gd name="T28" fmla="*/ 366068 w 2344"/>
                <a:gd name="T29" fmla="*/ 590474 h 2500"/>
                <a:gd name="T30" fmla="*/ 337964 w 2344"/>
                <a:gd name="T31" fmla="*/ 562391 h 2500"/>
                <a:gd name="T32" fmla="*/ 366068 w 2344"/>
                <a:gd name="T33" fmla="*/ 534307 h 2500"/>
                <a:gd name="T34" fmla="*/ 394171 w 2344"/>
                <a:gd name="T35" fmla="*/ 562391 h 2500"/>
                <a:gd name="T36" fmla="*/ 366068 w 2344"/>
                <a:gd name="T37" fmla="*/ 703168 h 2500"/>
                <a:gd name="T38" fmla="*/ 337964 w 2344"/>
                <a:gd name="T39" fmla="*/ 674725 h 2500"/>
                <a:gd name="T40" fmla="*/ 366068 w 2344"/>
                <a:gd name="T41" fmla="*/ 646641 h 2500"/>
                <a:gd name="T42" fmla="*/ 394171 w 2344"/>
                <a:gd name="T43" fmla="*/ 674725 h 2500"/>
                <a:gd name="T44" fmla="*/ 366068 w 2344"/>
                <a:gd name="T45" fmla="*/ 703168 h 2500"/>
                <a:gd name="T46" fmla="*/ 619000 w 2344"/>
                <a:gd name="T47" fmla="*/ 534307 h 2500"/>
                <a:gd name="T48" fmla="*/ 450379 w 2344"/>
                <a:gd name="T49" fmla="*/ 590474 h 2500"/>
                <a:gd name="T50" fmla="*/ 450379 w 2344"/>
                <a:gd name="T51" fmla="*/ 309279 h 2500"/>
                <a:gd name="T52" fmla="*/ 703311 w 2344"/>
                <a:gd name="T53" fmla="*/ 365446 h 2500"/>
                <a:gd name="T54" fmla="*/ 450379 w 2344"/>
                <a:gd name="T55" fmla="*/ 309279 h 2500"/>
                <a:gd name="T56" fmla="*/ 647104 w 2344"/>
                <a:gd name="T57" fmla="*/ 140418 h 2500"/>
                <a:gd name="T58" fmla="*/ 450379 w 2344"/>
                <a:gd name="T59" fmla="*/ 196585 h 2500"/>
                <a:gd name="T60" fmla="*/ 225189 w 2344"/>
                <a:gd name="T61" fmla="*/ 815502 h 2500"/>
                <a:gd name="T62" fmla="*/ 197086 w 2344"/>
                <a:gd name="T63" fmla="*/ 843586 h 2500"/>
                <a:gd name="T64" fmla="*/ 168982 w 2344"/>
                <a:gd name="T65" fmla="*/ 815502 h 2500"/>
                <a:gd name="T66" fmla="*/ 168982 w 2344"/>
                <a:gd name="T67" fmla="*/ 309279 h 2500"/>
                <a:gd name="T68" fmla="*/ 225189 w 2344"/>
                <a:gd name="T69" fmla="*/ 281195 h 2500"/>
                <a:gd name="T70" fmla="*/ 112775 w 2344"/>
                <a:gd name="T71" fmla="*/ 590474 h 2500"/>
                <a:gd name="T72" fmla="*/ 56568 w 2344"/>
                <a:gd name="T73" fmla="*/ 309279 h 2500"/>
                <a:gd name="T74" fmla="*/ 84311 w 2344"/>
                <a:gd name="T75" fmla="*/ 281195 h 2500"/>
                <a:gd name="T76" fmla="*/ 112775 w 2344"/>
                <a:gd name="T77" fmla="*/ 309279 h 2500"/>
                <a:gd name="T78" fmla="*/ 225189 w 2344"/>
                <a:gd name="T79" fmla="*/ 0 h 2500"/>
                <a:gd name="T80" fmla="*/ 84311 w 2344"/>
                <a:gd name="T81" fmla="*/ 225028 h 2500"/>
                <a:gd name="T82" fmla="*/ 0 w 2344"/>
                <a:gd name="T83" fmla="*/ 309279 h 2500"/>
                <a:gd name="T84" fmla="*/ 112775 w 2344"/>
                <a:gd name="T85" fmla="*/ 646641 h 2500"/>
                <a:gd name="T86" fmla="*/ 112775 w 2344"/>
                <a:gd name="T87" fmla="*/ 815502 h 2500"/>
                <a:gd name="T88" fmla="*/ 759879 w 2344"/>
                <a:gd name="T89" fmla="*/ 899753 h 2500"/>
                <a:gd name="T90" fmla="*/ 844190 w 2344"/>
                <a:gd name="T91" fmla="*/ 815502 h 2500"/>
                <a:gd name="T92" fmla="*/ 225189 w 2344"/>
                <a:gd name="T93" fmla="*/ 0 h 25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344" h="2500">
                  <a:moveTo>
                    <a:pt x="2031" y="1328"/>
                  </a:moveTo>
                  <a:lnTo>
                    <a:pt x="1250" y="1328"/>
                  </a:lnTo>
                  <a:lnTo>
                    <a:pt x="1250" y="1172"/>
                  </a:lnTo>
                  <a:lnTo>
                    <a:pt x="2031" y="1172"/>
                  </a:lnTo>
                  <a:lnTo>
                    <a:pt x="2031" y="1328"/>
                  </a:lnTo>
                  <a:close/>
                  <a:moveTo>
                    <a:pt x="2031" y="1953"/>
                  </a:moveTo>
                  <a:lnTo>
                    <a:pt x="1250" y="1953"/>
                  </a:lnTo>
                  <a:lnTo>
                    <a:pt x="1250" y="1796"/>
                  </a:lnTo>
                  <a:lnTo>
                    <a:pt x="2031" y="1796"/>
                  </a:lnTo>
                  <a:lnTo>
                    <a:pt x="2031" y="1953"/>
                  </a:lnTo>
                  <a:close/>
                  <a:moveTo>
                    <a:pt x="1016" y="1015"/>
                  </a:moveTo>
                  <a:lnTo>
                    <a:pt x="1016" y="1015"/>
                  </a:lnTo>
                  <a:cubicBezTo>
                    <a:pt x="972" y="1015"/>
                    <a:pt x="938" y="980"/>
                    <a:pt x="938" y="937"/>
                  </a:cubicBezTo>
                  <a:cubicBezTo>
                    <a:pt x="938" y="893"/>
                    <a:pt x="972" y="859"/>
                    <a:pt x="1016" y="859"/>
                  </a:cubicBezTo>
                  <a:cubicBezTo>
                    <a:pt x="1059" y="859"/>
                    <a:pt x="1094" y="893"/>
                    <a:pt x="1094" y="937"/>
                  </a:cubicBezTo>
                  <a:cubicBezTo>
                    <a:pt x="1094" y="980"/>
                    <a:pt x="1059" y="1015"/>
                    <a:pt x="1016" y="1015"/>
                  </a:cubicBezTo>
                  <a:close/>
                  <a:moveTo>
                    <a:pt x="1016" y="1328"/>
                  </a:moveTo>
                  <a:lnTo>
                    <a:pt x="1016" y="1328"/>
                  </a:lnTo>
                  <a:cubicBezTo>
                    <a:pt x="972" y="1328"/>
                    <a:pt x="938" y="1293"/>
                    <a:pt x="938" y="1249"/>
                  </a:cubicBezTo>
                  <a:cubicBezTo>
                    <a:pt x="938" y="1206"/>
                    <a:pt x="972" y="1172"/>
                    <a:pt x="1016" y="1172"/>
                  </a:cubicBezTo>
                  <a:cubicBezTo>
                    <a:pt x="1059" y="1172"/>
                    <a:pt x="1094" y="1206"/>
                    <a:pt x="1094" y="1249"/>
                  </a:cubicBezTo>
                  <a:cubicBezTo>
                    <a:pt x="1094" y="1293"/>
                    <a:pt x="1059" y="1328"/>
                    <a:pt x="1016" y="1328"/>
                  </a:cubicBezTo>
                  <a:close/>
                  <a:moveTo>
                    <a:pt x="1016" y="1640"/>
                  </a:moveTo>
                  <a:lnTo>
                    <a:pt x="1016" y="1640"/>
                  </a:lnTo>
                  <a:cubicBezTo>
                    <a:pt x="972" y="1640"/>
                    <a:pt x="938" y="1605"/>
                    <a:pt x="938" y="1562"/>
                  </a:cubicBezTo>
                  <a:cubicBezTo>
                    <a:pt x="938" y="1519"/>
                    <a:pt x="972" y="1484"/>
                    <a:pt x="1016" y="1484"/>
                  </a:cubicBezTo>
                  <a:cubicBezTo>
                    <a:pt x="1059" y="1484"/>
                    <a:pt x="1094" y="1519"/>
                    <a:pt x="1094" y="1562"/>
                  </a:cubicBezTo>
                  <a:cubicBezTo>
                    <a:pt x="1094" y="1605"/>
                    <a:pt x="1059" y="1640"/>
                    <a:pt x="1016" y="1640"/>
                  </a:cubicBezTo>
                  <a:close/>
                  <a:moveTo>
                    <a:pt x="1016" y="1953"/>
                  </a:moveTo>
                  <a:lnTo>
                    <a:pt x="1016" y="1953"/>
                  </a:lnTo>
                  <a:cubicBezTo>
                    <a:pt x="972" y="1953"/>
                    <a:pt x="938" y="1917"/>
                    <a:pt x="938" y="1874"/>
                  </a:cubicBezTo>
                  <a:cubicBezTo>
                    <a:pt x="938" y="1831"/>
                    <a:pt x="972" y="1796"/>
                    <a:pt x="1016" y="1796"/>
                  </a:cubicBezTo>
                  <a:cubicBezTo>
                    <a:pt x="1059" y="1796"/>
                    <a:pt x="1094" y="1831"/>
                    <a:pt x="1094" y="1874"/>
                  </a:cubicBezTo>
                  <a:cubicBezTo>
                    <a:pt x="1094" y="1917"/>
                    <a:pt x="1059" y="1953"/>
                    <a:pt x="1016" y="1953"/>
                  </a:cubicBezTo>
                  <a:close/>
                  <a:moveTo>
                    <a:pt x="1250" y="1484"/>
                  </a:moveTo>
                  <a:lnTo>
                    <a:pt x="1718" y="1484"/>
                  </a:lnTo>
                  <a:lnTo>
                    <a:pt x="1718" y="1640"/>
                  </a:lnTo>
                  <a:lnTo>
                    <a:pt x="1250" y="1640"/>
                  </a:lnTo>
                  <a:lnTo>
                    <a:pt x="1250" y="1484"/>
                  </a:lnTo>
                  <a:close/>
                  <a:moveTo>
                    <a:pt x="1250" y="859"/>
                  </a:moveTo>
                  <a:lnTo>
                    <a:pt x="1952" y="859"/>
                  </a:lnTo>
                  <a:lnTo>
                    <a:pt x="1952" y="1015"/>
                  </a:lnTo>
                  <a:lnTo>
                    <a:pt x="1250" y="1015"/>
                  </a:lnTo>
                  <a:lnTo>
                    <a:pt x="1250" y="859"/>
                  </a:lnTo>
                  <a:close/>
                  <a:moveTo>
                    <a:pt x="1250" y="390"/>
                  </a:moveTo>
                  <a:lnTo>
                    <a:pt x="1796" y="390"/>
                  </a:lnTo>
                  <a:lnTo>
                    <a:pt x="1796" y="546"/>
                  </a:lnTo>
                  <a:lnTo>
                    <a:pt x="1250" y="546"/>
                  </a:lnTo>
                  <a:lnTo>
                    <a:pt x="1250" y="390"/>
                  </a:lnTo>
                  <a:close/>
                  <a:moveTo>
                    <a:pt x="625" y="2265"/>
                  </a:moveTo>
                  <a:lnTo>
                    <a:pt x="625" y="2265"/>
                  </a:lnTo>
                  <a:cubicBezTo>
                    <a:pt x="625" y="2308"/>
                    <a:pt x="590" y="2343"/>
                    <a:pt x="547" y="2343"/>
                  </a:cubicBezTo>
                  <a:cubicBezTo>
                    <a:pt x="504" y="2343"/>
                    <a:pt x="469" y="2308"/>
                    <a:pt x="469" y="2265"/>
                  </a:cubicBezTo>
                  <a:lnTo>
                    <a:pt x="469" y="859"/>
                  </a:lnTo>
                  <a:cubicBezTo>
                    <a:pt x="469" y="831"/>
                    <a:pt x="463" y="806"/>
                    <a:pt x="454" y="781"/>
                  </a:cubicBezTo>
                  <a:lnTo>
                    <a:pt x="625" y="781"/>
                  </a:lnTo>
                  <a:lnTo>
                    <a:pt x="625" y="2265"/>
                  </a:lnTo>
                  <a:close/>
                  <a:moveTo>
                    <a:pt x="313" y="1640"/>
                  </a:moveTo>
                  <a:lnTo>
                    <a:pt x="157" y="1640"/>
                  </a:lnTo>
                  <a:lnTo>
                    <a:pt x="157" y="859"/>
                  </a:lnTo>
                  <a:cubicBezTo>
                    <a:pt x="157" y="816"/>
                    <a:pt x="191" y="781"/>
                    <a:pt x="234" y="781"/>
                  </a:cubicBezTo>
                  <a:cubicBezTo>
                    <a:pt x="277" y="781"/>
                    <a:pt x="313" y="816"/>
                    <a:pt x="313" y="859"/>
                  </a:cubicBezTo>
                  <a:lnTo>
                    <a:pt x="313" y="1640"/>
                  </a:lnTo>
                  <a:close/>
                  <a:moveTo>
                    <a:pt x="625" y="0"/>
                  </a:moveTo>
                  <a:lnTo>
                    <a:pt x="625" y="625"/>
                  </a:lnTo>
                  <a:lnTo>
                    <a:pt x="234" y="625"/>
                  </a:lnTo>
                  <a:cubicBezTo>
                    <a:pt x="105" y="625"/>
                    <a:pt x="0" y="730"/>
                    <a:pt x="0" y="859"/>
                  </a:cubicBezTo>
                  <a:lnTo>
                    <a:pt x="0" y="1796"/>
                  </a:lnTo>
                  <a:lnTo>
                    <a:pt x="313" y="1796"/>
                  </a:lnTo>
                  <a:lnTo>
                    <a:pt x="313" y="2265"/>
                  </a:lnTo>
                  <a:cubicBezTo>
                    <a:pt x="313" y="2394"/>
                    <a:pt x="418" y="2499"/>
                    <a:pt x="547" y="2499"/>
                  </a:cubicBezTo>
                  <a:lnTo>
                    <a:pt x="2109" y="2499"/>
                  </a:lnTo>
                  <a:cubicBezTo>
                    <a:pt x="2238" y="2499"/>
                    <a:pt x="2343" y="2394"/>
                    <a:pt x="2343" y="2265"/>
                  </a:cubicBezTo>
                  <a:lnTo>
                    <a:pt x="2343" y="0"/>
                  </a:lnTo>
                  <a:lnTo>
                    <a:pt x="625" y="0"/>
                  </a:lnTo>
                  <a:close/>
                </a:path>
              </a:pathLst>
            </a:custGeom>
            <a:solidFill>
              <a:schemeClr val="bg1"/>
            </a:solidFill>
            <a:ln>
              <a:noFill/>
            </a:ln>
            <a:effectLst/>
          </p:spPr>
          <p:txBody>
            <a:bodyPr wrap="none" anchor="ctr"/>
            <a:lstStyle/>
            <a:p>
              <a:endParaRPr lang="en-US" sz="567" dirty="0">
                <a:latin typeface="+mj-lt"/>
              </a:endParaRPr>
            </a:p>
          </p:txBody>
        </p:sp>
        <p:sp>
          <p:nvSpPr>
            <p:cNvPr id="22" name="TextBox 48">
              <a:extLst>
                <a:ext uri="{FF2B5EF4-FFF2-40B4-BE49-F238E27FC236}">
                  <a16:creationId xmlns:a16="http://schemas.microsoft.com/office/drawing/2014/main" xmlns="" id="{D3DC1898-6275-4144-AE76-CED6333A4068}"/>
                </a:ext>
              </a:extLst>
            </p:cNvPr>
            <p:cNvSpPr txBox="1"/>
            <p:nvPr/>
          </p:nvSpPr>
          <p:spPr>
            <a:xfrm>
              <a:off x="6849205" y="5381846"/>
              <a:ext cx="1550867" cy="434838"/>
            </a:xfrm>
            <a:prstGeom prst="rect">
              <a:avLst/>
            </a:prstGeom>
            <a:noFill/>
          </p:spPr>
          <p:txBody>
            <a:bodyPr wrap="none" rtlCol="0" anchor="ctr">
              <a:spAutoFit/>
            </a:bodyPr>
            <a:lstStyle/>
            <a:p>
              <a:pPr algn="ctr"/>
              <a:r>
                <a:rPr lang="en-US" sz="1400" b="1" dirty="0">
                  <a:solidFill>
                    <a:schemeClr val="bg1"/>
                  </a:solidFill>
                  <a:latin typeface="+mj-lt"/>
                  <a:cs typeface="Poppins" pitchFamily="2" charset="77"/>
                </a:rPr>
                <a:t>Estructura de la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planificación de la reconstrucción</a:t>
              </a:r>
            </a:p>
          </p:txBody>
        </p:sp>
        <p:sp>
          <p:nvSpPr>
            <p:cNvPr id="23" name="Freeform 91">
              <a:extLst>
                <a:ext uri="{FF2B5EF4-FFF2-40B4-BE49-F238E27FC236}">
                  <a16:creationId xmlns:a16="http://schemas.microsoft.com/office/drawing/2014/main" xmlns="" id="{175DD395-C0D3-4565-B465-BB6ECC957B3F}"/>
                </a:ext>
              </a:extLst>
            </p:cNvPr>
            <p:cNvSpPr>
              <a:spLocks noChangeArrowheads="1"/>
            </p:cNvSpPr>
            <p:nvPr/>
          </p:nvSpPr>
          <p:spPr bwMode="auto">
            <a:xfrm>
              <a:off x="7455823" y="5054493"/>
              <a:ext cx="337630" cy="316193"/>
            </a:xfrm>
            <a:custGeom>
              <a:avLst/>
              <a:gdLst>
                <a:gd name="T0" fmla="*/ 642085 w 899753"/>
                <a:gd name="T1" fmla="*/ 505575 h 842602"/>
                <a:gd name="T2" fmla="*/ 781355 w 899753"/>
                <a:gd name="T3" fmla="*/ 645275 h 842602"/>
                <a:gd name="T4" fmla="*/ 838935 w 899753"/>
                <a:gd name="T5" fmla="*/ 505575 h 842602"/>
                <a:gd name="T6" fmla="*/ 506413 w 899753"/>
                <a:gd name="T7" fmla="*/ 449262 h 842602"/>
                <a:gd name="T8" fmla="*/ 899753 w 899753"/>
                <a:gd name="T9" fmla="*/ 449262 h 842602"/>
                <a:gd name="T10" fmla="*/ 784594 w 899753"/>
                <a:gd name="T11" fmla="*/ 728301 h 842602"/>
                <a:gd name="T12" fmla="*/ 506990 w 899753"/>
                <a:gd name="T13" fmla="*/ 61123 h 842602"/>
                <a:gd name="T14" fmla="*/ 506990 w 899753"/>
                <a:gd name="T15" fmla="*/ 336892 h 842602"/>
                <a:gd name="T16" fmla="*/ 783372 w 899753"/>
                <a:gd name="T17" fmla="*/ 336892 h 842602"/>
                <a:gd name="T18" fmla="*/ 506990 w 899753"/>
                <a:gd name="T19" fmla="*/ 61123 h 842602"/>
                <a:gd name="T20" fmla="*/ 394203 w 899753"/>
                <a:gd name="T21" fmla="*/ 55562 h 842602"/>
                <a:gd name="T22" fmla="*/ 394203 w 899753"/>
                <a:gd name="T23" fmla="*/ 449082 h 842602"/>
                <a:gd name="T24" fmla="*/ 672740 w 899753"/>
                <a:gd name="T25" fmla="*/ 727390 h 842602"/>
                <a:gd name="T26" fmla="*/ 394203 w 899753"/>
                <a:gd name="T27" fmla="*/ 842602 h 842602"/>
                <a:gd name="T28" fmla="*/ 0 w 899753"/>
                <a:gd name="T29" fmla="*/ 449082 h 842602"/>
                <a:gd name="T30" fmla="*/ 394203 w 899753"/>
                <a:gd name="T31" fmla="*/ 55562 h 842602"/>
                <a:gd name="T32" fmla="*/ 450850 w 899753"/>
                <a:gd name="T33" fmla="*/ 0 h 842602"/>
                <a:gd name="T34" fmla="*/ 844190 w 899753"/>
                <a:gd name="T35" fmla="*/ 393341 h 842602"/>
                <a:gd name="T36" fmla="*/ 450850 w 899753"/>
                <a:gd name="T37" fmla="*/ 393341 h 8426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99753" h="842602">
                  <a:moveTo>
                    <a:pt x="642085" y="505575"/>
                  </a:moveTo>
                  <a:lnTo>
                    <a:pt x="781355" y="645275"/>
                  </a:lnTo>
                  <a:cubicBezTo>
                    <a:pt x="810865" y="603763"/>
                    <a:pt x="830658" y="556113"/>
                    <a:pt x="838935" y="505575"/>
                  </a:cubicBezTo>
                  <a:lnTo>
                    <a:pt x="642085" y="505575"/>
                  </a:lnTo>
                  <a:close/>
                  <a:moveTo>
                    <a:pt x="506413" y="449262"/>
                  </a:moveTo>
                  <a:lnTo>
                    <a:pt x="899753" y="449262"/>
                  </a:lnTo>
                  <a:cubicBezTo>
                    <a:pt x="899753" y="558279"/>
                    <a:pt x="855849" y="656827"/>
                    <a:pt x="784594" y="728301"/>
                  </a:cubicBezTo>
                  <a:lnTo>
                    <a:pt x="506413" y="449262"/>
                  </a:lnTo>
                  <a:close/>
                  <a:moveTo>
                    <a:pt x="506990" y="61123"/>
                  </a:moveTo>
                  <a:lnTo>
                    <a:pt x="506990" y="336892"/>
                  </a:lnTo>
                  <a:lnTo>
                    <a:pt x="783372" y="336892"/>
                  </a:lnTo>
                  <a:cubicBezTo>
                    <a:pt x="759620" y="195951"/>
                    <a:pt x="648060" y="84493"/>
                    <a:pt x="506990" y="61123"/>
                  </a:cubicBezTo>
                  <a:close/>
                  <a:moveTo>
                    <a:pt x="394203" y="55562"/>
                  </a:moveTo>
                  <a:lnTo>
                    <a:pt x="394203" y="449082"/>
                  </a:lnTo>
                  <a:lnTo>
                    <a:pt x="672740" y="727390"/>
                  </a:lnTo>
                  <a:cubicBezTo>
                    <a:pt x="601394" y="798678"/>
                    <a:pt x="502663" y="842602"/>
                    <a:pt x="394203" y="842602"/>
                  </a:cubicBezTo>
                  <a:cubicBezTo>
                    <a:pt x="176203" y="842602"/>
                    <a:pt x="0" y="666544"/>
                    <a:pt x="0" y="449082"/>
                  </a:cubicBezTo>
                  <a:cubicBezTo>
                    <a:pt x="0" y="231620"/>
                    <a:pt x="176203" y="55562"/>
                    <a:pt x="394203" y="55562"/>
                  </a:cubicBezTo>
                  <a:close/>
                  <a:moveTo>
                    <a:pt x="450850" y="0"/>
                  </a:moveTo>
                  <a:cubicBezTo>
                    <a:pt x="668213" y="0"/>
                    <a:pt x="844190" y="176176"/>
                    <a:pt x="844190" y="393341"/>
                  </a:cubicBezTo>
                  <a:lnTo>
                    <a:pt x="450850" y="393341"/>
                  </a:lnTo>
                  <a:lnTo>
                    <a:pt x="450850" y="0"/>
                  </a:lnTo>
                  <a:close/>
                </a:path>
              </a:pathLst>
            </a:custGeom>
            <a:solidFill>
              <a:schemeClr val="bg1"/>
            </a:solidFill>
            <a:ln>
              <a:noFill/>
            </a:ln>
            <a:effectLst/>
          </p:spPr>
          <p:txBody>
            <a:bodyPr anchor="ctr"/>
            <a:lstStyle/>
            <a:p>
              <a:endParaRPr lang="en-US" sz="567" dirty="0">
                <a:latin typeface="+mj-lt"/>
              </a:endParaRPr>
            </a:p>
          </p:txBody>
        </p:sp>
        <p:sp>
          <p:nvSpPr>
            <p:cNvPr id="24" name="Freeform 85">
              <a:extLst>
                <a:ext uri="{FF2B5EF4-FFF2-40B4-BE49-F238E27FC236}">
                  <a16:creationId xmlns:a16="http://schemas.microsoft.com/office/drawing/2014/main" xmlns="" id="{3053E684-6E0D-45A0-9C61-C9628CBF964C}"/>
                </a:ext>
              </a:extLst>
            </p:cNvPr>
            <p:cNvSpPr>
              <a:spLocks noChangeArrowheads="1"/>
            </p:cNvSpPr>
            <p:nvPr/>
          </p:nvSpPr>
          <p:spPr bwMode="auto">
            <a:xfrm>
              <a:off x="8550468" y="3463023"/>
              <a:ext cx="292208" cy="292209"/>
            </a:xfrm>
            <a:custGeom>
              <a:avLst/>
              <a:gdLst>
                <a:gd name="T0" fmla="*/ 422275 w 899752"/>
                <a:gd name="T1" fmla="*/ 280988 h 899754"/>
                <a:gd name="T2" fmla="*/ 534627 w 899752"/>
                <a:gd name="T3" fmla="*/ 365919 h 899754"/>
                <a:gd name="T4" fmla="*/ 422275 w 899752"/>
                <a:gd name="T5" fmla="*/ 450489 h 899754"/>
                <a:gd name="T6" fmla="*/ 57150 w 899752"/>
                <a:gd name="T7" fmla="*/ 225425 h 899754"/>
                <a:gd name="T8" fmla="*/ 113290 w 899752"/>
                <a:gd name="T9" fmla="*/ 225425 h 899754"/>
                <a:gd name="T10" fmla="*/ 113290 w 899752"/>
                <a:gd name="T11" fmla="*/ 562409 h 899754"/>
                <a:gd name="T12" fmla="*/ 422420 w 899752"/>
                <a:gd name="T13" fmla="*/ 562409 h 899754"/>
                <a:gd name="T14" fmla="*/ 478560 w 899752"/>
                <a:gd name="T15" fmla="*/ 562409 h 899754"/>
                <a:gd name="T16" fmla="*/ 787690 w 899752"/>
                <a:gd name="T17" fmla="*/ 562409 h 899754"/>
                <a:gd name="T18" fmla="*/ 787690 w 899752"/>
                <a:gd name="T19" fmla="*/ 225425 h 899754"/>
                <a:gd name="T20" fmla="*/ 844190 w 899752"/>
                <a:gd name="T21" fmla="*/ 225425 h 899754"/>
                <a:gd name="T22" fmla="*/ 844190 w 899752"/>
                <a:gd name="T23" fmla="*/ 618873 h 899754"/>
                <a:gd name="T24" fmla="*/ 478560 w 899752"/>
                <a:gd name="T25" fmla="*/ 618873 h 899754"/>
                <a:gd name="T26" fmla="*/ 478560 w 899752"/>
                <a:gd name="T27" fmla="*/ 803729 h 899754"/>
                <a:gd name="T28" fmla="*/ 490436 w 899752"/>
                <a:gd name="T29" fmla="*/ 815597 h 899754"/>
                <a:gd name="T30" fmla="*/ 518146 w 899752"/>
                <a:gd name="T31" fmla="*/ 843649 h 899754"/>
                <a:gd name="T32" fmla="*/ 590840 w 899752"/>
                <a:gd name="T33" fmla="*/ 843649 h 899754"/>
                <a:gd name="T34" fmla="*/ 590840 w 899752"/>
                <a:gd name="T35" fmla="*/ 899754 h 899754"/>
                <a:gd name="T36" fmla="*/ 495114 w 899752"/>
                <a:gd name="T37" fmla="*/ 899754 h 899754"/>
                <a:gd name="T38" fmla="*/ 450490 w 899752"/>
                <a:gd name="T39" fmla="*/ 855158 h 899754"/>
                <a:gd name="T40" fmla="*/ 405866 w 899752"/>
                <a:gd name="T41" fmla="*/ 899754 h 899754"/>
                <a:gd name="T42" fmla="*/ 309780 w 899752"/>
                <a:gd name="T43" fmla="*/ 899754 h 899754"/>
                <a:gd name="T44" fmla="*/ 309780 w 899752"/>
                <a:gd name="T45" fmla="*/ 843649 h 899754"/>
                <a:gd name="T46" fmla="*/ 382475 w 899752"/>
                <a:gd name="T47" fmla="*/ 843649 h 899754"/>
                <a:gd name="T48" fmla="*/ 410904 w 899752"/>
                <a:gd name="T49" fmla="*/ 815597 h 899754"/>
                <a:gd name="T50" fmla="*/ 422420 w 899752"/>
                <a:gd name="T51" fmla="*/ 803729 h 899754"/>
                <a:gd name="T52" fmla="*/ 422420 w 899752"/>
                <a:gd name="T53" fmla="*/ 618873 h 899754"/>
                <a:gd name="T54" fmla="*/ 57150 w 899752"/>
                <a:gd name="T55" fmla="*/ 618873 h 899754"/>
                <a:gd name="T56" fmla="*/ 421804 w 899752"/>
                <a:gd name="T57" fmla="*/ 0 h 899754"/>
                <a:gd name="T58" fmla="*/ 477949 w 899752"/>
                <a:gd name="T59" fmla="*/ 0 h 899754"/>
                <a:gd name="T60" fmla="*/ 477949 w 899752"/>
                <a:gd name="T61" fmla="*/ 56380 h 899754"/>
                <a:gd name="T62" fmla="*/ 899752 w 899752"/>
                <a:gd name="T63" fmla="*/ 56380 h 899754"/>
                <a:gd name="T64" fmla="*/ 899752 w 899752"/>
                <a:gd name="T65" fmla="*/ 169501 h 899754"/>
                <a:gd name="T66" fmla="*/ 0 w 899752"/>
                <a:gd name="T67" fmla="*/ 169501 h 899754"/>
                <a:gd name="T68" fmla="*/ 0 w 899752"/>
                <a:gd name="T69" fmla="*/ 56380 h 899754"/>
                <a:gd name="T70" fmla="*/ 421804 w 899752"/>
                <a:gd name="T71" fmla="*/ 56380 h 89975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99752" h="899754">
                  <a:moveTo>
                    <a:pt x="422275" y="280988"/>
                  </a:moveTo>
                  <a:lnTo>
                    <a:pt x="534627" y="365919"/>
                  </a:lnTo>
                  <a:lnTo>
                    <a:pt x="422275" y="450489"/>
                  </a:lnTo>
                  <a:lnTo>
                    <a:pt x="422275" y="280988"/>
                  </a:lnTo>
                  <a:close/>
                  <a:moveTo>
                    <a:pt x="57150" y="225425"/>
                  </a:moveTo>
                  <a:lnTo>
                    <a:pt x="113290" y="225425"/>
                  </a:lnTo>
                  <a:lnTo>
                    <a:pt x="113290" y="562409"/>
                  </a:lnTo>
                  <a:lnTo>
                    <a:pt x="422420" y="562409"/>
                  </a:lnTo>
                  <a:lnTo>
                    <a:pt x="478560" y="562409"/>
                  </a:lnTo>
                  <a:lnTo>
                    <a:pt x="787690" y="562409"/>
                  </a:lnTo>
                  <a:lnTo>
                    <a:pt x="787690" y="225425"/>
                  </a:lnTo>
                  <a:lnTo>
                    <a:pt x="844190" y="225425"/>
                  </a:lnTo>
                  <a:lnTo>
                    <a:pt x="844190" y="618873"/>
                  </a:lnTo>
                  <a:lnTo>
                    <a:pt x="478560" y="618873"/>
                  </a:lnTo>
                  <a:lnTo>
                    <a:pt x="478560" y="803729"/>
                  </a:lnTo>
                  <a:lnTo>
                    <a:pt x="490436" y="815597"/>
                  </a:lnTo>
                  <a:lnTo>
                    <a:pt x="518146" y="843649"/>
                  </a:lnTo>
                  <a:lnTo>
                    <a:pt x="590840" y="843649"/>
                  </a:lnTo>
                  <a:lnTo>
                    <a:pt x="590840" y="899754"/>
                  </a:lnTo>
                  <a:lnTo>
                    <a:pt x="495114" y="899754"/>
                  </a:lnTo>
                  <a:lnTo>
                    <a:pt x="450490" y="855158"/>
                  </a:lnTo>
                  <a:lnTo>
                    <a:pt x="405866" y="899754"/>
                  </a:lnTo>
                  <a:lnTo>
                    <a:pt x="309780" y="899754"/>
                  </a:lnTo>
                  <a:lnTo>
                    <a:pt x="309780" y="843649"/>
                  </a:lnTo>
                  <a:lnTo>
                    <a:pt x="382475" y="843649"/>
                  </a:lnTo>
                  <a:lnTo>
                    <a:pt x="410904" y="815597"/>
                  </a:lnTo>
                  <a:lnTo>
                    <a:pt x="422420" y="803729"/>
                  </a:lnTo>
                  <a:lnTo>
                    <a:pt x="422420" y="618873"/>
                  </a:lnTo>
                  <a:lnTo>
                    <a:pt x="57150" y="618873"/>
                  </a:lnTo>
                  <a:lnTo>
                    <a:pt x="57150" y="225425"/>
                  </a:lnTo>
                  <a:close/>
                  <a:moveTo>
                    <a:pt x="421804" y="0"/>
                  </a:moveTo>
                  <a:lnTo>
                    <a:pt x="477949" y="0"/>
                  </a:lnTo>
                  <a:lnTo>
                    <a:pt x="477949" y="56380"/>
                  </a:lnTo>
                  <a:lnTo>
                    <a:pt x="899752" y="56380"/>
                  </a:lnTo>
                  <a:lnTo>
                    <a:pt x="899752" y="169501"/>
                  </a:lnTo>
                  <a:lnTo>
                    <a:pt x="0" y="169501"/>
                  </a:lnTo>
                  <a:lnTo>
                    <a:pt x="0" y="56380"/>
                  </a:lnTo>
                  <a:lnTo>
                    <a:pt x="421804" y="56380"/>
                  </a:lnTo>
                  <a:lnTo>
                    <a:pt x="421804" y="0"/>
                  </a:lnTo>
                  <a:close/>
                </a:path>
              </a:pathLst>
            </a:custGeom>
            <a:solidFill>
              <a:schemeClr val="bg1"/>
            </a:solidFill>
            <a:ln>
              <a:noFill/>
            </a:ln>
            <a:effectLst/>
          </p:spPr>
          <p:txBody>
            <a:bodyPr anchor="ctr"/>
            <a:lstStyle/>
            <a:p>
              <a:endParaRPr lang="en-US" sz="567" dirty="0">
                <a:latin typeface="+mj-lt"/>
              </a:endParaRPr>
            </a:p>
          </p:txBody>
        </p:sp>
        <p:sp>
          <p:nvSpPr>
            <p:cNvPr id="25" name="TextBox 52">
              <a:extLst>
                <a:ext uri="{FF2B5EF4-FFF2-40B4-BE49-F238E27FC236}">
                  <a16:creationId xmlns:a16="http://schemas.microsoft.com/office/drawing/2014/main" xmlns="" id="{2B63EF41-C744-40AC-9070-4071716CB85A}"/>
                </a:ext>
              </a:extLst>
            </p:cNvPr>
            <p:cNvSpPr txBox="1"/>
            <p:nvPr/>
          </p:nvSpPr>
          <p:spPr>
            <a:xfrm>
              <a:off x="8248492" y="3869920"/>
              <a:ext cx="896161" cy="971990"/>
            </a:xfrm>
            <a:prstGeom prst="rect">
              <a:avLst/>
            </a:prstGeom>
            <a:noFill/>
          </p:spPr>
          <p:txBody>
            <a:bodyPr wrap="none" rtlCol="0" anchor="t">
              <a:spAutoFit/>
            </a:bodyPr>
            <a:lstStyle/>
            <a:p>
              <a:pPr algn="ctr"/>
              <a:r>
                <a:rPr lang="en-US" sz="1400" b="1" dirty="0">
                  <a:solidFill>
                    <a:schemeClr val="bg1"/>
                  </a:solidFill>
                  <a:latin typeface="+mj-lt"/>
                  <a:cs typeface="Poppins" pitchFamily="2" charset="77"/>
                </a:rPr>
                <a:t>Presentación</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 de los</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 efecto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de la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medidas</a:t>
              </a:r>
            </a:p>
          </p:txBody>
        </p:sp>
        <p:sp>
          <p:nvSpPr>
            <p:cNvPr id="26" name="TextBox 56">
              <a:extLst>
                <a:ext uri="{FF2B5EF4-FFF2-40B4-BE49-F238E27FC236}">
                  <a16:creationId xmlns:a16="http://schemas.microsoft.com/office/drawing/2014/main" xmlns="" id="{C35268F3-A728-411A-B2B9-9925690FCD38}"/>
                </a:ext>
              </a:extLst>
            </p:cNvPr>
            <p:cNvSpPr txBox="1"/>
            <p:nvPr/>
          </p:nvSpPr>
          <p:spPr>
            <a:xfrm>
              <a:off x="5853432" y="4478848"/>
              <a:ext cx="791074" cy="613889"/>
            </a:xfrm>
            <a:prstGeom prst="rect">
              <a:avLst/>
            </a:prstGeom>
            <a:noFill/>
          </p:spPr>
          <p:txBody>
            <a:bodyPr wrap="none" rtlCol="0" anchor="t">
              <a:spAutoFit/>
            </a:bodyPr>
            <a:lstStyle/>
            <a:p>
              <a:pPr algn="ctr"/>
              <a:r>
                <a:rPr lang="en-US" sz="1400" b="1" dirty="0">
                  <a:solidFill>
                    <a:schemeClr val="bg1"/>
                  </a:solidFill>
                  <a:latin typeface="+mj-lt"/>
                  <a:cs typeface="Poppins" pitchFamily="2" charset="77"/>
                </a:rPr>
                <a:t>Cifras clave</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y</a:t>
              </a:r>
              <a:br>
                <a:rPr lang="en-US" sz="1400" b="1" dirty="0">
                  <a:solidFill>
                    <a:schemeClr val="bg1"/>
                  </a:solidFill>
                  <a:latin typeface="+mj-lt"/>
                  <a:cs typeface="Poppins" pitchFamily="2" charset="77"/>
                </a:rPr>
              </a:br>
              <a:r>
                <a:rPr lang="en-US" sz="1400" b="1" dirty="0" err="1">
                  <a:solidFill>
                    <a:schemeClr val="bg1"/>
                  </a:solidFill>
                  <a:latin typeface="+mj-lt"/>
                  <a:cs typeface="Poppins" pitchFamily="2" charset="77"/>
                </a:rPr>
                <a:t>indicadores</a:t>
              </a:r>
              <a:endParaRPr lang="en-US" sz="1400" b="1" dirty="0">
                <a:solidFill>
                  <a:schemeClr val="bg1"/>
                </a:solidFill>
                <a:latin typeface="+mj-lt"/>
                <a:cs typeface="Poppins" pitchFamily="2" charset="77"/>
              </a:endParaRPr>
            </a:p>
          </p:txBody>
        </p:sp>
        <p:sp>
          <p:nvSpPr>
            <p:cNvPr id="27" name="Freeform 89">
              <a:extLst>
                <a:ext uri="{FF2B5EF4-FFF2-40B4-BE49-F238E27FC236}">
                  <a16:creationId xmlns:a16="http://schemas.microsoft.com/office/drawing/2014/main" xmlns="" id="{63CF15F4-E96F-4DEC-B6F8-6B270256BC65}"/>
                </a:ext>
              </a:extLst>
            </p:cNvPr>
            <p:cNvSpPr>
              <a:spLocks noChangeArrowheads="1"/>
            </p:cNvSpPr>
            <p:nvPr/>
          </p:nvSpPr>
          <p:spPr bwMode="auto">
            <a:xfrm>
              <a:off x="6086214" y="4113511"/>
              <a:ext cx="325508" cy="243558"/>
            </a:xfrm>
            <a:custGeom>
              <a:avLst/>
              <a:gdLst>
                <a:gd name="T0" fmla="*/ 573956 w 901340"/>
                <a:gd name="T1" fmla="*/ 561975 h 674329"/>
                <a:gd name="T2" fmla="*/ 901340 w 901340"/>
                <a:gd name="T3" fmla="*/ 561975 h 674329"/>
                <a:gd name="T4" fmla="*/ 901340 w 901340"/>
                <a:gd name="T5" fmla="*/ 674329 h 674329"/>
                <a:gd name="T6" fmla="*/ 468313 w 901340"/>
                <a:gd name="T7" fmla="*/ 674329 h 674329"/>
                <a:gd name="T8" fmla="*/ 573956 w 901340"/>
                <a:gd name="T9" fmla="*/ 561975 h 674329"/>
                <a:gd name="T10" fmla="*/ 616811 w 901340"/>
                <a:gd name="T11" fmla="*/ 420688 h 674329"/>
                <a:gd name="T12" fmla="*/ 842604 w 901340"/>
                <a:gd name="T13" fmla="*/ 420688 h 674329"/>
                <a:gd name="T14" fmla="*/ 842604 w 901340"/>
                <a:gd name="T15" fmla="*/ 533040 h 674329"/>
                <a:gd name="T16" fmla="*/ 587375 w 901340"/>
                <a:gd name="T17" fmla="*/ 533040 h 674329"/>
                <a:gd name="T18" fmla="*/ 616811 w 901340"/>
                <a:gd name="T19" fmla="*/ 420688 h 674329"/>
                <a:gd name="T20" fmla="*/ 600075 w 901340"/>
                <a:gd name="T21" fmla="*/ 280988 h 674329"/>
                <a:gd name="T22" fmla="*/ 901339 w 901340"/>
                <a:gd name="T23" fmla="*/ 280988 h 674329"/>
                <a:gd name="T24" fmla="*/ 901339 w 901340"/>
                <a:gd name="T25" fmla="*/ 393341 h 674329"/>
                <a:gd name="T26" fmla="*/ 619919 w 901340"/>
                <a:gd name="T27" fmla="*/ 393341 h 674329"/>
                <a:gd name="T28" fmla="*/ 600075 w 901340"/>
                <a:gd name="T29" fmla="*/ 280988 h 674329"/>
                <a:gd name="T30" fmla="*/ 196799 w 901340"/>
                <a:gd name="T31" fmla="*/ 280982 h 674329"/>
                <a:gd name="T32" fmla="*/ 196799 w 901340"/>
                <a:gd name="T33" fmla="*/ 337072 h 674329"/>
                <a:gd name="T34" fmla="*/ 252925 w 901340"/>
                <a:gd name="T35" fmla="*/ 337072 h 674329"/>
                <a:gd name="T36" fmla="*/ 252925 w 901340"/>
                <a:gd name="T37" fmla="*/ 449611 h 674329"/>
                <a:gd name="T38" fmla="*/ 196799 w 901340"/>
                <a:gd name="T39" fmla="*/ 449611 h 674329"/>
                <a:gd name="T40" fmla="*/ 196799 w 901340"/>
                <a:gd name="T41" fmla="*/ 505700 h 674329"/>
                <a:gd name="T42" fmla="*/ 365176 w 901340"/>
                <a:gd name="T43" fmla="*/ 505700 h 674329"/>
                <a:gd name="T44" fmla="*/ 365176 w 901340"/>
                <a:gd name="T45" fmla="*/ 449611 h 674329"/>
                <a:gd name="T46" fmla="*/ 309051 w 901340"/>
                <a:gd name="T47" fmla="*/ 449611 h 674329"/>
                <a:gd name="T48" fmla="*/ 309051 w 901340"/>
                <a:gd name="T49" fmla="*/ 280982 h 674329"/>
                <a:gd name="T50" fmla="*/ 503238 w 901340"/>
                <a:gd name="T51" fmla="*/ 139700 h 674329"/>
                <a:gd name="T52" fmla="*/ 787040 w 901340"/>
                <a:gd name="T53" fmla="*/ 139700 h 674329"/>
                <a:gd name="T54" fmla="*/ 787040 w 901340"/>
                <a:gd name="T55" fmla="*/ 252053 h 674329"/>
                <a:gd name="T56" fmla="*/ 587154 w 901340"/>
                <a:gd name="T57" fmla="*/ 252053 h 674329"/>
                <a:gd name="T58" fmla="*/ 503238 w 901340"/>
                <a:gd name="T59" fmla="*/ 139700 h 674329"/>
                <a:gd name="T60" fmla="*/ 280988 w 901340"/>
                <a:gd name="T61" fmla="*/ 112713 h 674329"/>
                <a:gd name="T62" fmla="*/ 561615 w 901340"/>
                <a:gd name="T63" fmla="*/ 393521 h 674329"/>
                <a:gd name="T64" fmla="*/ 280988 w 901340"/>
                <a:gd name="T65" fmla="*/ 674329 h 674329"/>
                <a:gd name="T66" fmla="*/ 0 w 901340"/>
                <a:gd name="T67" fmla="*/ 393521 h 674329"/>
                <a:gd name="T68" fmla="*/ 280988 w 901340"/>
                <a:gd name="T69" fmla="*/ 112713 h 674329"/>
                <a:gd name="T70" fmla="*/ 282575 w 901340"/>
                <a:gd name="T71" fmla="*/ 0 h 674329"/>
                <a:gd name="T72" fmla="*/ 844190 w 901340"/>
                <a:gd name="T73" fmla="*/ 0 h 674329"/>
                <a:gd name="T74" fmla="*/ 844190 w 901340"/>
                <a:gd name="T75" fmla="*/ 112353 h 674329"/>
                <a:gd name="T76" fmla="*/ 468221 w 901340"/>
                <a:gd name="T77" fmla="*/ 112353 h 674329"/>
                <a:gd name="T78" fmla="*/ 282575 w 901340"/>
                <a:gd name="T79" fmla="*/ 55816 h 6743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01340" h="674329">
                  <a:moveTo>
                    <a:pt x="573956" y="561975"/>
                  </a:moveTo>
                  <a:lnTo>
                    <a:pt x="901340" y="561975"/>
                  </a:lnTo>
                  <a:lnTo>
                    <a:pt x="901340" y="674329"/>
                  </a:lnTo>
                  <a:lnTo>
                    <a:pt x="468313" y="674329"/>
                  </a:lnTo>
                  <a:cubicBezTo>
                    <a:pt x="511940" y="645613"/>
                    <a:pt x="547996" y="607204"/>
                    <a:pt x="573956" y="561975"/>
                  </a:cubicBezTo>
                  <a:close/>
                  <a:moveTo>
                    <a:pt x="616811" y="420688"/>
                  </a:moveTo>
                  <a:lnTo>
                    <a:pt x="842604" y="420688"/>
                  </a:lnTo>
                  <a:lnTo>
                    <a:pt x="842604" y="533040"/>
                  </a:lnTo>
                  <a:lnTo>
                    <a:pt x="587375" y="533040"/>
                  </a:lnTo>
                  <a:cubicBezTo>
                    <a:pt x="603529" y="498470"/>
                    <a:pt x="613580" y="460660"/>
                    <a:pt x="616811" y="420688"/>
                  </a:cubicBezTo>
                  <a:close/>
                  <a:moveTo>
                    <a:pt x="600075" y="280988"/>
                  </a:moveTo>
                  <a:lnTo>
                    <a:pt x="901339" y="280988"/>
                  </a:lnTo>
                  <a:lnTo>
                    <a:pt x="901339" y="393341"/>
                  </a:lnTo>
                  <a:lnTo>
                    <a:pt x="619919" y="393341"/>
                  </a:lnTo>
                  <a:cubicBezTo>
                    <a:pt x="619919" y="353856"/>
                    <a:pt x="612703" y="316166"/>
                    <a:pt x="600075" y="280988"/>
                  </a:cubicBezTo>
                  <a:close/>
                  <a:moveTo>
                    <a:pt x="196799" y="280982"/>
                  </a:moveTo>
                  <a:lnTo>
                    <a:pt x="196799" y="337072"/>
                  </a:lnTo>
                  <a:lnTo>
                    <a:pt x="252925" y="337072"/>
                  </a:lnTo>
                  <a:lnTo>
                    <a:pt x="252925" y="449611"/>
                  </a:lnTo>
                  <a:lnTo>
                    <a:pt x="196799" y="449611"/>
                  </a:lnTo>
                  <a:lnTo>
                    <a:pt x="196799" y="505700"/>
                  </a:lnTo>
                  <a:lnTo>
                    <a:pt x="365176" y="505700"/>
                  </a:lnTo>
                  <a:lnTo>
                    <a:pt x="365176" y="449611"/>
                  </a:lnTo>
                  <a:lnTo>
                    <a:pt x="309051" y="449611"/>
                  </a:lnTo>
                  <a:lnTo>
                    <a:pt x="309051" y="280982"/>
                  </a:lnTo>
                  <a:lnTo>
                    <a:pt x="196799" y="280982"/>
                  </a:lnTo>
                  <a:close/>
                  <a:moveTo>
                    <a:pt x="503238" y="139700"/>
                  </a:moveTo>
                  <a:lnTo>
                    <a:pt x="787040" y="139700"/>
                  </a:lnTo>
                  <a:lnTo>
                    <a:pt x="787040" y="252053"/>
                  </a:lnTo>
                  <a:lnTo>
                    <a:pt x="587154" y="252053"/>
                  </a:lnTo>
                  <a:cubicBezTo>
                    <a:pt x="567346" y="208840"/>
                    <a:pt x="538894" y="170669"/>
                    <a:pt x="503238" y="139700"/>
                  </a:cubicBezTo>
                  <a:close/>
                  <a:moveTo>
                    <a:pt x="280988" y="112713"/>
                  </a:moveTo>
                  <a:cubicBezTo>
                    <a:pt x="436053" y="112713"/>
                    <a:pt x="561615" y="238555"/>
                    <a:pt x="561615" y="393521"/>
                  </a:cubicBezTo>
                  <a:cubicBezTo>
                    <a:pt x="561615" y="548487"/>
                    <a:pt x="436053" y="674329"/>
                    <a:pt x="280988" y="674329"/>
                  </a:cubicBezTo>
                  <a:cubicBezTo>
                    <a:pt x="125923" y="674329"/>
                    <a:pt x="0" y="548487"/>
                    <a:pt x="0" y="393521"/>
                  </a:cubicBezTo>
                  <a:cubicBezTo>
                    <a:pt x="0" y="238555"/>
                    <a:pt x="125923" y="112713"/>
                    <a:pt x="280988" y="112713"/>
                  </a:cubicBezTo>
                  <a:close/>
                  <a:moveTo>
                    <a:pt x="282575" y="0"/>
                  </a:moveTo>
                  <a:lnTo>
                    <a:pt x="844190" y="0"/>
                  </a:lnTo>
                  <a:lnTo>
                    <a:pt x="844190" y="112353"/>
                  </a:lnTo>
                  <a:lnTo>
                    <a:pt x="468221" y="112353"/>
                  </a:lnTo>
                  <a:cubicBezTo>
                    <a:pt x="415694" y="76702"/>
                    <a:pt x="351293" y="55816"/>
                    <a:pt x="282575" y="55816"/>
                  </a:cubicBezTo>
                  <a:lnTo>
                    <a:pt x="282575" y="0"/>
                  </a:lnTo>
                  <a:close/>
                </a:path>
              </a:pathLst>
            </a:custGeom>
            <a:solidFill>
              <a:schemeClr val="bg1"/>
            </a:solidFill>
            <a:ln>
              <a:noFill/>
            </a:ln>
            <a:effectLst/>
          </p:spPr>
          <p:txBody>
            <a:bodyPr anchor="ctr"/>
            <a:lstStyle/>
            <a:p>
              <a:endParaRPr lang="en-US" sz="567" dirty="0">
                <a:latin typeface="+mj-lt"/>
              </a:endParaRPr>
            </a:p>
          </p:txBody>
        </p:sp>
      </p:grpSp>
      <p:sp>
        <p:nvSpPr>
          <p:cNvPr id="37" name="TextBox 61">
            <a:extLst>
              <a:ext uri="{FF2B5EF4-FFF2-40B4-BE49-F238E27FC236}">
                <a16:creationId xmlns:a16="http://schemas.microsoft.com/office/drawing/2014/main" xmlns="" id="{86D52415-A876-4FD2-86D3-CCBAFB219034}"/>
              </a:ext>
            </a:extLst>
          </p:cNvPr>
          <p:cNvSpPr txBox="1"/>
          <p:nvPr/>
        </p:nvSpPr>
        <p:spPr>
          <a:xfrm>
            <a:off x="2771982" y="2154059"/>
            <a:ext cx="2750746" cy="4770537"/>
          </a:xfrm>
          <a:prstGeom prst="rect">
            <a:avLst/>
          </a:prstGeom>
          <a:noFill/>
        </p:spPr>
        <p:txBody>
          <a:bodyPr wrap="square" rtlCol="0" anchor="t">
            <a:spAutoFit/>
          </a:bodyPr>
          <a:lstStyle/>
          <a:p>
            <a:r>
              <a:rPr lang="en-US" dirty="0">
                <a:solidFill>
                  <a:srgbClr val="245473"/>
                </a:solidFill>
                <a:latin typeface="+mj-lt"/>
                <a:ea typeface="Lato Light" panose="020F0502020204030203" pitchFamily="34" charset="0"/>
                <a:cs typeface="Lato Light" panose="020F0502020204030203" pitchFamily="34" charset="0"/>
              </a:rPr>
              <a:t>En un primer paso, se elabora un plan financiero prospectivo que describe la evolución prevista de la empresa sin medidas de reestructuración.</a:t>
            </a:r>
          </a:p>
          <a:p>
            <a:endParaRPr lang="en-US" dirty="0">
              <a:solidFill>
                <a:srgbClr val="245473"/>
              </a:solidFill>
              <a:latin typeface="+mj-lt"/>
              <a:ea typeface="Lato Light" panose="020F0502020204030203" pitchFamily="34" charset="0"/>
              <a:cs typeface="Lato Light" panose="020F0502020204030203" pitchFamily="34" charset="0"/>
            </a:endParaRPr>
          </a:p>
          <a:p>
            <a:r>
              <a:rPr lang="en-US" dirty="0">
                <a:solidFill>
                  <a:srgbClr val="245473"/>
                </a:solidFill>
                <a:latin typeface="+mj-lt"/>
                <a:ea typeface="Lato Light" panose="020F0502020204030203" pitchFamily="34" charset="0"/>
                <a:cs typeface="Lato Light" panose="020F0502020204030203" pitchFamily="34" charset="0"/>
              </a:rPr>
              <a:t>Las áreas de problemas y pérdidas, estructuradas según criterios adecuados, deben presentarse, por ejemplo</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Segmentos de negocio</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productos</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Ubicaciones</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Mercados de venta, etc.</a:t>
            </a:r>
          </a:p>
          <a:p>
            <a:endParaRPr lang="en-US" dirty="0">
              <a:solidFill>
                <a:srgbClr val="245473"/>
              </a:solidFill>
              <a:latin typeface="+mj-lt"/>
              <a:ea typeface="Lato Light" panose="020F0502020204030203" pitchFamily="34" charset="0"/>
              <a:cs typeface="Lato Light" panose="020F0502020204030203" pitchFamily="34" charset="0"/>
            </a:endParaRPr>
          </a:p>
          <a:p>
            <a:endParaRPr lang="en-US" sz="1600" dirty="0">
              <a:latin typeface="+mj-lt"/>
              <a:ea typeface="Lato Light" panose="020F0502020204030203" pitchFamily="34" charset="0"/>
              <a:cs typeface="Lato Light" panose="020F0502020204030203" pitchFamily="34" charset="0"/>
            </a:endParaRPr>
          </a:p>
        </p:txBody>
      </p:sp>
      <p:sp>
        <p:nvSpPr>
          <p:cNvPr id="5" name="Rectangle 4">
            <a:extLst>
              <a:ext uri="{FF2B5EF4-FFF2-40B4-BE49-F238E27FC236}">
                <a16:creationId xmlns:a16="http://schemas.microsoft.com/office/drawing/2014/main" xmlns="" id="{A832FA8C-09A1-574A-BA8A-0E6411F27A52}"/>
              </a:ext>
            </a:extLst>
          </p:cNvPr>
          <p:cNvSpPr/>
          <p:nvPr/>
        </p:nvSpPr>
        <p:spPr>
          <a:xfrm>
            <a:off x="9825551" y="2402175"/>
            <a:ext cx="2317805" cy="3416320"/>
          </a:xfrm>
          <a:prstGeom prst="rect">
            <a:avLst/>
          </a:prstGeom>
        </p:spPr>
        <p:txBody>
          <a:bodyPr wrap="square">
            <a:spAutoFit/>
          </a:bodyPr>
          <a:lstStyle/>
          <a:p>
            <a:r>
              <a:rPr lang="en-US" dirty="0">
                <a:solidFill>
                  <a:srgbClr val="245473"/>
                </a:solidFill>
                <a:latin typeface="+mj-lt"/>
                <a:ea typeface="Lato Light" panose="020F0502020204030203" pitchFamily="34" charset="0"/>
                <a:cs typeface="Lato Light" panose="020F0502020204030203" pitchFamily="34" charset="0"/>
              </a:rPr>
              <a:t>Además, los requisitos de reestructuración se </a:t>
            </a:r>
            <a:r>
              <a:rPr lang="en-US" dirty="0" err="1">
                <a:solidFill>
                  <a:srgbClr val="245473"/>
                </a:solidFill>
                <a:latin typeface="+mj-lt"/>
                <a:ea typeface="Lato Light" panose="020F0502020204030203" pitchFamily="34" charset="0"/>
                <a:cs typeface="Lato Light" panose="020F0502020204030203" pitchFamily="34" charset="0"/>
              </a:rPr>
              <a:t>resumen </a:t>
            </a:r>
            <a:r>
              <a:rPr lang="en-US" dirty="0">
                <a:solidFill>
                  <a:srgbClr val="245473"/>
                </a:solidFill>
                <a:latin typeface="+mj-lt"/>
                <a:ea typeface="Lato Light" panose="020F0502020204030203" pitchFamily="34" charset="0"/>
                <a:cs typeface="Lato Light" panose="020F0502020204030203" pitchFamily="34" charset="0"/>
              </a:rPr>
              <a:t>en lo siguiente</a:t>
            </a:r>
          </a:p>
          <a:p>
            <a:r>
              <a:rPr lang="en-US" dirty="0">
                <a:solidFill>
                  <a:srgbClr val="245473"/>
                </a:solidFill>
                <a:latin typeface="+mj-lt"/>
                <a:ea typeface="Lato Light" panose="020F0502020204030203" pitchFamily="34" charset="0"/>
                <a:cs typeface="Lato Light" panose="020F0502020204030203" pitchFamily="34" charset="0"/>
              </a:rPr>
              <a:t>desde el punto de vista financiero, por ejemplo</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Requisitos de capital</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Inyección/fuente de capital</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Medidas para mejorar los ingresos, etc.</a:t>
            </a:r>
          </a:p>
        </p:txBody>
      </p:sp>
    </p:spTree>
    <p:extLst>
      <p:ext uri="{BB962C8B-B14F-4D97-AF65-F5344CB8AC3E}">
        <p14:creationId xmlns:p14="http://schemas.microsoft.com/office/powerpoint/2010/main" val="14108998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fontScale="70000" lnSpcReduction="20000"/>
          </a:bodyPr>
          <a:lstStyle/>
          <a:p>
            <a:r>
              <a:rPr lang="en-GB"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73790" y="1882038"/>
            <a:ext cx="2703561"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Al menos parte de las medidas de saneamiento definidas requieren decisiones jurídicamente vinculantes o aprobaciones de terceros que están pendientes en el momento de la elaboración del plan, pero que son esenciales para la realización del mismo y, por tanto, para el éxito del saneamiento.</a:t>
            </a:r>
          </a:p>
        </p:txBody>
      </p:sp>
      <p:grpSp>
        <p:nvGrpSpPr>
          <p:cNvPr id="3" name="Gruppieren 2">
            <a:extLst>
              <a:ext uri="{FF2B5EF4-FFF2-40B4-BE49-F238E27FC236}">
                <a16:creationId xmlns:a16="http://schemas.microsoft.com/office/drawing/2014/main" xmlns="" id="{90702F68-82C1-42CC-9582-7CD198FA5AC1}"/>
              </a:ext>
            </a:extLst>
          </p:cNvPr>
          <p:cNvGrpSpPr>
            <a:grpSpLocks noChangeAspect="1"/>
          </p:cNvGrpSpPr>
          <p:nvPr/>
        </p:nvGrpSpPr>
        <p:grpSpPr>
          <a:xfrm>
            <a:off x="5470813" y="2030147"/>
            <a:ext cx="4177621" cy="4133675"/>
            <a:chOff x="5766160" y="2475215"/>
            <a:chExt cx="3471936" cy="3435413"/>
          </a:xfrm>
        </p:grpSpPr>
        <p:sp>
          <p:nvSpPr>
            <p:cNvPr id="15" name="Freeform 38">
              <a:extLst>
                <a:ext uri="{FF2B5EF4-FFF2-40B4-BE49-F238E27FC236}">
                  <a16:creationId xmlns:a16="http://schemas.microsoft.com/office/drawing/2014/main" xmlns="" id="{8EDE0225-25D9-4A5D-937B-C1B3B531F6B2}"/>
                </a:ext>
              </a:extLst>
            </p:cNvPr>
            <p:cNvSpPr/>
            <p:nvPr/>
          </p:nvSpPr>
          <p:spPr>
            <a:xfrm>
              <a:off x="5766160" y="2497407"/>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6" name="Freeform 39">
              <a:extLst>
                <a:ext uri="{FF2B5EF4-FFF2-40B4-BE49-F238E27FC236}">
                  <a16:creationId xmlns:a16="http://schemas.microsoft.com/office/drawing/2014/main" xmlns="" id="{16AE0FC8-7583-4919-A369-3E1B34DC5C04}"/>
                </a:ext>
              </a:extLst>
            </p:cNvPr>
            <p:cNvSpPr/>
            <p:nvPr/>
          </p:nvSpPr>
          <p:spPr>
            <a:xfrm rot="5400000">
              <a:off x="7472770" y="3216209"/>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7" name="Freeform 40">
              <a:extLst>
                <a:ext uri="{FF2B5EF4-FFF2-40B4-BE49-F238E27FC236}">
                  <a16:creationId xmlns:a16="http://schemas.microsoft.com/office/drawing/2014/main" xmlns="" id="{7E93E9F9-3FF7-4606-A59B-D8D903F0FDA9}"/>
                </a:ext>
              </a:extLst>
            </p:cNvPr>
            <p:cNvSpPr/>
            <p:nvPr/>
          </p:nvSpPr>
          <p:spPr>
            <a:xfrm rot="10800000">
              <a:off x="6731776" y="4945011"/>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8" name="Freeform 41">
              <a:extLst>
                <a:ext uri="{FF2B5EF4-FFF2-40B4-BE49-F238E27FC236}">
                  <a16:creationId xmlns:a16="http://schemas.microsoft.com/office/drawing/2014/main" xmlns="" id="{AEEBB382-01E1-4868-891D-33C37437EC4E}"/>
                </a:ext>
              </a:extLst>
            </p:cNvPr>
            <p:cNvSpPr/>
            <p:nvPr/>
          </p:nvSpPr>
          <p:spPr>
            <a:xfrm rot="16200000">
              <a:off x="5025166" y="4204018"/>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9" name="TextBox 43">
              <a:extLst>
                <a:ext uri="{FF2B5EF4-FFF2-40B4-BE49-F238E27FC236}">
                  <a16:creationId xmlns:a16="http://schemas.microsoft.com/office/drawing/2014/main" xmlns="" id="{AEC72BF0-11CD-4FCE-862D-B247DF65D7A2}"/>
                </a:ext>
              </a:extLst>
            </p:cNvPr>
            <p:cNvSpPr txBox="1"/>
            <p:nvPr/>
          </p:nvSpPr>
          <p:spPr>
            <a:xfrm>
              <a:off x="6731778" y="3665409"/>
              <a:ext cx="1481987" cy="1077218"/>
            </a:xfrm>
            <a:prstGeom prst="rect">
              <a:avLst/>
            </a:prstGeom>
            <a:noFill/>
          </p:spPr>
          <p:txBody>
            <a:bodyPr wrap="square" rtlCol="0" anchor="ctr">
              <a:spAutoFit/>
            </a:bodyPr>
            <a:lstStyle/>
            <a:p>
              <a:pPr algn="ctr"/>
              <a:r>
                <a:rPr lang="en-US" sz="1600" b="1" dirty="0">
                  <a:solidFill>
                    <a:schemeClr val="tx2"/>
                  </a:solidFill>
                  <a:latin typeface="+mj-lt"/>
                  <a:cs typeface="Poppins" pitchFamily="2" charset="77"/>
                </a:rPr>
                <a:t>Resumen: Planificación empresarial en la crisis</a:t>
              </a:r>
            </a:p>
          </p:txBody>
        </p:sp>
        <p:sp>
          <p:nvSpPr>
            <p:cNvPr id="20" name="TextBox 44">
              <a:extLst>
                <a:ext uri="{FF2B5EF4-FFF2-40B4-BE49-F238E27FC236}">
                  <a16:creationId xmlns:a16="http://schemas.microsoft.com/office/drawing/2014/main" xmlns="" id="{062D07B8-00B6-4F0A-A8A6-5C88DCB3E2A3}"/>
                </a:ext>
              </a:extLst>
            </p:cNvPr>
            <p:cNvSpPr txBox="1"/>
            <p:nvPr/>
          </p:nvSpPr>
          <p:spPr>
            <a:xfrm>
              <a:off x="6303903" y="2889958"/>
              <a:ext cx="1815177" cy="523220"/>
            </a:xfrm>
            <a:prstGeom prst="rect">
              <a:avLst/>
            </a:prstGeom>
            <a:noFill/>
          </p:spPr>
          <p:txBody>
            <a:bodyPr wrap="none" rtlCol="0" anchor="ctr">
              <a:spAutoFit/>
            </a:bodyPr>
            <a:lstStyle/>
            <a:p>
              <a:pPr algn="ctr"/>
              <a:r>
                <a:rPr lang="en-US" sz="1400" b="1" dirty="0">
                  <a:solidFill>
                    <a:schemeClr val="bg1"/>
                  </a:solidFill>
                  <a:latin typeface="+mj-lt"/>
                  <a:cs typeface="Poppins" pitchFamily="2" charset="77"/>
                </a:rPr>
                <a:t>Descripción de la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problema y áreas de pérdida</a:t>
              </a:r>
            </a:p>
          </p:txBody>
        </p:sp>
        <p:sp>
          <p:nvSpPr>
            <p:cNvPr id="21" name="Freeform 41">
              <a:extLst>
                <a:ext uri="{FF2B5EF4-FFF2-40B4-BE49-F238E27FC236}">
                  <a16:creationId xmlns:a16="http://schemas.microsoft.com/office/drawing/2014/main" xmlns="" id="{CF70DE15-9BE8-40DD-A4E0-E82287C12258}"/>
                </a:ext>
              </a:extLst>
            </p:cNvPr>
            <p:cNvSpPr>
              <a:spLocks noChangeArrowheads="1"/>
            </p:cNvSpPr>
            <p:nvPr/>
          </p:nvSpPr>
          <p:spPr bwMode="auto">
            <a:xfrm>
              <a:off x="7075520" y="2604219"/>
              <a:ext cx="274171" cy="292209"/>
            </a:xfrm>
            <a:custGeom>
              <a:avLst/>
              <a:gdLst>
                <a:gd name="T0" fmla="*/ 450379 w 2344"/>
                <a:gd name="T1" fmla="*/ 478140 h 2500"/>
                <a:gd name="T2" fmla="*/ 731775 w 2344"/>
                <a:gd name="T3" fmla="*/ 421973 h 2500"/>
                <a:gd name="T4" fmla="*/ 731775 w 2344"/>
                <a:gd name="T5" fmla="*/ 703168 h 2500"/>
                <a:gd name="T6" fmla="*/ 450379 w 2344"/>
                <a:gd name="T7" fmla="*/ 646641 h 2500"/>
                <a:gd name="T8" fmla="*/ 731775 w 2344"/>
                <a:gd name="T9" fmla="*/ 703168 h 2500"/>
                <a:gd name="T10" fmla="*/ 366068 w 2344"/>
                <a:gd name="T11" fmla="*/ 365446 h 2500"/>
                <a:gd name="T12" fmla="*/ 337964 w 2344"/>
                <a:gd name="T13" fmla="*/ 337362 h 2500"/>
                <a:gd name="T14" fmla="*/ 366068 w 2344"/>
                <a:gd name="T15" fmla="*/ 309279 h 2500"/>
                <a:gd name="T16" fmla="*/ 394171 w 2344"/>
                <a:gd name="T17" fmla="*/ 337362 h 2500"/>
                <a:gd name="T18" fmla="*/ 366068 w 2344"/>
                <a:gd name="T19" fmla="*/ 478140 h 2500"/>
                <a:gd name="T20" fmla="*/ 337964 w 2344"/>
                <a:gd name="T21" fmla="*/ 449696 h 2500"/>
                <a:gd name="T22" fmla="*/ 366068 w 2344"/>
                <a:gd name="T23" fmla="*/ 421973 h 2500"/>
                <a:gd name="T24" fmla="*/ 394171 w 2344"/>
                <a:gd name="T25" fmla="*/ 449696 h 2500"/>
                <a:gd name="T26" fmla="*/ 366068 w 2344"/>
                <a:gd name="T27" fmla="*/ 478140 h 2500"/>
                <a:gd name="T28" fmla="*/ 366068 w 2344"/>
                <a:gd name="T29" fmla="*/ 590474 h 2500"/>
                <a:gd name="T30" fmla="*/ 337964 w 2344"/>
                <a:gd name="T31" fmla="*/ 562391 h 2500"/>
                <a:gd name="T32" fmla="*/ 366068 w 2344"/>
                <a:gd name="T33" fmla="*/ 534307 h 2500"/>
                <a:gd name="T34" fmla="*/ 394171 w 2344"/>
                <a:gd name="T35" fmla="*/ 562391 h 2500"/>
                <a:gd name="T36" fmla="*/ 366068 w 2344"/>
                <a:gd name="T37" fmla="*/ 703168 h 2500"/>
                <a:gd name="T38" fmla="*/ 337964 w 2344"/>
                <a:gd name="T39" fmla="*/ 674725 h 2500"/>
                <a:gd name="T40" fmla="*/ 366068 w 2344"/>
                <a:gd name="T41" fmla="*/ 646641 h 2500"/>
                <a:gd name="T42" fmla="*/ 394171 w 2344"/>
                <a:gd name="T43" fmla="*/ 674725 h 2500"/>
                <a:gd name="T44" fmla="*/ 366068 w 2344"/>
                <a:gd name="T45" fmla="*/ 703168 h 2500"/>
                <a:gd name="T46" fmla="*/ 619000 w 2344"/>
                <a:gd name="T47" fmla="*/ 534307 h 2500"/>
                <a:gd name="T48" fmla="*/ 450379 w 2344"/>
                <a:gd name="T49" fmla="*/ 590474 h 2500"/>
                <a:gd name="T50" fmla="*/ 450379 w 2344"/>
                <a:gd name="T51" fmla="*/ 309279 h 2500"/>
                <a:gd name="T52" fmla="*/ 703311 w 2344"/>
                <a:gd name="T53" fmla="*/ 365446 h 2500"/>
                <a:gd name="T54" fmla="*/ 450379 w 2344"/>
                <a:gd name="T55" fmla="*/ 309279 h 2500"/>
                <a:gd name="T56" fmla="*/ 647104 w 2344"/>
                <a:gd name="T57" fmla="*/ 140418 h 2500"/>
                <a:gd name="T58" fmla="*/ 450379 w 2344"/>
                <a:gd name="T59" fmla="*/ 196585 h 2500"/>
                <a:gd name="T60" fmla="*/ 225189 w 2344"/>
                <a:gd name="T61" fmla="*/ 815502 h 2500"/>
                <a:gd name="T62" fmla="*/ 197086 w 2344"/>
                <a:gd name="T63" fmla="*/ 843586 h 2500"/>
                <a:gd name="T64" fmla="*/ 168982 w 2344"/>
                <a:gd name="T65" fmla="*/ 815502 h 2500"/>
                <a:gd name="T66" fmla="*/ 168982 w 2344"/>
                <a:gd name="T67" fmla="*/ 309279 h 2500"/>
                <a:gd name="T68" fmla="*/ 225189 w 2344"/>
                <a:gd name="T69" fmla="*/ 281195 h 2500"/>
                <a:gd name="T70" fmla="*/ 112775 w 2344"/>
                <a:gd name="T71" fmla="*/ 590474 h 2500"/>
                <a:gd name="T72" fmla="*/ 56568 w 2344"/>
                <a:gd name="T73" fmla="*/ 309279 h 2500"/>
                <a:gd name="T74" fmla="*/ 84311 w 2344"/>
                <a:gd name="T75" fmla="*/ 281195 h 2500"/>
                <a:gd name="T76" fmla="*/ 112775 w 2344"/>
                <a:gd name="T77" fmla="*/ 309279 h 2500"/>
                <a:gd name="T78" fmla="*/ 225189 w 2344"/>
                <a:gd name="T79" fmla="*/ 0 h 2500"/>
                <a:gd name="T80" fmla="*/ 84311 w 2344"/>
                <a:gd name="T81" fmla="*/ 225028 h 2500"/>
                <a:gd name="T82" fmla="*/ 0 w 2344"/>
                <a:gd name="T83" fmla="*/ 309279 h 2500"/>
                <a:gd name="T84" fmla="*/ 112775 w 2344"/>
                <a:gd name="T85" fmla="*/ 646641 h 2500"/>
                <a:gd name="T86" fmla="*/ 112775 w 2344"/>
                <a:gd name="T87" fmla="*/ 815502 h 2500"/>
                <a:gd name="T88" fmla="*/ 759879 w 2344"/>
                <a:gd name="T89" fmla="*/ 899753 h 2500"/>
                <a:gd name="T90" fmla="*/ 844190 w 2344"/>
                <a:gd name="T91" fmla="*/ 815502 h 2500"/>
                <a:gd name="T92" fmla="*/ 225189 w 2344"/>
                <a:gd name="T93" fmla="*/ 0 h 25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344" h="2500">
                  <a:moveTo>
                    <a:pt x="2031" y="1328"/>
                  </a:moveTo>
                  <a:lnTo>
                    <a:pt x="1250" y="1328"/>
                  </a:lnTo>
                  <a:lnTo>
                    <a:pt x="1250" y="1172"/>
                  </a:lnTo>
                  <a:lnTo>
                    <a:pt x="2031" y="1172"/>
                  </a:lnTo>
                  <a:lnTo>
                    <a:pt x="2031" y="1328"/>
                  </a:lnTo>
                  <a:close/>
                  <a:moveTo>
                    <a:pt x="2031" y="1953"/>
                  </a:moveTo>
                  <a:lnTo>
                    <a:pt x="1250" y="1953"/>
                  </a:lnTo>
                  <a:lnTo>
                    <a:pt x="1250" y="1796"/>
                  </a:lnTo>
                  <a:lnTo>
                    <a:pt x="2031" y="1796"/>
                  </a:lnTo>
                  <a:lnTo>
                    <a:pt x="2031" y="1953"/>
                  </a:lnTo>
                  <a:close/>
                  <a:moveTo>
                    <a:pt x="1016" y="1015"/>
                  </a:moveTo>
                  <a:lnTo>
                    <a:pt x="1016" y="1015"/>
                  </a:lnTo>
                  <a:cubicBezTo>
                    <a:pt x="972" y="1015"/>
                    <a:pt x="938" y="980"/>
                    <a:pt x="938" y="937"/>
                  </a:cubicBezTo>
                  <a:cubicBezTo>
                    <a:pt x="938" y="893"/>
                    <a:pt x="972" y="859"/>
                    <a:pt x="1016" y="859"/>
                  </a:cubicBezTo>
                  <a:cubicBezTo>
                    <a:pt x="1059" y="859"/>
                    <a:pt x="1094" y="893"/>
                    <a:pt x="1094" y="937"/>
                  </a:cubicBezTo>
                  <a:cubicBezTo>
                    <a:pt x="1094" y="980"/>
                    <a:pt x="1059" y="1015"/>
                    <a:pt x="1016" y="1015"/>
                  </a:cubicBezTo>
                  <a:close/>
                  <a:moveTo>
                    <a:pt x="1016" y="1328"/>
                  </a:moveTo>
                  <a:lnTo>
                    <a:pt x="1016" y="1328"/>
                  </a:lnTo>
                  <a:cubicBezTo>
                    <a:pt x="972" y="1328"/>
                    <a:pt x="938" y="1293"/>
                    <a:pt x="938" y="1249"/>
                  </a:cubicBezTo>
                  <a:cubicBezTo>
                    <a:pt x="938" y="1206"/>
                    <a:pt x="972" y="1172"/>
                    <a:pt x="1016" y="1172"/>
                  </a:cubicBezTo>
                  <a:cubicBezTo>
                    <a:pt x="1059" y="1172"/>
                    <a:pt x="1094" y="1206"/>
                    <a:pt x="1094" y="1249"/>
                  </a:cubicBezTo>
                  <a:cubicBezTo>
                    <a:pt x="1094" y="1293"/>
                    <a:pt x="1059" y="1328"/>
                    <a:pt x="1016" y="1328"/>
                  </a:cubicBezTo>
                  <a:close/>
                  <a:moveTo>
                    <a:pt x="1016" y="1640"/>
                  </a:moveTo>
                  <a:lnTo>
                    <a:pt x="1016" y="1640"/>
                  </a:lnTo>
                  <a:cubicBezTo>
                    <a:pt x="972" y="1640"/>
                    <a:pt x="938" y="1605"/>
                    <a:pt x="938" y="1562"/>
                  </a:cubicBezTo>
                  <a:cubicBezTo>
                    <a:pt x="938" y="1519"/>
                    <a:pt x="972" y="1484"/>
                    <a:pt x="1016" y="1484"/>
                  </a:cubicBezTo>
                  <a:cubicBezTo>
                    <a:pt x="1059" y="1484"/>
                    <a:pt x="1094" y="1519"/>
                    <a:pt x="1094" y="1562"/>
                  </a:cubicBezTo>
                  <a:cubicBezTo>
                    <a:pt x="1094" y="1605"/>
                    <a:pt x="1059" y="1640"/>
                    <a:pt x="1016" y="1640"/>
                  </a:cubicBezTo>
                  <a:close/>
                  <a:moveTo>
                    <a:pt x="1016" y="1953"/>
                  </a:moveTo>
                  <a:lnTo>
                    <a:pt x="1016" y="1953"/>
                  </a:lnTo>
                  <a:cubicBezTo>
                    <a:pt x="972" y="1953"/>
                    <a:pt x="938" y="1917"/>
                    <a:pt x="938" y="1874"/>
                  </a:cubicBezTo>
                  <a:cubicBezTo>
                    <a:pt x="938" y="1831"/>
                    <a:pt x="972" y="1796"/>
                    <a:pt x="1016" y="1796"/>
                  </a:cubicBezTo>
                  <a:cubicBezTo>
                    <a:pt x="1059" y="1796"/>
                    <a:pt x="1094" y="1831"/>
                    <a:pt x="1094" y="1874"/>
                  </a:cubicBezTo>
                  <a:cubicBezTo>
                    <a:pt x="1094" y="1917"/>
                    <a:pt x="1059" y="1953"/>
                    <a:pt x="1016" y="1953"/>
                  </a:cubicBezTo>
                  <a:close/>
                  <a:moveTo>
                    <a:pt x="1250" y="1484"/>
                  </a:moveTo>
                  <a:lnTo>
                    <a:pt x="1718" y="1484"/>
                  </a:lnTo>
                  <a:lnTo>
                    <a:pt x="1718" y="1640"/>
                  </a:lnTo>
                  <a:lnTo>
                    <a:pt x="1250" y="1640"/>
                  </a:lnTo>
                  <a:lnTo>
                    <a:pt x="1250" y="1484"/>
                  </a:lnTo>
                  <a:close/>
                  <a:moveTo>
                    <a:pt x="1250" y="859"/>
                  </a:moveTo>
                  <a:lnTo>
                    <a:pt x="1952" y="859"/>
                  </a:lnTo>
                  <a:lnTo>
                    <a:pt x="1952" y="1015"/>
                  </a:lnTo>
                  <a:lnTo>
                    <a:pt x="1250" y="1015"/>
                  </a:lnTo>
                  <a:lnTo>
                    <a:pt x="1250" y="859"/>
                  </a:lnTo>
                  <a:close/>
                  <a:moveTo>
                    <a:pt x="1250" y="390"/>
                  </a:moveTo>
                  <a:lnTo>
                    <a:pt x="1796" y="390"/>
                  </a:lnTo>
                  <a:lnTo>
                    <a:pt x="1796" y="546"/>
                  </a:lnTo>
                  <a:lnTo>
                    <a:pt x="1250" y="546"/>
                  </a:lnTo>
                  <a:lnTo>
                    <a:pt x="1250" y="390"/>
                  </a:lnTo>
                  <a:close/>
                  <a:moveTo>
                    <a:pt x="625" y="2265"/>
                  </a:moveTo>
                  <a:lnTo>
                    <a:pt x="625" y="2265"/>
                  </a:lnTo>
                  <a:cubicBezTo>
                    <a:pt x="625" y="2308"/>
                    <a:pt x="590" y="2343"/>
                    <a:pt x="547" y="2343"/>
                  </a:cubicBezTo>
                  <a:cubicBezTo>
                    <a:pt x="504" y="2343"/>
                    <a:pt x="469" y="2308"/>
                    <a:pt x="469" y="2265"/>
                  </a:cubicBezTo>
                  <a:lnTo>
                    <a:pt x="469" y="859"/>
                  </a:lnTo>
                  <a:cubicBezTo>
                    <a:pt x="469" y="831"/>
                    <a:pt x="463" y="806"/>
                    <a:pt x="454" y="781"/>
                  </a:cubicBezTo>
                  <a:lnTo>
                    <a:pt x="625" y="781"/>
                  </a:lnTo>
                  <a:lnTo>
                    <a:pt x="625" y="2265"/>
                  </a:lnTo>
                  <a:close/>
                  <a:moveTo>
                    <a:pt x="313" y="1640"/>
                  </a:moveTo>
                  <a:lnTo>
                    <a:pt x="157" y="1640"/>
                  </a:lnTo>
                  <a:lnTo>
                    <a:pt x="157" y="859"/>
                  </a:lnTo>
                  <a:cubicBezTo>
                    <a:pt x="157" y="816"/>
                    <a:pt x="191" y="781"/>
                    <a:pt x="234" y="781"/>
                  </a:cubicBezTo>
                  <a:cubicBezTo>
                    <a:pt x="277" y="781"/>
                    <a:pt x="313" y="816"/>
                    <a:pt x="313" y="859"/>
                  </a:cubicBezTo>
                  <a:lnTo>
                    <a:pt x="313" y="1640"/>
                  </a:lnTo>
                  <a:close/>
                  <a:moveTo>
                    <a:pt x="625" y="0"/>
                  </a:moveTo>
                  <a:lnTo>
                    <a:pt x="625" y="625"/>
                  </a:lnTo>
                  <a:lnTo>
                    <a:pt x="234" y="625"/>
                  </a:lnTo>
                  <a:cubicBezTo>
                    <a:pt x="105" y="625"/>
                    <a:pt x="0" y="730"/>
                    <a:pt x="0" y="859"/>
                  </a:cubicBezTo>
                  <a:lnTo>
                    <a:pt x="0" y="1796"/>
                  </a:lnTo>
                  <a:lnTo>
                    <a:pt x="313" y="1796"/>
                  </a:lnTo>
                  <a:lnTo>
                    <a:pt x="313" y="2265"/>
                  </a:lnTo>
                  <a:cubicBezTo>
                    <a:pt x="313" y="2394"/>
                    <a:pt x="418" y="2499"/>
                    <a:pt x="547" y="2499"/>
                  </a:cubicBezTo>
                  <a:lnTo>
                    <a:pt x="2109" y="2499"/>
                  </a:lnTo>
                  <a:cubicBezTo>
                    <a:pt x="2238" y="2499"/>
                    <a:pt x="2343" y="2394"/>
                    <a:pt x="2343" y="2265"/>
                  </a:cubicBezTo>
                  <a:lnTo>
                    <a:pt x="2343" y="0"/>
                  </a:lnTo>
                  <a:lnTo>
                    <a:pt x="625" y="0"/>
                  </a:lnTo>
                  <a:close/>
                </a:path>
              </a:pathLst>
            </a:custGeom>
            <a:solidFill>
              <a:schemeClr val="bg1"/>
            </a:solidFill>
            <a:ln>
              <a:noFill/>
            </a:ln>
            <a:effectLst/>
          </p:spPr>
          <p:txBody>
            <a:bodyPr wrap="none" anchor="ctr"/>
            <a:lstStyle/>
            <a:p>
              <a:endParaRPr lang="en-US" sz="567" dirty="0">
                <a:latin typeface="+mj-lt"/>
              </a:endParaRPr>
            </a:p>
          </p:txBody>
        </p:sp>
        <p:sp>
          <p:nvSpPr>
            <p:cNvPr id="22" name="TextBox 48">
              <a:extLst>
                <a:ext uri="{FF2B5EF4-FFF2-40B4-BE49-F238E27FC236}">
                  <a16:creationId xmlns:a16="http://schemas.microsoft.com/office/drawing/2014/main" xmlns="" id="{D3DC1898-6275-4144-AE76-CED6333A4068}"/>
                </a:ext>
              </a:extLst>
            </p:cNvPr>
            <p:cNvSpPr txBox="1"/>
            <p:nvPr/>
          </p:nvSpPr>
          <p:spPr>
            <a:xfrm>
              <a:off x="6849205" y="5381846"/>
              <a:ext cx="1550867" cy="434838"/>
            </a:xfrm>
            <a:prstGeom prst="rect">
              <a:avLst/>
            </a:prstGeom>
            <a:noFill/>
          </p:spPr>
          <p:txBody>
            <a:bodyPr wrap="none" rtlCol="0" anchor="ctr">
              <a:spAutoFit/>
            </a:bodyPr>
            <a:lstStyle/>
            <a:p>
              <a:pPr algn="ctr"/>
              <a:r>
                <a:rPr lang="en-US" sz="1400" b="1" dirty="0">
                  <a:solidFill>
                    <a:schemeClr val="bg1"/>
                  </a:solidFill>
                  <a:latin typeface="+mj-lt"/>
                  <a:cs typeface="Poppins" pitchFamily="2" charset="77"/>
                </a:rPr>
                <a:t>Estructura de la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planificación de la reconstrucción</a:t>
              </a:r>
            </a:p>
          </p:txBody>
        </p:sp>
        <p:sp>
          <p:nvSpPr>
            <p:cNvPr id="23" name="Freeform 91">
              <a:extLst>
                <a:ext uri="{FF2B5EF4-FFF2-40B4-BE49-F238E27FC236}">
                  <a16:creationId xmlns:a16="http://schemas.microsoft.com/office/drawing/2014/main" xmlns="" id="{175DD395-C0D3-4565-B465-BB6ECC957B3F}"/>
                </a:ext>
              </a:extLst>
            </p:cNvPr>
            <p:cNvSpPr>
              <a:spLocks noChangeArrowheads="1"/>
            </p:cNvSpPr>
            <p:nvPr/>
          </p:nvSpPr>
          <p:spPr bwMode="auto">
            <a:xfrm>
              <a:off x="7455823" y="5054493"/>
              <a:ext cx="337630" cy="316193"/>
            </a:xfrm>
            <a:custGeom>
              <a:avLst/>
              <a:gdLst>
                <a:gd name="T0" fmla="*/ 642085 w 899753"/>
                <a:gd name="T1" fmla="*/ 505575 h 842602"/>
                <a:gd name="T2" fmla="*/ 781355 w 899753"/>
                <a:gd name="T3" fmla="*/ 645275 h 842602"/>
                <a:gd name="T4" fmla="*/ 838935 w 899753"/>
                <a:gd name="T5" fmla="*/ 505575 h 842602"/>
                <a:gd name="T6" fmla="*/ 506413 w 899753"/>
                <a:gd name="T7" fmla="*/ 449262 h 842602"/>
                <a:gd name="T8" fmla="*/ 899753 w 899753"/>
                <a:gd name="T9" fmla="*/ 449262 h 842602"/>
                <a:gd name="T10" fmla="*/ 784594 w 899753"/>
                <a:gd name="T11" fmla="*/ 728301 h 842602"/>
                <a:gd name="T12" fmla="*/ 506990 w 899753"/>
                <a:gd name="T13" fmla="*/ 61123 h 842602"/>
                <a:gd name="T14" fmla="*/ 506990 w 899753"/>
                <a:gd name="T15" fmla="*/ 336892 h 842602"/>
                <a:gd name="T16" fmla="*/ 783372 w 899753"/>
                <a:gd name="T17" fmla="*/ 336892 h 842602"/>
                <a:gd name="T18" fmla="*/ 506990 w 899753"/>
                <a:gd name="T19" fmla="*/ 61123 h 842602"/>
                <a:gd name="T20" fmla="*/ 394203 w 899753"/>
                <a:gd name="T21" fmla="*/ 55562 h 842602"/>
                <a:gd name="T22" fmla="*/ 394203 w 899753"/>
                <a:gd name="T23" fmla="*/ 449082 h 842602"/>
                <a:gd name="T24" fmla="*/ 672740 w 899753"/>
                <a:gd name="T25" fmla="*/ 727390 h 842602"/>
                <a:gd name="T26" fmla="*/ 394203 w 899753"/>
                <a:gd name="T27" fmla="*/ 842602 h 842602"/>
                <a:gd name="T28" fmla="*/ 0 w 899753"/>
                <a:gd name="T29" fmla="*/ 449082 h 842602"/>
                <a:gd name="T30" fmla="*/ 394203 w 899753"/>
                <a:gd name="T31" fmla="*/ 55562 h 842602"/>
                <a:gd name="T32" fmla="*/ 450850 w 899753"/>
                <a:gd name="T33" fmla="*/ 0 h 842602"/>
                <a:gd name="T34" fmla="*/ 844190 w 899753"/>
                <a:gd name="T35" fmla="*/ 393341 h 842602"/>
                <a:gd name="T36" fmla="*/ 450850 w 899753"/>
                <a:gd name="T37" fmla="*/ 393341 h 8426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99753" h="842602">
                  <a:moveTo>
                    <a:pt x="642085" y="505575"/>
                  </a:moveTo>
                  <a:lnTo>
                    <a:pt x="781355" y="645275"/>
                  </a:lnTo>
                  <a:cubicBezTo>
                    <a:pt x="810865" y="603763"/>
                    <a:pt x="830658" y="556113"/>
                    <a:pt x="838935" y="505575"/>
                  </a:cubicBezTo>
                  <a:lnTo>
                    <a:pt x="642085" y="505575"/>
                  </a:lnTo>
                  <a:close/>
                  <a:moveTo>
                    <a:pt x="506413" y="449262"/>
                  </a:moveTo>
                  <a:lnTo>
                    <a:pt x="899753" y="449262"/>
                  </a:lnTo>
                  <a:cubicBezTo>
                    <a:pt x="899753" y="558279"/>
                    <a:pt x="855849" y="656827"/>
                    <a:pt x="784594" y="728301"/>
                  </a:cubicBezTo>
                  <a:lnTo>
                    <a:pt x="506413" y="449262"/>
                  </a:lnTo>
                  <a:close/>
                  <a:moveTo>
                    <a:pt x="506990" y="61123"/>
                  </a:moveTo>
                  <a:lnTo>
                    <a:pt x="506990" y="336892"/>
                  </a:lnTo>
                  <a:lnTo>
                    <a:pt x="783372" y="336892"/>
                  </a:lnTo>
                  <a:cubicBezTo>
                    <a:pt x="759620" y="195951"/>
                    <a:pt x="648060" y="84493"/>
                    <a:pt x="506990" y="61123"/>
                  </a:cubicBezTo>
                  <a:close/>
                  <a:moveTo>
                    <a:pt x="394203" y="55562"/>
                  </a:moveTo>
                  <a:lnTo>
                    <a:pt x="394203" y="449082"/>
                  </a:lnTo>
                  <a:lnTo>
                    <a:pt x="672740" y="727390"/>
                  </a:lnTo>
                  <a:cubicBezTo>
                    <a:pt x="601394" y="798678"/>
                    <a:pt x="502663" y="842602"/>
                    <a:pt x="394203" y="842602"/>
                  </a:cubicBezTo>
                  <a:cubicBezTo>
                    <a:pt x="176203" y="842602"/>
                    <a:pt x="0" y="666544"/>
                    <a:pt x="0" y="449082"/>
                  </a:cubicBezTo>
                  <a:cubicBezTo>
                    <a:pt x="0" y="231620"/>
                    <a:pt x="176203" y="55562"/>
                    <a:pt x="394203" y="55562"/>
                  </a:cubicBezTo>
                  <a:close/>
                  <a:moveTo>
                    <a:pt x="450850" y="0"/>
                  </a:moveTo>
                  <a:cubicBezTo>
                    <a:pt x="668213" y="0"/>
                    <a:pt x="844190" y="176176"/>
                    <a:pt x="844190" y="393341"/>
                  </a:cubicBezTo>
                  <a:lnTo>
                    <a:pt x="450850" y="393341"/>
                  </a:lnTo>
                  <a:lnTo>
                    <a:pt x="450850" y="0"/>
                  </a:lnTo>
                  <a:close/>
                </a:path>
              </a:pathLst>
            </a:custGeom>
            <a:solidFill>
              <a:schemeClr val="bg1"/>
            </a:solidFill>
            <a:ln>
              <a:noFill/>
            </a:ln>
            <a:effectLst/>
          </p:spPr>
          <p:txBody>
            <a:bodyPr anchor="ctr"/>
            <a:lstStyle/>
            <a:p>
              <a:endParaRPr lang="en-US" sz="567" dirty="0">
                <a:latin typeface="+mj-lt"/>
              </a:endParaRPr>
            </a:p>
          </p:txBody>
        </p:sp>
        <p:sp>
          <p:nvSpPr>
            <p:cNvPr id="24" name="Freeform 85">
              <a:extLst>
                <a:ext uri="{FF2B5EF4-FFF2-40B4-BE49-F238E27FC236}">
                  <a16:creationId xmlns:a16="http://schemas.microsoft.com/office/drawing/2014/main" xmlns="" id="{3053E684-6E0D-45A0-9C61-C9628CBF964C}"/>
                </a:ext>
              </a:extLst>
            </p:cNvPr>
            <p:cNvSpPr>
              <a:spLocks noChangeArrowheads="1"/>
            </p:cNvSpPr>
            <p:nvPr/>
          </p:nvSpPr>
          <p:spPr bwMode="auto">
            <a:xfrm>
              <a:off x="8550468" y="3236851"/>
              <a:ext cx="292208" cy="292209"/>
            </a:xfrm>
            <a:custGeom>
              <a:avLst/>
              <a:gdLst>
                <a:gd name="T0" fmla="*/ 422275 w 899752"/>
                <a:gd name="T1" fmla="*/ 280988 h 899754"/>
                <a:gd name="T2" fmla="*/ 534627 w 899752"/>
                <a:gd name="T3" fmla="*/ 365919 h 899754"/>
                <a:gd name="T4" fmla="*/ 422275 w 899752"/>
                <a:gd name="T5" fmla="*/ 450489 h 899754"/>
                <a:gd name="T6" fmla="*/ 57150 w 899752"/>
                <a:gd name="T7" fmla="*/ 225425 h 899754"/>
                <a:gd name="T8" fmla="*/ 113290 w 899752"/>
                <a:gd name="T9" fmla="*/ 225425 h 899754"/>
                <a:gd name="T10" fmla="*/ 113290 w 899752"/>
                <a:gd name="T11" fmla="*/ 562409 h 899754"/>
                <a:gd name="T12" fmla="*/ 422420 w 899752"/>
                <a:gd name="T13" fmla="*/ 562409 h 899754"/>
                <a:gd name="T14" fmla="*/ 478560 w 899752"/>
                <a:gd name="T15" fmla="*/ 562409 h 899754"/>
                <a:gd name="T16" fmla="*/ 787690 w 899752"/>
                <a:gd name="T17" fmla="*/ 562409 h 899754"/>
                <a:gd name="T18" fmla="*/ 787690 w 899752"/>
                <a:gd name="T19" fmla="*/ 225425 h 899754"/>
                <a:gd name="T20" fmla="*/ 844190 w 899752"/>
                <a:gd name="T21" fmla="*/ 225425 h 899754"/>
                <a:gd name="T22" fmla="*/ 844190 w 899752"/>
                <a:gd name="T23" fmla="*/ 618873 h 899754"/>
                <a:gd name="T24" fmla="*/ 478560 w 899752"/>
                <a:gd name="T25" fmla="*/ 618873 h 899754"/>
                <a:gd name="T26" fmla="*/ 478560 w 899752"/>
                <a:gd name="T27" fmla="*/ 803729 h 899754"/>
                <a:gd name="T28" fmla="*/ 490436 w 899752"/>
                <a:gd name="T29" fmla="*/ 815597 h 899754"/>
                <a:gd name="T30" fmla="*/ 518146 w 899752"/>
                <a:gd name="T31" fmla="*/ 843649 h 899754"/>
                <a:gd name="T32" fmla="*/ 590840 w 899752"/>
                <a:gd name="T33" fmla="*/ 843649 h 899754"/>
                <a:gd name="T34" fmla="*/ 590840 w 899752"/>
                <a:gd name="T35" fmla="*/ 899754 h 899754"/>
                <a:gd name="T36" fmla="*/ 495114 w 899752"/>
                <a:gd name="T37" fmla="*/ 899754 h 899754"/>
                <a:gd name="T38" fmla="*/ 450490 w 899752"/>
                <a:gd name="T39" fmla="*/ 855158 h 899754"/>
                <a:gd name="T40" fmla="*/ 405866 w 899752"/>
                <a:gd name="T41" fmla="*/ 899754 h 899754"/>
                <a:gd name="T42" fmla="*/ 309780 w 899752"/>
                <a:gd name="T43" fmla="*/ 899754 h 899754"/>
                <a:gd name="T44" fmla="*/ 309780 w 899752"/>
                <a:gd name="T45" fmla="*/ 843649 h 899754"/>
                <a:gd name="T46" fmla="*/ 382475 w 899752"/>
                <a:gd name="T47" fmla="*/ 843649 h 899754"/>
                <a:gd name="T48" fmla="*/ 410904 w 899752"/>
                <a:gd name="T49" fmla="*/ 815597 h 899754"/>
                <a:gd name="T50" fmla="*/ 422420 w 899752"/>
                <a:gd name="T51" fmla="*/ 803729 h 899754"/>
                <a:gd name="T52" fmla="*/ 422420 w 899752"/>
                <a:gd name="T53" fmla="*/ 618873 h 899754"/>
                <a:gd name="T54" fmla="*/ 57150 w 899752"/>
                <a:gd name="T55" fmla="*/ 618873 h 899754"/>
                <a:gd name="T56" fmla="*/ 421804 w 899752"/>
                <a:gd name="T57" fmla="*/ 0 h 899754"/>
                <a:gd name="T58" fmla="*/ 477949 w 899752"/>
                <a:gd name="T59" fmla="*/ 0 h 899754"/>
                <a:gd name="T60" fmla="*/ 477949 w 899752"/>
                <a:gd name="T61" fmla="*/ 56380 h 899754"/>
                <a:gd name="T62" fmla="*/ 899752 w 899752"/>
                <a:gd name="T63" fmla="*/ 56380 h 899754"/>
                <a:gd name="T64" fmla="*/ 899752 w 899752"/>
                <a:gd name="T65" fmla="*/ 169501 h 899754"/>
                <a:gd name="T66" fmla="*/ 0 w 899752"/>
                <a:gd name="T67" fmla="*/ 169501 h 899754"/>
                <a:gd name="T68" fmla="*/ 0 w 899752"/>
                <a:gd name="T69" fmla="*/ 56380 h 899754"/>
                <a:gd name="T70" fmla="*/ 421804 w 899752"/>
                <a:gd name="T71" fmla="*/ 56380 h 89975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99752" h="899754">
                  <a:moveTo>
                    <a:pt x="422275" y="280988"/>
                  </a:moveTo>
                  <a:lnTo>
                    <a:pt x="534627" y="365919"/>
                  </a:lnTo>
                  <a:lnTo>
                    <a:pt x="422275" y="450489"/>
                  </a:lnTo>
                  <a:lnTo>
                    <a:pt x="422275" y="280988"/>
                  </a:lnTo>
                  <a:close/>
                  <a:moveTo>
                    <a:pt x="57150" y="225425"/>
                  </a:moveTo>
                  <a:lnTo>
                    <a:pt x="113290" y="225425"/>
                  </a:lnTo>
                  <a:lnTo>
                    <a:pt x="113290" y="562409"/>
                  </a:lnTo>
                  <a:lnTo>
                    <a:pt x="422420" y="562409"/>
                  </a:lnTo>
                  <a:lnTo>
                    <a:pt x="478560" y="562409"/>
                  </a:lnTo>
                  <a:lnTo>
                    <a:pt x="787690" y="562409"/>
                  </a:lnTo>
                  <a:lnTo>
                    <a:pt x="787690" y="225425"/>
                  </a:lnTo>
                  <a:lnTo>
                    <a:pt x="844190" y="225425"/>
                  </a:lnTo>
                  <a:lnTo>
                    <a:pt x="844190" y="618873"/>
                  </a:lnTo>
                  <a:lnTo>
                    <a:pt x="478560" y="618873"/>
                  </a:lnTo>
                  <a:lnTo>
                    <a:pt x="478560" y="803729"/>
                  </a:lnTo>
                  <a:lnTo>
                    <a:pt x="490436" y="815597"/>
                  </a:lnTo>
                  <a:lnTo>
                    <a:pt x="518146" y="843649"/>
                  </a:lnTo>
                  <a:lnTo>
                    <a:pt x="590840" y="843649"/>
                  </a:lnTo>
                  <a:lnTo>
                    <a:pt x="590840" y="899754"/>
                  </a:lnTo>
                  <a:lnTo>
                    <a:pt x="495114" y="899754"/>
                  </a:lnTo>
                  <a:lnTo>
                    <a:pt x="450490" y="855158"/>
                  </a:lnTo>
                  <a:lnTo>
                    <a:pt x="405866" y="899754"/>
                  </a:lnTo>
                  <a:lnTo>
                    <a:pt x="309780" y="899754"/>
                  </a:lnTo>
                  <a:lnTo>
                    <a:pt x="309780" y="843649"/>
                  </a:lnTo>
                  <a:lnTo>
                    <a:pt x="382475" y="843649"/>
                  </a:lnTo>
                  <a:lnTo>
                    <a:pt x="410904" y="815597"/>
                  </a:lnTo>
                  <a:lnTo>
                    <a:pt x="422420" y="803729"/>
                  </a:lnTo>
                  <a:lnTo>
                    <a:pt x="422420" y="618873"/>
                  </a:lnTo>
                  <a:lnTo>
                    <a:pt x="57150" y="618873"/>
                  </a:lnTo>
                  <a:lnTo>
                    <a:pt x="57150" y="225425"/>
                  </a:lnTo>
                  <a:close/>
                  <a:moveTo>
                    <a:pt x="421804" y="0"/>
                  </a:moveTo>
                  <a:lnTo>
                    <a:pt x="477949" y="0"/>
                  </a:lnTo>
                  <a:lnTo>
                    <a:pt x="477949" y="56380"/>
                  </a:lnTo>
                  <a:lnTo>
                    <a:pt x="899752" y="56380"/>
                  </a:lnTo>
                  <a:lnTo>
                    <a:pt x="899752" y="169501"/>
                  </a:lnTo>
                  <a:lnTo>
                    <a:pt x="0" y="169501"/>
                  </a:lnTo>
                  <a:lnTo>
                    <a:pt x="0" y="56380"/>
                  </a:lnTo>
                  <a:lnTo>
                    <a:pt x="421804" y="56380"/>
                  </a:lnTo>
                  <a:lnTo>
                    <a:pt x="421804" y="0"/>
                  </a:lnTo>
                  <a:close/>
                </a:path>
              </a:pathLst>
            </a:custGeom>
            <a:solidFill>
              <a:schemeClr val="bg1"/>
            </a:solidFill>
            <a:ln>
              <a:noFill/>
            </a:ln>
            <a:effectLst/>
          </p:spPr>
          <p:txBody>
            <a:bodyPr anchor="ctr"/>
            <a:lstStyle/>
            <a:p>
              <a:endParaRPr lang="en-US" sz="567" dirty="0">
                <a:latin typeface="+mj-lt"/>
              </a:endParaRPr>
            </a:p>
          </p:txBody>
        </p:sp>
        <p:sp>
          <p:nvSpPr>
            <p:cNvPr id="25" name="TextBox 52">
              <a:extLst>
                <a:ext uri="{FF2B5EF4-FFF2-40B4-BE49-F238E27FC236}">
                  <a16:creationId xmlns:a16="http://schemas.microsoft.com/office/drawing/2014/main" xmlns="" id="{2B63EF41-C744-40AC-9070-4071716CB85A}"/>
                </a:ext>
              </a:extLst>
            </p:cNvPr>
            <p:cNvSpPr txBox="1"/>
            <p:nvPr/>
          </p:nvSpPr>
          <p:spPr>
            <a:xfrm>
              <a:off x="8128674" y="3575328"/>
              <a:ext cx="1109422" cy="1227777"/>
            </a:xfrm>
            <a:prstGeom prst="rect">
              <a:avLst/>
            </a:prstGeom>
            <a:noFill/>
          </p:spPr>
          <p:txBody>
            <a:bodyPr wrap="none" rtlCol="0" anchor="t">
              <a:spAutoFit/>
            </a:bodyPr>
            <a:lstStyle/>
            <a:p>
              <a:pPr algn="ctr"/>
              <a:r>
                <a:rPr lang="en-US" b="1" dirty="0">
                  <a:solidFill>
                    <a:schemeClr val="bg1"/>
                  </a:solidFill>
                  <a:latin typeface="+mj-lt"/>
                  <a:cs typeface="Poppins" pitchFamily="2" charset="77"/>
                </a:rPr>
                <a:t>Presentación</a:t>
              </a:r>
              <a:br>
                <a:rPr lang="en-US" b="1" dirty="0">
                  <a:solidFill>
                    <a:schemeClr val="bg1"/>
                  </a:solidFill>
                  <a:latin typeface="+mj-lt"/>
                  <a:cs typeface="Poppins" pitchFamily="2" charset="77"/>
                </a:rPr>
              </a:br>
              <a:r>
                <a:rPr lang="en-US" b="1" dirty="0">
                  <a:solidFill>
                    <a:schemeClr val="bg1"/>
                  </a:solidFill>
                  <a:latin typeface="+mj-lt"/>
                  <a:cs typeface="Poppins" pitchFamily="2" charset="77"/>
                </a:rPr>
                <a:t> de los</a:t>
              </a:r>
              <a:br>
                <a:rPr lang="en-US" b="1" dirty="0">
                  <a:solidFill>
                    <a:schemeClr val="bg1"/>
                  </a:solidFill>
                  <a:latin typeface="+mj-lt"/>
                  <a:cs typeface="Poppins" pitchFamily="2" charset="77"/>
                </a:rPr>
              </a:br>
              <a:r>
                <a:rPr lang="en-US" b="1" dirty="0">
                  <a:solidFill>
                    <a:schemeClr val="bg1"/>
                  </a:solidFill>
                  <a:latin typeface="+mj-lt"/>
                  <a:cs typeface="Poppins" pitchFamily="2" charset="77"/>
                </a:rPr>
                <a:t> efectos </a:t>
              </a:r>
              <a:br>
                <a:rPr lang="en-US" b="1" dirty="0">
                  <a:solidFill>
                    <a:schemeClr val="bg1"/>
                  </a:solidFill>
                  <a:latin typeface="+mj-lt"/>
                  <a:cs typeface="Poppins" pitchFamily="2" charset="77"/>
                </a:rPr>
              </a:br>
              <a:r>
                <a:rPr lang="en-US" b="1" dirty="0">
                  <a:solidFill>
                    <a:schemeClr val="bg1"/>
                  </a:solidFill>
                  <a:latin typeface="+mj-lt"/>
                  <a:cs typeface="Poppins" pitchFamily="2" charset="77"/>
                </a:rPr>
                <a:t>de las </a:t>
              </a:r>
              <a:br>
                <a:rPr lang="en-US" b="1" dirty="0">
                  <a:solidFill>
                    <a:schemeClr val="bg1"/>
                  </a:solidFill>
                  <a:latin typeface="+mj-lt"/>
                  <a:cs typeface="Poppins" pitchFamily="2" charset="77"/>
                </a:rPr>
              </a:br>
              <a:r>
                <a:rPr lang="en-US" b="1" dirty="0">
                  <a:solidFill>
                    <a:schemeClr val="bg1"/>
                  </a:solidFill>
                  <a:latin typeface="+mj-lt"/>
                  <a:cs typeface="Poppins" pitchFamily="2" charset="77"/>
                </a:rPr>
                <a:t>medidas</a:t>
              </a:r>
            </a:p>
          </p:txBody>
        </p:sp>
        <p:sp>
          <p:nvSpPr>
            <p:cNvPr id="26" name="TextBox 56">
              <a:extLst>
                <a:ext uri="{FF2B5EF4-FFF2-40B4-BE49-F238E27FC236}">
                  <a16:creationId xmlns:a16="http://schemas.microsoft.com/office/drawing/2014/main" xmlns="" id="{C35268F3-A728-411A-B2B9-9925690FCD38}"/>
                </a:ext>
              </a:extLst>
            </p:cNvPr>
            <p:cNvSpPr txBox="1"/>
            <p:nvPr/>
          </p:nvSpPr>
          <p:spPr>
            <a:xfrm>
              <a:off x="5853432" y="4478848"/>
              <a:ext cx="791074" cy="613889"/>
            </a:xfrm>
            <a:prstGeom prst="rect">
              <a:avLst/>
            </a:prstGeom>
            <a:noFill/>
          </p:spPr>
          <p:txBody>
            <a:bodyPr wrap="none" rtlCol="0" anchor="t">
              <a:spAutoFit/>
            </a:bodyPr>
            <a:lstStyle/>
            <a:p>
              <a:pPr algn="ctr"/>
              <a:r>
                <a:rPr lang="en-US" sz="1400" b="1" dirty="0">
                  <a:solidFill>
                    <a:schemeClr val="bg1"/>
                  </a:solidFill>
                  <a:latin typeface="+mj-lt"/>
                  <a:cs typeface="Poppins" pitchFamily="2" charset="77"/>
                </a:rPr>
                <a:t>Cifras clave</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y</a:t>
              </a:r>
              <a:br>
                <a:rPr lang="en-US" sz="1400" b="1" dirty="0">
                  <a:solidFill>
                    <a:schemeClr val="bg1"/>
                  </a:solidFill>
                  <a:latin typeface="+mj-lt"/>
                  <a:cs typeface="Poppins" pitchFamily="2" charset="77"/>
                </a:rPr>
              </a:br>
              <a:r>
                <a:rPr lang="en-US" sz="1400" b="1" dirty="0" err="1">
                  <a:solidFill>
                    <a:schemeClr val="bg1"/>
                  </a:solidFill>
                  <a:latin typeface="+mj-lt"/>
                  <a:cs typeface="Poppins" pitchFamily="2" charset="77"/>
                </a:rPr>
                <a:t>indicadores</a:t>
              </a:r>
              <a:endParaRPr lang="en-US" sz="1400" b="1" dirty="0">
                <a:solidFill>
                  <a:schemeClr val="bg1"/>
                </a:solidFill>
                <a:latin typeface="+mj-lt"/>
                <a:cs typeface="Poppins" pitchFamily="2" charset="77"/>
              </a:endParaRPr>
            </a:p>
          </p:txBody>
        </p:sp>
        <p:sp>
          <p:nvSpPr>
            <p:cNvPr id="27" name="Freeform 89">
              <a:extLst>
                <a:ext uri="{FF2B5EF4-FFF2-40B4-BE49-F238E27FC236}">
                  <a16:creationId xmlns:a16="http://schemas.microsoft.com/office/drawing/2014/main" xmlns="" id="{63CF15F4-E96F-4DEC-B6F8-6B270256BC65}"/>
                </a:ext>
              </a:extLst>
            </p:cNvPr>
            <p:cNvSpPr>
              <a:spLocks noChangeArrowheads="1"/>
            </p:cNvSpPr>
            <p:nvPr/>
          </p:nvSpPr>
          <p:spPr bwMode="auto">
            <a:xfrm>
              <a:off x="6086214" y="4113511"/>
              <a:ext cx="325508" cy="243558"/>
            </a:xfrm>
            <a:custGeom>
              <a:avLst/>
              <a:gdLst>
                <a:gd name="T0" fmla="*/ 573956 w 901340"/>
                <a:gd name="T1" fmla="*/ 561975 h 674329"/>
                <a:gd name="T2" fmla="*/ 901340 w 901340"/>
                <a:gd name="T3" fmla="*/ 561975 h 674329"/>
                <a:gd name="T4" fmla="*/ 901340 w 901340"/>
                <a:gd name="T5" fmla="*/ 674329 h 674329"/>
                <a:gd name="T6" fmla="*/ 468313 w 901340"/>
                <a:gd name="T7" fmla="*/ 674329 h 674329"/>
                <a:gd name="T8" fmla="*/ 573956 w 901340"/>
                <a:gd name="T9" fmla="*/ 561975 h 674329"/>
                <a:gd name="T10" fmla="*/ 616811 w 901340"/>
                <a:gd name="T11" fmla="*/ 420688 h 674329"/>
                <a:gd name="T12" fmla="*/ 842604 w 901340"/>
                <a:gd name="T13" fmla="*/ 420688 h 674329"/>
                <a:gd name="T14" fmla="*/ 842604 w 901340"/>
                <a:gd name="T15" fmla="*/ 533040 h 674329"/>
                <a:gd name="T16" fmla="*/ 587375 w 901340"/>
                <a:gd name="T17" fmla="*/ 533040 h 674329"/>
                <a:gd name="T18" fmla="*/ 616811 w 901340"/>
                <a:gd name="T19" fmla="*/ 420688 h 674329"/>
                <a:gd name="T20" fmla="*/ 600075 w 901340"/>
                <a:gd name="T21" fmla="*/ 280988 h 674329"/>
                <a:gd name="T22" fmla="*/ 901339 w 901340"/>
                <a:gd name="T23" fmla="*/ 280988 h 674329"/>
                <a:gd name="T24" fmla="*/ 901339 w 901340"/>
                <a:gd name="T25" fmla="*/ 393341 h 674329"/>
                <a:gd name="T26" fmla="*/ 619919 w 901340"/>
                <a:gd name="T27" fmla="*/ 393341 h 674329"/>
                <a:gd name="T28" fmla="*/ 600075 w 901340"/>
                <a:gd name="T29" fmla="*/ 280988 h 674329"/>
                <a:gd name="T30" fmla="*/ 196799 w 901340"/>
                <a:gd name="T31" fmla="*/ 280982 h 674329"/>
                <a:gd name="T32" fmla="*/ 196799 w 901340"/>
                <a:gd name="T33" fmla="*/ 337072 h 674329"/>
                <a:gd name="T34" fmla="*/ 252925 w 901340"/>
                <a:gd name="T35" fmla="*/ 337072 h 674329"/>
                <a:gd name="T36" fmla="*/ 252925 w 901340"/>
                <a:gd name="T37" fmla="*/ 449611 h 674329"/>
                <a:gd name="T38" fmla="*/ 196799 w 901340"/>
                <a:gd name="T39" fmla="*/ 449611 h 674329"/>
                <a:gd name="T40" fmla="*/ 196799 w 901340"/>
                <a:gd name="T41" fmla="*/ 505700 h 674329"/>
                <a:gd name="T42" fmla="*/ 365176 w 901340"/>
                <a:gd name="T43" fmla="*/ 505700 h 674329"/>
                <a:gd name="T44" fmla="*/ 365176 w 901340"/>
                <a:gd name="T45" fmla="*/ 449611 h 674329"/>
                <a:gd name="T46" fmla="*/ 309051 w 901340"/>
                <a:gd name="T47" fmla="*/ 449611 h 674329"/>
                <a:gd name="T48" fmla="*/ 309051 w 901340"/>
                <a:gd name="T49" fmla="*/ 280982 h 674329"/>
                <a:gd name="T50" fmla="*/ 503238 w 901340"/>
                <a:gd name="T51" fmla="*/ 139700 h 674329"/>
                <a:gd name="T52" fmla="*/ 787040 w 901340"/>
                <a:gd name="T53" fmla="*/ 139700 h 674329"/>
                <a:gd name="T54" fmla="*/ 787040 w 901340"/>
                <a:gd name="T55" fmla="*/ 252053 h 674329"/>
                <a:gd name="T56" fmla="*/ 587154 w 901340"/>
                <a:gd name="T57" fmla="*/ 252053 h 674329"/>
                <a:gd name="T58" fmla="*/ 503238 w 901340"/>
                <a:gd name="T59" fmla="*/ 139700 h 674329"/>
                <a:gd name="T60" fmla="*/ 280988 w 901340"/>
                <a:gd name="T61" fmla="*/ 112713 h 674329"/>
                <a:gd name="T62" fmla="*/ 561615 w 901340"/>
                <a:gd name="T63" fmla="*/ 393521 h 674329"/>
                <a:gd name="T64" fmla="*/ 280988 w 901340"/>
                <a:gd name="T65" fmla="*/ 674329 h 674329"/>
                <a:gd name="T66" fmla="*/ 0 w 901340"/>
                <a:gd name="T67" fmla="*/ 393521 h 674329"/>
                <a:gd name="T68" fmla="*/ 280988 w 901340"/>
                <a:gd name="T69" fmla="*/ 112713 h 674329"/>
                <a:gd name="T70" fmla="*/ 282575 w 901340"/>
                <a:gd name="T71" fmla="*/ 0 h 674329"/>
                <a:gd name="T72" fmla="*/ 844190 w 901340"/>
                <a:gd name="T73" fmla="*/ 0 h 674329"/>
                <a:gd name="T74" fmla="*/ 844190 w 901340"/>
                <a:gd name="T75" fmla="*/ 112353 h 674329"/>
                <a:gd name="T76" fmla="*/ 468221 w 901340"/>
                <a:gd name="T77" fmla="*/ 112353 h 674329"/>
                <a:gd name="T78" fmla="*/ 282575 w 901340"/>
                <a:gd name="T79" fmla="*/ 55816 h 6743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01340" h="674329">
                  <a:moveTo>
                    <a:pt x="573956" y="561975"/>
                  </a:moveTo>
                  <a:lnTo>
                    <a:pt x="901340" y="561975"/>
                  </a:lnTo>
                  <a:lnTo>
                    <a:pt x="901340" y="674329"/>
                  </a:lnTo>
                  <a:lnTo>
                    <a:pt x="468313" y="674329"/>
                  </a:lnTo>
                  <a:cubicBezTo>
                    <a:pt x="511940" y="645613"/>
                    <a:pt x="547996" y="607204"/>
                    <a:pt x="573956" y="561975"/>
                  </a:cubicBezTo>
                  <a:close/>
                  <a:moveTo>
                    <a:pt x="616811" y="420688"/>
                  </a:moveTo>
                  <a:lnTo>
                    <a:pt x="842604" y="420688"/>
                  </a:lnTo>
                  <a:lnTo>
                    <a:pt x="842604" y="533040"/>
                  </a:lnTo>
                  <a:lnTo>
                    <a:pt x="587375" y="533040"/>
                  </a:lnTo>
                  <a:cubicBezTo>
                    <a:pt x="603529" y="498470"/>
                    <a:pt x="613580" y="460660"/>
                    <a:pt x="616811" y="420688"/>
                  </a:cubicBezTo>
                  <a:close/>
                  <a:moveTo>
                    <a:pt x="600075" y="280988"/>
                  </a:moveTo>
                  <a:lnTo>
                    <a:pt x="901339" y="280988"/>
                  </a:lnTo>
                  <a:lnTo>
                    <a:pt x="901339" y="393341"/>
                  </a:lnTo>
                  <a:lnTo>
                    <a:pt x="619919" y="393341"/>
                  </a:lnTo>
                  <a:cubicBezTo>
                    <a:pt x="619919" y="353856"/>
                    <a:pt x="612703" y="316166"/>
                    <a:pt x="600075" y="280988"/>
                  </a:cubicBezTo>
                  <a:close/>
                  <a:moveTo>
                    <a:pt x="196799" y="280982"/>
                  </a:moveTo>
                  <a:lnTo>
                    <a:pt x="196799" y="337072"/>
                  </a:lnTo>
                  <a:lnTo>
                    <a:pt x="252925" y="337072"/>
                  </a:lnTo>
                  <a:lnTo>
                    <a:pt x="252925" y="449611"/>
                  </a:lnTo>
                  <a:lnTo>
                    <a:pt x="196799" y="449611"/>
                  </a:lnTo>
                  <a:lnTo>
                    <a:pt x="196799" y="505700"/>
                  </a:lnTo>
                  <a:lnTo>
                    <a:pt x="365176" y="505700"/>
                  </a:lnTo>
                  <a:lnTo>
                    <a:pt x="365176" y="449611"/>
                  </a:lnTo>
                  <a:lnTo>
                    <a:pt x="309051" y="449611"/>
                  </a:lnTo>
                  <a:lnTo>
                    <a:pt x="309051" y="280982"/>
                  </a:lnTo>
                  <a:lnTo>
                    <a:pt x="196799" y="280982"/>
                  </a:lnTo>
                  <a:close/>
                  <a:moveTo>
                    <a:pt x="503238" y="139700"/>
                  </a:moveTo>
                  <a:lnTo>
                    <a:pt x="787040" y="139700"/>
                  </a:lnTo>
                  <a:lnTo>
                    <a:pt x="787040" y="252053"/>
                  </a:lnTo>
                  <a:lnTo>
                    <a:pt x="587154" y="252053"/>
                  </a:lnTo>
                  <a:cubicBezTo>
                    <a:pt x="567346" y="208840"/>
                    <a:pt x="538894" y="170669"/>
                    <a:pt x="503238" y="139700"/>
                  </a:cubicBezTo>
                  <a:close/>
                  <a:moveTo>
                    <a:pt x="280988" y="112713"/>
                  </a:moveTo>
                  <a:cubicBezTo>
                    <a:pt x="436053" y="112713"/>
                    <a:pt x="561615" y="238555"/>
                    <a:pt x="561615" y="393521"/>
                  </a:cubicBezTo>
                  <a:cubicBezTo>
                    <a:pt x="561615" y="548487"/>
                    <a:pt x="436053" y="674329"/>
                    <a:pt x="280988" y="674329"/>
                  </a:cubicBezTo>
                  <a:cubicBezTo>
                    <a:pt x="125923" y="674329"/>
                    <a:pt x="0" y="548487"/>
                    <a:pt x="0" y="393521"/>
                  </a:cubicBezTo>
                  <a:cubicBezTo>
                    <a:pt x="0" y="238555"/>
                    <a:pt x="125923" y="112713"/>
                    <a:pt x="280988" y="112713"/>
                  </a:cubicBezTo>
                  <a:close/>
                  <a:moveTo>
                    <a:pt x="282575" y="0"/>
                  </a:moveTo>
                  <a:lnTo>
                    <a:pt x="844190" y="0"/>
                  </a:lnTo>
                  <a:lnTo>
                    <a:pt x="844190" y="112353"/>
                  </a:lnTo>
                  <a:lnTo>
                    <a:pt x="468221" y="112353"/>
                  </a:lnTo>
                  <a:cubicBezTo>
                    <a:pt x="415694" y="76702"/>
                    <a:pt x="351293" y="55816"/>
                    <a:pt x="282575" y="55816"/>
                  </a:cubicBezTo>
                  <a:lnTo>
                    <a:pt x="282575" y="0"/>
                  </a:lnTo>
                  <a:close/>
                </a:path>
              </a:pathLst>
            </a:custGeom>
            <a:solidFill>
              <a:schemeClr val="bg1"/>
            </a:solidFill>
            <a:ln>
              <a:noFill/>
            </a:ln>
            <a:effectLst/>
          </p:spPr>
          <p:txBody>
            <a:bodyPr anchor="ctr"/>
            <a:lstStyle/>
            <a:p>
              <a:endParaRPr lang="en-US" sz="567" dirty="0">
                <a:latin typeface="+mj-lt"/>
              </a:endParaRPr>
            </a:p>
          </p:txBody>
        </p:sp>
      </p:grpSp>
      <p:sp>
        <p:nvSpPr>
          <p:cNvPr id="28" name="TextBox 58">
            <a:extLst>
              <a:ext uri="{FF2B5EF4-FFF2-40B4-BE49-F238E27FC236}">
                <a16:creationId xmlns:a16="http://schemas.microsoft.com/office/drawing/2014/main" xmlns="" id="{1874CCDC-64E5-4C2F-B847-E5475F5C7605}"/>
              </a:ext>
            </a:extLst>
          </p:cNvPr>
          <p:cNvSpPr txBox="1"/>
          <p:nvPr/>
        </p:nvSpPr>
        <p:spPr>
          <a:xfrm>
            <a:off x="9762363" y="1570656"/>
            <a:ext cx="2472919" cy="4770537"/>
          </a:xfrm>
          <a:prstGeom prst="rect">
            <a:avLst/>
          </a:prstGeom>
          <a:noFill/>
        </p:spPr>
        <p:txBody>
          <a:bodyPr wrap="square" rtlCol="0" anchor="t">
            <a:spAutoFit/>
          </a:bodyPr>
          <a:lstStyle/>
          <a:p>
            <a:endParaRPr lang="en-US" sz="1600" dirty="0">
              <a:latin typeface="+mj-lt"/>
              <a:ea typeface="Lato Light" panose="020F0502020204030203" pitchFamily="34" charset="0"/>
              <a:cs typeface="Lato Light" panose="020F0502020204030203" pitchFamily="34" charset="0"/>
            </a:endParaRPr>
          </a:p>
          <a:p>
            <a:r>
              <a:rPr lang="en-US" dirty="0">
                <a:solidFill>
                  <a:srgbClr val="245473"/>
                </a:solidFill>
                <a:latin typeface="+mj-lt"/>
                <a:ea typeface="Lato Light" panose="020F0502020204030203" pitchFamily="34" charset="0"/>
                <a:cs typeface="Lato Light" panose="020F0502020204030203" pitchFamily="34" charset="0"/>
              </a:rPr>
              <a:t>El plan muestra todas las medidas (y también funciona como una plantilla de decisión) como: </a:t>
            </a:r>
          </a:p>
          <a:p>
            <a:pPr marL="87313" indent="-87313">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Aportación de capital por parte de los accionistas</a:t>
            </a:r>
          </a:p>
          <a:p>
            <a:pPr marL="87313" indent="-87313">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Renuncia a los créditos por parte de los bancos (con o sin garantía del deudor)</a:t>
            </a:r>
          </a:p>
          <a:p>
            <a:pPr marL="87313" indent="-87313">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Renuncia a la remuneración por parte de los empleados</a:t>
            </a:r>
          </a:p>
          <a:p>
            <a:pPr marL="87313" indent="-87313">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Celebración de un convenio colectivo de reestructuración</a:t>
            </a:r>
          </a:p>
          <a:p>
            <a:pPr marL="87313" indent="-87313">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Negociaciones plan social, etc.</a:t>
            </a:r>
          </a:p>
        </p:txBody>
      </p:sp>
      <p:sp>
        <p:nvSpPr>
          <p:cNvPr id="5" name="Rectangle 4">
            <a:extLst>
              <a:ext uri="{FF2B5EF4-FFF2-40B4-BE49-F238E27FC236}">
                <a16:creationId xmlns:a16="http://schemas.microsoft.com/office/drawing/2014/main" xmlns="" id="{31BAE754-9B01-0145-9F89-DC126EF6764D}"/>
              </a:ext>
            </a:extLst>
          </p:cNvPr>
          <p:cNvSpPr/>
          <p:nvPr/>
        </p:nvSpPr>
        <p:spPr>
          <a:xfrm>
            <a:off x="3211968" y="2359982"/>
            <a:ext cx="2381027" cy="3416320"/>
          </a:xfrm>
          <a:prstGeom prst="rect">
            <a:avLst/>
          </a:prstGeom>
        </p:spPr>
        <p:txBody>
          <a:bodyPr wrap="square">
            <a:spAutoFit/>
          </a:bodyPr>
          <a:lstStyle/>
          <a:p>
            <a:r>
              <a:rPr lang="en-US" dirty="0">
                <a:solidFill>
                  <a:srgbClr val="245473"/>
                </a:solidFill>
                <a:latin typeface="+mj-lt"/>
                <a:ea typeface="Lato Light" panose="020F0502020204030203" pitchFamily="34" charset="0"/>
                <a:cs typeface="Lato Light" panose="020F0502020204030203" pitchFamily="34" charset="0"/>
              </a:rPr>
              <a:t>El éxito de la reestructuración depende en gran medida de la aplicación de las medidas de acuerdo con el concepto y del seguimiento y actualización continuos del mismo por parte de los representantes legales de la empresa.</a:t>
            </a:r>
          </a:p>
        </p:txBody>
      </p:sp>
    </p:spTree>
    <p:extLst>
      <p:ext uri="{BB962C8B-B14F-4D97-AF65-F5344CB8AC3E}">
        <p14:creationId xmlns:p14="http://schemas.microsoft.com/office/powerpoint/2010/main" val="24055163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85704"/>
            <a:ext cx="9531588" cy="697353"/>
          </a:xfrm>
        </p:spPr>
        <p:txBody>
          <a:bodyPr>
            <a:noAutofit/>
          </a:bodyPr>
          <a:lstStyle/>
          <a:p>
            <a:r>
              <a:rPr lang="en-GB" sz="2800"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85788" y="1783737"/>
            <a:ext cx="4479870" cy="53145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En principio, un plan de </a:t>
            </a:r>
            <a:r>
              <a:rPr lang="en-US" sz="2200" dirty="0" err="1">
                <a:solidFill>
                  <a:srgbClr val="245473"/>
                </a:solidFill>
                <a:latin typeface="+mj-lt"/>
                <a:ea typeface="Open Sans Light" panose="020B0306030504020204" pitchFamily="34" charset="0"/>
                <a:cs typeface="Open Sans Light" panose="020B0306030504020204" pitchFamily="34" charset="0"/>
              </a:rPr>
              <a:t>reorganización </a:t>
            </a:r>
            <a:r>
              <a:rPr lang="en-US" sz="2200" dirty="0">
                <a:solidFill>
                  <a:srgbClr val="245473"/>
                </a:solidFill>
                <a:latin typeface="+mj-lt"/>
                <a:ea typeface="Open Sans Light" panose="020B0306030504020204" pitchFamily="34" charset="0"/>
                <a:cs typeface="Open Sans Light" panose="020B0306030504020204" pitchFamily="34" charset="0"/>
              </a:rPr>
              <a:t>integrado, basado en subplanes operativos (planificación de ventas, planificación de inversiones, planificación de costes de personal, etc.), comprende una cuenta de resultados planificada, un balance planificado y un plan de liquidez derivado.</a:t>
            </a:r>
          </a:p>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Dado que la planificación siempre está asociada a incertidumbres y riesgos, deben realizarse cálculos o simulaciones alternativas para mostrar los efectos del incumplimiento de los objetivos en la liquidez y otros parámetros importantes.</a:t>
            </a:r>
          </a:p>
          <a:p>
            <a:pPr algn="l">
              <a:lnSpc>
                <a:spcPct val="100000"/>
              </a:lnSpc>
              <a:spcBef>
                <a:spcPts val="600"/>
              </a:spcBef>
            </a:pPr>
            <a:endParaRPr lang="en-US" sz="2200" dirty="0">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90702F68-82C1-42CC-9582-7CD198FA5AC1}"/>
              </a:ext>
            </a:extLst>
          </p:cNvPr>
          <p:cNvGrpSpPr>
            <a:grpSpLocks noChangeAspect="1"/>
          </p:cNvGrpSpPr>
          <p:nvPr/>
        </p:nvGrpSpPr>
        <p:grpSpPr>
          <a:xfrm>
            <a:off x="5429027" y="2056849"/>
            <a:ext cx="4106971" cy="4106972"/>
            <a:chOff x="5766160" y="2497407"/>
            <a:chExt cx="3413220" cy="3413221"/>
          </a:xfrm>
        </p:grpSpPr>
        <p:sp>
          <p:nvSpPr>
            <p:cNvPr id="15" name="Freeform 38">
              <a:extLst>
                <a:ext uri="{FF2B5EF4-FFF2-40B4-BE49-F238E27FC236}">
                  <a16:creationId xmlns:a16="http://schemas.microsoft.com/office/drawing/2014/main" xmlns="" id="{8EDE0225-25D9-4A5D-937B-C1B3B531F6B2}"/>
                </a:ext>
              </a:extLst>
            </p:cNvPr>
            <p:cNvSpPr/>
            <p:nvPr/>
          </p:nvSpPr>
          <p:spPr>
            <a:xfrm>
              <a:off x="5766160" y="2497407"/>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6" name="Freeform 39">
              <a:extLst>
                <a:ext uri="{FF2B5EF4-FFF2-40B4-BE49-F238E27FC236}">
                  <a16:creationId xmlns:a16="http://schemas.microsoft.com/office/drawing/2014/main" xmlns="" id="{16AE0FC8-7583-4919-A369-3E1B34DC5C04}"/>
                </a:ext>
              </a:extLst>
            </p:cNvPr>
            <p:cNvSpPr/>
            <p:nvPr/>
          </p:nvSpPr>
          <p:spPr>
            <a:xfrm rot="5400000">
              <a:off x="7472770" y="3238401"/>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7" name="Freeform 40">
              <a:extLst>
                <a:ext uri="{FF2B5EF4-FFF2-40B4-BE49-F238E27FC236}">
                  <a16:creationId xmlns:a16="http://schemas.microsoft.com/office/drawing/2014/main" xmlns="" id="{7E93E9F9-3FF7-4606-A59B-D8D903F0FDA9}"/>
                </a:ext>
              </a:extLst>
            </p:cNvPr>
            <p:cNvSpPr/>
            <p:nvPr/>
          </p:nvSpPr>
          <p:spPr>
            <a:xfrm rot="10800000">
              <a:off x="6708752" y="4945011"/>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8" name="Freeform 41">
              <a:extLst>
                <a:ext uri="{FF2B5EF4-FFF2-40B4-BE49-F238E27FC236}">
                  <a16:creationId xmlns:a16="http://schemas.microsoft.com/office/drawing/2014/main" xmlns="" id="{AEEBB382-01E1-4868-891D-33C37437EC4E}"/>
                </a:ext>
              </a:extLst>
            </p:cNvPr>
            <p:cNvSpPr/>
            <p:nvPr/>
          </p:nvSpPr>
          <p:spPr>
            <a:xfrm rot="16200000">
              <a:off x="5025166" y="4204018"/>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9" name="TextBox 43">
              <a:extLst>
                <a:ext uri="{FF2B5EF4-FFF2-40B4-BE49-F238E27FC236}">
                  <a16:creationId xmlns:a16="http://schemas.microsoft.com/office/drawing/2014/main" xmlns="" id="{AEC72BF0-11CD-4FCE-862D-B247DF65D7A2}"/>
                </a:ext>
              </a:extLst>
            </p:cNvPr>
            <p:cNvSpPr txBox="1"/>
            <p:nvPr/>
          </p:nvSpPr>
          <p:spPr>
            <a:xfrm>
              <a:off x="6731778" y="3665409"/>
              <a:ext cx="1481987" cy="1077218"/>
            </a:xfrm>
            <a:prstGeom prst="rect">
              <a:avLst/>
            </a:prstGeom>
            <a:noFill/>
          </p:spPr>
          <p:txBody>
            <a:bodyPr wrap="square" rtlCol="0" anchor="ctr">
              <a:spAutoFit/>
            </a:bodyPr>
            <a:lstStyle/>
            <a:p>
              <a:pPr algn="ctr"/>
              <a:r>
                <a:rPr lang="en-US" sz="1600" b="1" dirty="0">
                  <a:solidFill>
                    <a:schemeClr val="tx2"/>
                  </a:solidFill>
                  <a:latin typeface="+mj-lt"/>
                  <a:cs typeface="Poppins" pitchFamily="2" charset="77"/>
                </a:rPr>
                <a:t>Resumen: Planificación empresarial en la crisis</a:t>
              </a:r>
            </a:p>
          </p:txBody>
        </p:sp>
        <p:sp>
          <p:nvSpPr>
            <p:cNvPr id="20" name="TextBox 44">
              <a:extLst>
                <a:ext uri="{FF2B5EF4-FFF2-40B4-BE49-F238E27FC236}">
                  <a16:creationId xmlns:a16="http://schemas.microsoft.com/office/drawing/2014/main" xmlns="" id="{062D07B8-00B6-4F0A-A8A6-5C88DCB3E2A3}"/>
                </a:ext>
              </a:extLst>
            </p:cNvPr>
            <p:cNvSpPr txBox="1"/>
            <p:nvPr/>
          </p:nvSpPr>
          <p:spPr>
            <a:xfrm>
              <a:off x="6303903" y="2889958"/>
              <a:ext cx="1815177" cy="523220"/>
            </a:xfrm>
            <a:prstGeom prst="rect">
              <a:avLst/>
            </a:prstGeom>
            <a:noFill/>
          </p:spPr>
          <p:txBody>
            <a:bodyPr wrap="none" rtlCol="0" anchor="ctr">
              <a:spAutoFit/>
            </a:bodyPr>
            <a:lstStyle/>
            <a:p>
              <a:pPr algn="ctr"/>
              <a:r>
                <a:rPr lang="en-US" sz="1400" b="1" dirty="0">
                  <a:solidFill>
                    <a:schemeClr val="bg1"/>
                  </a:solidFill>
                  <a:latin typeface="+mj-lt"/>
                  <a:cs typeface="Poppins" pitchFamily="2" charset="77"/>
                </a:rPr>
                <a:t>Descripción de la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problema y áreas de pérdida</a:t>
              </a:r>
            </a:p>
          </p:txBody>
        </p:sp>
        <p:sp>
          <p:nvSpPr>
            <p:cNvPr id="21" name="Freeform 41">
              <a:extLst>
                <a:ext uri="{FF2B5EF4-FFF2-40B4-BE49-F238E27FC236}">
                  <a16:creationId xmlns:a16="http://schemas.microsoft.com/office/drawing/2014/main" xmlns="" id="{CF70DE15-9BE8-40DD-A4E0-E82287C12258}"/>
                </a:ext>
              </a:extLst>
            </p:cNvPr>
            <p:cNvSpPr>
              <a:spLocks noChangeArrowheads="1"/>
            </p:cNvSpPr>
            <p:nvPr/>
          </p:nvSpPr>
          <p:spPr bwMode="auto">
            <a:xfrm>
              <a:off x="7075520" y="2604219"/>
              <a:ext cx="274171" cy="292209"/>
            </a:xfrm>
            <a:custGeom>
              <a:avLst/>
              <a:gdLst>
                <a:gd name="T0" fmla="*/ 450379 w 2344"/>
                <a:gd name="T1" fmla="*/ 478140 h 2500"/>
                <a:gd name="T2" fmla="*/ 731775 w 2344"/>
                <a:gd name="T3" fmla="*/ 421973 h 2500"/>
                <a:gd name="T4" fmla="*/ 731775 w 2344"/>
                <a:gd name="T5" fmla="*/ 703168 h 2500"/>
                <a:gd name="T6" fmla="*/ 450379 w 2344"/>
                <a:gd name="T7" fmla="*/ 646641 h 2500"/>
                <a:gd name="T8" fmla="*/ 731775 w 2344"/>
                <a:gd name="T9" fmla="*/ 703168 h 2500"/>
                <a:gd name="T10" fmla="*/ 366068 w 2344"/>
                <a:gd name="T11" fmla="*/ 365446 h 2500"/>
                <a:gd name="T12" fmla="*/ 337964 w 2344"/>
                <a:gd name="T13" fmla="*/ 337362 h 2500"/>
                <a:gd name="T14" fmla="*/ 366068 w 2344"/>
                <a:gd name="T15" fmla="*/ 309279 h 2500"/>
                <a:gd name="T16" fmla="*/ 394171 w 2344"/>
                <a:gd name="T17" fmla="*/ 337362 h 2500"/>
                <a:gd name="T18" fmla="*/ 366068 w 2344"/>
                <a:gd name="T19" fmla="*/ 478140 h 2500"/>
                <a:gd name="T20" fmla="*/ 337964 w 2344"/>
                <a:gd name="T21" fmla="*/ 449696 h 2500"/>
                <a:gd name="T22" fmla="*/ 366068 w 2344"/>
                <a:gd name="T23" fmla="*/ 421973 h 2500"/>
                <a:gd name="T24" fmla="*/ 394171 w 2344"/>
                <a:gd name="T25" fmla="*/ 449696 h 2500"/>
                <a:gd name="T26" fmla="*/ 366068 w 2344"/>
                <a:gd name="T27" fmla="*/ 478140 h 2500"/>
                <a:gd name="T28" fmla="*/ 366068 w 2344"/>
                <a:gd name="T29" fmla="*/ 590474 h 2500"/>
                <a:gd name="T30" fmla="*/ 337964 w 2344"/>
                <a:gd name="T31" fmla="*/ 562391 h 2500"/>
                <a:gd name="T32" fmla="*/ 366068 w 2344"/>
                <a:gd name="T33" fmla="*/ 534307 h 2500"/>
                <a:gd name="T34" fmla="*/ 394171 w 2344"/>
                <a:gd name="T35" fmla="*/ 562391 h 2500"/>
                <a:gd name="T36" fmla="*/ 366068 w 2344"/>
                <a:gd name="T37" fmla="*/ 703168 h 2500"/>
                <a:gd name="T38" fmla="*/ 337964 w 2344"/>
                <a:gd name="T39" fmla="*/ 674725 h 2500"/>
                <a:gd name="T40" fmla="*/ 366068 w 2344"/>
                <a:gd name="T41" fmla="*/ 646641 h 2500"/>
                <a:gd name="T42" fmla="*/ 394171 w 2344"/>
                <a:gd name="T43" fmla="*/ 674725 h 2500"/>
                <a:gd name="T44" fmla="*/ 366068 w 2344"/>
                <a:gd name="T45" fmla="*/ 703168 h 2500"/>
                <a:gd name="T46" fmla="*/ 619000 w 2344"/>
                <a:gd name="T47" fmla="*/ 534307 h 2500"/>
                <a:gd name="T48" fmla="*/ 450379 w 2344"/>
                <a:gd name="T49" fmla="*/ 590474 h 2500"/>
                <a:gd name="T50" fmla="*/ 450379 w 2344"/>
                <a:gd name="T51" fmla="*/ 309279 h 2500"/>
                <a:gd name="T52" fmla="*/ 703311 w 2344"/>
                <a:gd name="T53" fmla="*/ 365446 h 2500"/>
                <a:gd name="T54" fmla="*/ 450379 w 2344"/>
                <a:gd name="T55" fmla="*/ 309279 h 2500"/>
                <a:gd name="T56" fmla="*/ 647104 w 2344"/>
                <a:gd name="T57" fmla="*/ 140418 h 2500"/>
                <a:gd name="T58" fmla="*/ 450379 w 2344"/>
                <a:gd name="T59" fmla="*/ 196585 h 2500"/>
                <a:gd name="T60" fmla="*/ 225189 w 2344"/>
                <a:gd name="T61" fmla="*/ 815502 h 2500"/>
                <a:gd name="T62" fmla="*/ 197086 w 2344"/>
                <a:gd name="T63" fmla="*/ 843586 h 2500"/>
                <a:gd name="T64" fmla="*/ 168982 w 2344"/>
                <a:gd name="T65" fmla="*/ 815502 h 2500"/>
                <a:gd name="T66" fmla="*/ 168982 w 2344"/>
                <a:gd name="T67" fmla="*/ 309279 h 2500"/>
                <a:gd name="T68" fmla="*/ 225189 w 2344"/>
                <a:gd name="T69" fmla="*/ 281195 h 2500"/>
                <a:gd name="T70" fmla="*/ 112775 w 2344"/>
                <a:gd name="T71" fmla="*/ 590474 h 2500"/>
                <a:gd name="T72" fmla="*/ 56568 w 2344"/>
                <a:gd name="T73" fmla="*/ 309279 h 2500"/>
                <a:gd name="T74" fmla="*/ 84311 w 2344"/>
                <a:gd name="T75" fmla="*/ 281195 h 2500"/>
                <a:gd name="T76" fmla="*/ 112775 w 2344"/>
                <a:gd name="T77" fmla="*/ 309279 h 2500"/>
                <a:gd name="T78" fmla="*/ 225189 w 2344"/>
                <a:gd name="T79" fmla="*/ 0 h 2500"/>
                <a:gd name="T80" fmla="*/ 84311 w 2344"/>
                <a:gd name="T81" fmla="*/ 225028 h 2500"/>
                <a:gd name="T82" fmla="*/ 0 w 2344"/>
                <a:gd name="T83" fmla="*/ 309279 h 2500"/>
                <a:gd name="T84" fmla="*/ 112775 w 2344"/>
                <a:gd name="T85" fmla="*/ 646641 h 2500"/>
                <a:gd name="T86" fmla="*/ 112775 w 2344"/>
                <a:gd name="T87" fmla="*/ 815502 h 2500"/>
                <a:gd name="T88" fmla="*/ 759879 w 2344"/>
                <a:gd name="T89" fmla="*/ 899753 h 2500"/>
                <a:gd name="T90" fmla="*/ 844190 w 2344"/>
                <a:gd name="T91" fmla="*/ 815502 h 2500"/>
                <a:gd name="T92" fmla="*/ 225189 w 2344"/>
                <a:gd name="T93" fmla="*/ 0 h 25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344" h="2500">
                  <a:moveTo>
                    <a:pt x="2031" y="1328"/>
                  </a:moveTo>
                  <a:lnTo>
                    <a:pt x="1250" y="1328"/>
                  </a:lnTo>
                  <a:lnTo>
                    <a:pt x="1250" y="1172"/>
                  </a:lnTo>
                  <a:lnTo>
                    <a:pt x="2031" y="1172"/>
                  </a:lnTo>
                  <a:lnTo>
                    <a:pt x="2031" y="1328"/>
                  </a:lnTo>
                  <a:close/>
                  <a:moveTo>
                    <a:pt x="2031" y="1953"/>
                  </a:moveTo>
                  <a:lnTo>
                    <a:pt x="1250" y="1953"/>
                  </a:lnTo>
                  <a:lnTo>
                    <a:pt x="1250" y="1796"/>
                  </a:lnTo>
                  <a:lnTo>
                    <a:pt x="2031" y="1796"/>
                  </a:lnTo>
                  <a:lnTo>
                    <a:pt x="2031" y="1953"/>
                  </a:lnTo>
                  <a:close/>
                  <a:moveTo>
                    <a:pt x="1016" y="1015"/>
                  </a:moveTo>
                  <a:lnTo>
                    <a:pt x="1016" y="1015"/>
                  </a:lnTo>
                  <a:cubicBezTo>
                    <a:pt x="972" y="1015"/>
                    <a:pt x="938" y="980"/>
                    <a:pt x="938" y="937"/>
                  </a:cubicBezTo>
                  <a:cubicBezTo>
                    <a:pt x="938" y="893"/>
                    <a:pt x="972" y="859"/>
                    <a:pt x="1016" y="859"/>
                  </a:cubicBezTo>
                  <a:cubicBezTo>
                    <a:pt x="1059" y="859"/>
                    <a:pt x="1094" y="893"/>
                    <a:pt x="1094" y="937"/>
                  </a:cubicBezTo>
                  <a:cubicBezTo>
                    <a:pt x="1094" y="980"/>
                    <a:pt x="1059" y="1015"/>
                    <a:pt x="1016" y="1015"/>
                  </a:cubicBezTo>
                  <a:close/>
                  <a:moveTo>
                    <a:pt x="1016" y="1328"/>
                  </a:moveTo>
                  <a:lnTo>
                    <a:pt x="1016" y="1328"/>
                  </a:lnTo>
                  <a:cubicBezTo>
                    <a:pt x="972" y="1328"/>
                    <a:pt x="938" y="1293"/>
                    <a:pt x="938" y="1249"/>
                  </a:cubicBezTo>
                  <a:cubicBezTo>
                    <a:pt x="938" y="1206"/>
                    <a:pt x="972" y="1172"/>
                    <a:pt x="1016" y="1172"/>
                  </a:cubicBezTo>
                  <a:cubicBezTo>
                    <a:pt x="1059" y="1172"/>
                    <a:pt x="1094" y="1206"/>
                    <a:pt x="1094" y="1249"/>
                  </a:cubicBezTo>
                  <a:cubicBezTo>
                    <a:pt x="1094" y="1293"/>
                    <a:pt x="1059" y="1328"/>
                    <a:pt x="1016" y="1328"/>
                  </a:cubicBezTo>
                  <a:close/>
                  <a:moveTo>
                    <a:pt x="1016" y="1640"/>
                  </a:moveTo>
                  <a:lnTo>
                    <a:pt x="1016" y="1640"/>
                  </a:lnTo>
                  <a:cubicBezTo>
                    <a:pt x="972" y="1640"/>
                    <a:pt x="938" y="1605"/>
                    <a:pt x="938" y="1562"/>
                  </a:cubicBezTo>
                  <a:cubicBezTo>
                    <a:pt x="938" y="1519"/>
                    <a:pt x="972" y="1484"/>
                    <a:pt x="1016" y="1484"/>
                  </a:cubicBezTo>
                  <a:cubicBezTo>
                    <a:pt x="1059" y="1484"/>
                    <a:pt x="1094" y="1519"/>
                    <a:pt x="1094" y="1562"/>
                  </a:cubicBezTo>
                  <a:cubicBezTo>
                    <a:pt x="1094" y="1605"/>
                    <a:pt x="1059" y="1640"/>
                    <a:pt x="1016" y="1640"/>
                  </a:cubicBezTo>
                  <a:close/>
                  <a:moveTo>
                    <a:pt x="1016" y="1953"/>
                  </a:moveTo>
                  <a:lnTo>
                    <a:pt x="1016" y="1953"/>
                  </a:lnTo>
                  <a:cubicBezTo>
                    <a:pt x="972" y="1953"/>
                    <a:pt x="938" y="1917"/>
                    <a:pt x="938" y="1874"/>
                  </a:cubicBezTo>
                  <a:cubicBezTo>
                    <a:pt x="938" y="1831"/>
                    <a:pt x="972" y="1796"/>
                    <a:pt x="1016" y="1796"/>
                  </a:cubicBezTo>
                  <a:cubicBezTo>
                    <a:pt x="1059" y="1796"/>
                    <a:pt x="1094" y="1831"/>
                    <a:pt x="1094" y="1874"/>
                  </a:cubicBezTo>
                  <a:cubicBezTo>
                    <a:pt x="1094" y="1917"/>
                    <a:pt x="1059" y="1953"/>
                    <a:pt x="1016" y="1953"/>
                  </a:cubicBezTo>
                  <a:close/>
                  <a:moveTo>
                    <a:pt x="1250" y="1484"/>
                  </a:moveTo>
                  <a:lnTo>
                    <a:pt x="1718" y="1484"/>
                  </a:lnTo>
                  <a:lnTo>
                    <a:pt x="1718" y="1640"/>
                  </a:lnTo>
                  <a:lnTo>
                    <a:pt x="1250" y="1640"/>
                  </a:lnTo>
                  <a:lnTo>
                    <a:pt x="1250" y="1484"/>
                  </a:lnTo>
                  <a:close/>
                  <a:moveTo>
                    <a:pt x="1250" y="859"/>
                  </a:moveTo>
                  <a:lnTo>
                    <a:pt x="1952" y="859"/>
                  </a:lnTo>
                  <a:lnTo>
                    <a:pt x="1952" y="1015"/>
                  </a:lnTo>
                  <a:lnTo>
                    <a:pt x="1250" y="1015"/>
                  </a:lnTo>
                  <a:lnTo>
                    <a:pt x="1250" y="859"/>
                  </a:lnTo>
                  <a:close/>
                  <a:moveTo>
                    <a:pt x="1250" y="390"/>
                  </a:moveTo>
                  <a:lnTo>
                    <a:pt x="1796" y="390"/>
                  </a:lnTo>
                  <a:lnTo>
                    <a:pt x="1796" y="546"/>
                  </a:lnTo>
                  <a:lnTo>
                    <a:pt x="1250" y="546"/>
                  </a:lnTo>
                  <a:lnTo>
                    <a:pt x="1250" y="390"/>
                  </a:lnTo>
                  <a:close/>
                  <a:moveTo>
                    <a:pt x="625" y="2265"/>
                  </a:moveTo>
                  <a:lnTo>
                    <a:pt x="625" y="2265"/>
                  </a:lnTo>
                  <a:cubicBezTo>
                    <a:pt x="625" y="2308"/>
                    <a:pt x="590" y="2343"/>
                    <a:pt x="547" y="2343"/>
                  </a:cubicBezTo>
                  <a:cubicBezTo>
                    <a:pt x="504" y="2343"/>
                    <a:pt x="469" y="2308"/>
                    <a:pt x="469" y="2265"/>
                  </a:cubicBezTo>
                  <a:lnTo>
                    <a:pt x="469" y="859"/>
                  </a:lnTo>
                  <a:cubicBezTo>
                    <a:pt x="469" y="831"/>
                    <a:pt x="463" y="806"/>
                    <a:pt x="454" y="781"/>
                  </a:cubicBezTo>
                  <a:lnTo>
                    <a:pt x="625" y="781"/>
                  </a:lnTo>
                  <a:lnTo>
                    <a:pt x="625" y="2265"/>
                  </a:lnTo>
                  <a:close/>
                  <a:moveTo>
                    <a:pt x="313" y="1640"/>
                  </a:moveTo>
                  <a:lnTo>
                    <a:pt x="157" y="1640"/>
                  </a:lnTo>
                  <a:lnTo>
                    <a:pt x="157" y="859"/>
                  </a:lnTo>
                  <a:cubicBezTo>
                    <a:pt x="157" y="816"/>
                    <a:pt x="191" y="781"/>
                    <a:pt x="234" y="781"/>
                  </a:cubicBezTo>
                  <a:cubicBezTo>
                    <a:pt x="277" y="781"/>
                    <a:pt x="313" y="816"/>
                    <a:pt x="313" y="859"/>
                  </a:cubicBezTo>
                  <a:lnTo>
                    <a:pt x="313" y="1640"/>
                  </a:lnTo>
                  <a:close/>
                  <a:moveTo>
                    <a:pt x="625" y="0"/>
                  </a:moveTo>
                  <a:lnTo>
                    <a:pt x="625" y="625"/>
                  </a:lnTo>
                  <a:lnTo>
                    <a:pt x="234" y="625"/>
                  </a:lnTo>
                  <a:cubicBezTo>
                    <a:pt x="105" y="625"/>
                    <a:pt x="0" y="730"/>
                    <a:pt x="0" y="859"/>
                  </a:cubicBezTo>
                  <a:lnTo>
                    <a:pt x="0" y="1796"/>
                  </a:lnTo>
                  <a:lnTo>
                    <a:pt x="313" y="1796"/>
                  </a:lnTo>
                  <a:lnTo>
                    <a:pt x="313" y="2265"/>
                  </a:lnTo>
                  <a:cubicBezTo>
                    <a:pt x="313" y="2394"/>
                    <a:pt x="418" y="2499"/>
                    <a:pt x="547" y="2499"/>
                  </a:cubicBezTo>
                  <a:lnTo>
                    <a:pt x="2109" y="2499"/>
                  </a:lnTo>
                  <a:cubicBezTo>
                    <a:pt x="2238" y="2499"/>
                    <a:pt x="2343" y="2394"/>
                    <a:pt x="2343" y="2265"/>
                  </a:cubicBezTo>
                  <a:lnTo>
                    <a:pt x="2343" y="0"/>
                  </a:lnTo>
                  <a:lnTo>
                    <a:pt x="625" y="0"/>
                  </a:lnTo>
                  <a:close/>
                </a:path>
              </a:pathLst>
            </a:custGeom>
            <a:solidFill>
              <a:schemeClr val="bg1"/>
            </a:solidFill>
            <a:ln>
              <a:noFill/>
            </a:ln>
            <a:effectLst/>
          </p:spPr>
          <p:txBody>
            <a:bodyPr wrap="none" anchor="ctr"/>
            <a:lstStyle/>
            <a:p>
              <a:endParaRPr lang="en-US" sz="567" dirty="0">
                <a:latin typeface="+mj-lt"/>
              </a:endParaRPr>
            </a:p>
          </p:txBody>
        </p:sp>
        <p:sp>
          <p:nvSpPr>
            <p:cNvPr id="22" name="TextBox 48">
              <a:extLst>
                <a:ext uri="{FF2B5EF4-FFF2-40B4-BE49-F238E27FC236}">
                  <a16:creationId xmlns:a16="http://schemas.microsoft.com/office/drawing/2014/main" xmlns="" id="{D3DC1898-6275-4144-AE76-CED6333A4068}"/>
                </a:ext>
              </a:extLst>
            </p:cNvPr>
            <p:cNvSpPr txBox="1"/>
            <p:nvPr/>
          </p:nvSpPr>
          <p:spPr>
            <a:xfrm>
              <a:off x="6723590" y="5073353"/>
              <a:ext cx="1524903" cy="767361"/>
            </a:xfrm>
            <a:prstGeom prst="rect">
              <a:avLst/>
            </a:prstGeom>
            <a:noFill/>
          </p:spPr>
          <p:txBody>
            <a:bodyPr wrap="square" rtlCol="0" anchor="ctr">
              <a:spAutoFit/>
            </a:bodyPr>
            <a:lstStyle/>
            <a:p>
              <a:pPr algn="ctr"/>
              <a:r>
                <a:rPr lang="en-US" b="1" dirty="0">
                  <a:solidFill>
                    <a:schemeClr val="bg1"/>
                  </a:solidFill>
                  <a:latin typeface="+mj-lt"/>
                  <a:cs typeface="Poppins" pitchFamily="2" charset="77"/>
                </a:rPr>
                <a:t>Estructura de la </a:t>
              </a:r>
              <a:br>
                <a:rPr lang="en-US" b="1" dirty="0">
                  <a:solidFill>
                    <a:schemeClr val="bg1"/>
                  </a:solidFill>
                  <a:latin typeface="+mj-lt"/>
                  <a:cs typeface="Poppins" pitchFamily="2" charset="77"/>
                </a:rPr>
              </a:br>
              <a:r>
                <a:rPr lang="en-US" b="1" dirty="0">
                  <a:solidFill>
                    <a:schemeClr val="bg1"/>
                  </a:solidFill>
                  <a:latin typeface="+mj-lt"/>
                  <a:cs typeface="Poppins" pitchFamily="2" charset="77"/>
                </a:rPr>
                <a:t>planificación de la reconstrucción</a:t>
              </a:r>
            </a:p>
          </p:txBody>
        </p:sp>
        <p:sp>
          <p:nvSpPr>
            <p:cNvPr id="23" name="Freeform 91">
              <a:extLst>
                <a:ext uri="{FF2B5EF4-FFF2-40B4-BE49-F238E27FC236}">
                  <a16:creationId xmlns:a16="http://schemas.microsoft.com/office/drawing/2014/main" xmlns="" id="{175DD395-C0D3-4565-B465-BB6ECC957B3F}"/>
                </a:ext>
              </a:extLst>
            </p:cNvPr>
            <p:cNvSpPr>
              <a:spLocks noChangeArrowheads="1"/>
            </p:cNvSpPr>
            <p:nvPr/>
          </p:nvSpPr>
          <p:spPr bwMode="auto">
            <a:xfrm>
              <a:off x="8213765" y="5142927"/>
              <a:ext cx="337630" cy="316193"/>
            </a:xfrm>
            <a:custGeom>
              <a:avLst/>
              <a:gdLst>
                <a:gd name="T0" fmla="*/ 642085 w 899753"/>
                <a:gd name="T1" fmla="*/ 505575 h 842602"/>
                <a:gd name="T2" fmla="*/ 781355 w 899753"/>
                <a:gd name="T3" fmla="*/ 645275 h 842602"/>
                <a:gd name="T4" fmla="*/ 838935 w 899753"/>
                <a:gd name="T5" fmla="*/ 505575 h 842602"/>
                <a:gd name="T6" fmla="*/ 506413 w 899753"/>
                <a:gd name="T7" fmla="*/ 449262 h 842602"/>
                <a:gd name="T8" fmla="*/ 899753 w 899753"/>
                <a:gd name="T9" fmla="*/ 449262 h 842602"/>
                <a:gd name="T10" fmla="*/ 784594 w 899753"/>
                <a:gd name="T11" fmla="*/ 728301 h 842602"/>
                <a:gd name="T12" fmla="*/ 506990 w 899753"/>
                <a:gd name="T13" fmla="*/ 61123 h 842602"/>
                <a:gd name="T14" fmla="*/ 506990 w 899753"/>
                <a:gd name="T15" fmla="*/ 336892 h 842602"/>
                <a:gd name="T16" fmla="*/ 783372 w 899753"/>
                <a:gd name="T17" fmla="*/ 336892 h 842602"/>
                <a:gd name="T18" fmla="*/ 506990 w 899753"/>
                <a:gd name="T19" fmla="*/ 61123 h 842602"/>
                <a:gd name="T20" fmla="*/ 394203 w 899753"/>
                <a:gd name="T21" fmla="*/ 55562 h 842602"/>
                <a:gd name="T22" fmla="*/ 394203 w 899753"/>
                <a:gd name="T23" fmla="*/ 449082 h 842602"/>
                <a:gd name="T24" fmla="*/ 672740 w 899753"/>
                <a:gd name="T25" fmla="*/ 727390 h 842602"/>
                <a:gd name="T26" fmla="*/ 394203 w 899753"/>
                <a:gd name="T27" fmla="*/ 842602 h 842602"/>
                <a:gd name="T28" fmla="*/ 0 w 899753"/>
                <a:gd name="T29" fmla="*/ 449082 h 842602"/>
                <a:gd name="T30" fmla="*/ 394203 w 899753"/>
                <a:gd name="T31" fmla="*/ 55562 h 842602"/>
                <a:gd name="T32" fmla="*/ 450850 w 899753"/>
                <a:gd name="T33" fmla="*/ 0 h 842602"/>
                <a:gd name="T34" fmla="*/ 844190 w 899753"/>
                <a:gd name="T35" fmla="*/ 393341 h 842602"/>
                <a:gd name="T36" fmla="*/ 450850 w 899753"/>
                <a:gd name="T37" fmla="*/ 393341 h 8426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99753" h="842602">
                  <a:moveTo>
                    <a:pt x="642085" y="505575"/>
                  </a:moveTo>
                  <a:lnTo>
                    <a:pt x="781355" y="645275"/>
                  </a:lnTo>
                  <a:cubicBezTo>
                    <a:pt x="810865" y="603763"/>
                    <a:pt x="830658" y="556113"/>
                    <a:pt x="838935" y="505575"/>
                  </a:cubicBezTo>
                  <a:lnTo>
                    <a:pt x="642085" y="505575"/>
                  </a:lnTo>
                  <a:close/>
                  <a:moveTo>
                    <a:pt x="506413" y="449262"/>
                  </a:moveTo>
                  <a:lnTo>
                    <a:pt x="899753" y="449262"/>
                  </a:lnTo>
                  <a:cubicBezTo>
                    <a:pt x="899753" y="558279"/>
                    <a:pt x="855849" y="656827"/>
                    <a:pt x="784594" y="728301"/>
                  </a:cubicBezTo>
                  <a:lnTo>
                    <a:pt x="506413" y="449262"/>
                  </a:lnTo>
                  <a:close/>
                  <a:moveTo>
                    <a:pt x="506990" y="61123"/>
                  </a:moveTo>
                  <a:lnTo>
                    <a:pt x="506990" y="336892"/>
                  </a:lnTo>
                  <a:lnTo>
                    <a:pt x="783372" y="336892"/>
                  </a:lnTo>
                  <a:cubicBezTo>
                    <a:pt x="759620" y="195951"/>
                    <a:pt x="648060" y="84493"/>
                    <a:pt x="506990" y="61123"/>
                  </a:cubicBezTo>
                  <a:close/>
                  <a:moveTo>
                    <a:pt x="394203" y="55562"/>
                  </a:moveTo>
                  <a:lnTo>
                    <a:pt x="394203" y="449082"/>
                  </a:lnTo>
                  <a:lnTo>
                    <a:pt x="672740" y="727390"/>
                  </a:lnTo>
                  <a:cubicBezTo>
                    <a:pt x="601394" y="798678"/>
                    <a:pt x="502663" y="842602"/>
                    <a:pt x="394203" y="842602"/>
                  </a:cubicBezTo>
                  <a:cubicBezTo>
                    <a:pt x="176203" y="842602"/>
                    <a:pt x="0" y="666544"/>
                    <a:pt x="0" y="449082"/>
                  </a:cubicBezTo>
                  <a:cubicBezTo>
                    <a:pt x="0" y="231620"/>
                    <a:pt x="176203" y="55562"/>
                    <a:pt x="394203" y="55562"/>
                  </a:cubicBezTo>
                  <a:close/>
                  <a:moveTo>
                    <a:pt x="450850" y="0"/>
                  </a:moveTo>
                  <a:cubicBezTo>
                    <a:pt x="668213" y="0"/>
                    <a:pt x="844190" y="176176"/>
                    <a:pt x="844190" y="393341"/>
                  </a:cubicBezTo>
                  <a:lnTo>
                    <a:pt x="450850" y="393341"/>
                  </a:lnTo>
                  <a:lnTo>
                    <a:pt x="450850" y="0"/>
                  </a:lnTo>
                  <a:close/>
                </a:path>
              </a:pathLst>
            </a:custGeom>
            <a:solidFill>
              <a:schemeClr val="bg1"/>
            </a:solidFill>
            <a:ln>
              <a:noFill/>
            </a:ln>
            <a:effectLst/>
          </p:spPr>
          <p:txBody>
            <a:bodyPr anchor="ctr"/>
            <a:lstStyle/>
            <a:p>
              <a:endParaRPr lang="en-US" sz="567" dirty="0">
                <a:latin typeface="+mj-lt"/>
              </a:endParaRPr>
            </a:p>
          </p:txBody>
        </p:sp>
        <p:sp>
          <p:nvSpPr>
            <p:cNvPr id="24" name="Freeform 85">
              <a:extLst>
                <a:ext uri="{FF2B5EF4-FFF2-40B4-BE49-F238E27FC236}">
                  <a16:creationId xmlns:a16="http://schemas.microsoft.com/office/drawing/2014/main" xmlns="" id="{3053E684-6E0D-45A0-9C61-C9628CBF964C}"/>
                </a:ext>
              </a:extLst>
            </p:cNvPr>
            <p:cNvSpPr>
              <a:spLocks noChangeArrowheads="1"/>
            </p:cNvSpPr>
            <p:nvPr/>
          </p:nvSpPr>
          <p:spPr bwMode="auto">
            <a:xfrm>
              <a:off x="8550468" y="3463023"/>
              <a:ext cx="292208" cy="292209"/>
            </a:xfrm>
            <a:custGeom>
              <a:avLst/>
              <a:gdLst>
                <a:gd name="T0" fmla="*/ 422275 w 899752"/>
                <a:gd name="T1" fmla="*/ 280988 h 899754"/>
                <a:gd name="T2" fmla="*/ 534627 w 899752"/>
                <a:gd name="T3" fmla="*/ 365919 h 899754"/>
                <a:gd name="T4" fmla="*/ 422275 w 899752"/>
                <a:gd name="T5" fmla="*/ 450489 h 899754"/>
                <a:gd name="T6" fmla="*/ 57150 w 899752"/>
                <a:gd name="T7" fmla="*/ 225425 h 899754"/>
                <a:gd name="T8" fmla="*/ 113290 w 899752"/>
                <a:gd name="T9" fmla="*/ 225425 h 899754"/>
                <a:gd name="T10" fmla="*/ 113290 w 899752"/>
                <a:gd name="T11" fmla="*/ 562409 h 899754"/>
                <a:gd name="T12" fmla="*/ 422420 w 899752"/>
                <a:gd name="T13" fmla="*/ 562409 h 899754"/>
                <a:gd name="T14" fmla="*/ 478560 w 899752"/>
                <a:gd name="T15" fmla="*/ 562409 h 899754"/>
                <a:gd name="T16" fmla="*/ 787690 w 899752"/>
                <a:gd name="T17" fmla="*/ 562409 h 899754"/>
                <a:gd name="T18" fmla="*/ 787690 w 899752"/>
                <a:gd name="T19" fmla="*/ 225425 h 899754"/>
                <a:gd name="T20" fmla="*/ 844190 w 899752"/>
                <a:gd name="T21" fmla="*/ 225425 h 899754"/>
                <a:gd name="T22" fmla="*/ 844190 w 899752"/>
                <a:gd name="T23" fmla="*/ 618873 h 899754"/>
                <a:gd name="T24" fmla="*/ 478560 w 899752"/>
                <a:gd name="T25" fmla="*/ 618873 h 899754"/>
                <a:gd name="T26" fmla="*/ 478560 w 899752"/>
                <a:gd name="T27" fmla="*/ 803729 h 899754"/>
                <a:gd name="T28" fmla="*/ 490436 w 899752"/>
                <a:gd name="T29" fmla="*/ 815597 h 899754"/>
                <a:gd name="T30" fmla="*/ 518146 w 899752"/>
                <a:gd name="T31" fmla="*/ 843649 h 899754"/>
                <a:gd name="T32" fmla="*/ 590840 w 899752"/>
                <a:gd name="T33" fmla="*/ 843649 h 899754"/>
                <a:gd name="T34" fmla="*/ 590840 w 899752"/>
                <a:gd name="T35" fmla="*/ 899754 h 899754"/>
                <a:gd name="T36" fmla="*/ 495114 w 899752"/>
                <a:gd name="T37" fmla="*/ 899754 h 899754"/>
                <a:gd name="T38" fmla="*/ 450490 w 899752"/>
                <a:gd name="T39" fmla="*/ 855158 h 899754"/>
                <a:gd name="T40" fmla="*/ 405866 w 899752"/>
                <a:gd name="T41" fmla="*/ 899754 h 899754"/>
                <a:gd name="T42" fmla="*/ 309780 w 899752"/>
                <a:gd name="T43" fmla="*/ 899754 h 899754"/>
                <a:gd name="T44" fmla="*/ 309780 w 899752"/>
                <a:gd name="T45" fmla="*/ 843649 h 899754"/>
                <a:gd name="T46" fmla="*/ 382475 w 899752"/>
                <a:gd name="T47" fmla="*/ 843649 h 899754"/>
                <a:gd name="T48" fmla="*/ 410904 w 899752"/>
                <a:gd name="T49" fmla="*/ 815597 h 899754"/>
                <a:gd name="T50" fmla="*/ 422420 w 899752"/>
                <a:gd name="T51" fmla="*/ 803729 h 899754"/>
                <a:gd name="T52" fmla="*/ 422420 w 899752"/>
                <a:gd name="T53" fmla="*/ 618873 h 899754"/>
                <a:gd name="T54" fmla="*/ 57150 w 899752"/>
                <a:gd name="T55" fmla="*/ 618873 h 899754"/>
                <a:gd name="T56" fmla="*/ 421804 w 899752"/>
                <a:gd name="T57" fmla="*/ 0 h 899754"/>
                <a:gd name="T58" fmla="*/ 477949 w 899752"/>
                <a:gd name="T59" fmla="*/ 0 h 899754"/>
                <a:gd name="T60" fmla="*/ 477949 w 899752"/>
                <a:gd name="T61" fmla="*/ 56380 h 899754"/>
                <a:gd name="T62" fmla="*/ 899752 w 899752"/>
                <a:gd name="T63" fmla="*/ 56380 h 899754"/>
                <a:gd name="T64" fmla="*/ 899752 w 899752"/>
                <a:gd name="T65" fmla="*/ 169501 h 899754"/>
                <a:gd name="T66" fmla="*/ 0 w 899752"/>
                <a:gd name="T67" fmla="*/ 169501 h 899754"/>
                <a:gd name="T68" fmla="*/ 0 w 899752"/>
                <a:gd name="T69" fmla="*/ 56380 h 899754"/>
                <a:gd name="T70" fmla="*/ 421804 w 899752"/>
                <a:gd name="T71" fmla="*/ 56380 h 89975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99752" h="899754">
                  <a:moveTo>
                    <a:pt x="422275" y="280988"/>
                  </a:moveTo>
                  <a:lnTo>
                    <a:pt x="534627" y="365919"/>
                  </a:lnTo>
                  <a:lnTo>
                    <a:pt x="422275" y="450489"/>
                  </a:lnTo>
                  <a:lnTo>
                    <a:pt x="422275" y="280988"/>
                  </a:lnTo>
                  <a:close/>
                  <a:moveTo>
                    <a:pt x="57150" y="225425"/>
                  </a:moveTo>
                  <a:lnTo>
                    <a:pt x="113290" y="225425"/>
                  </a:lnTo>
                  <a:lnTo>
                    <a:pt x="113290" y="562409"/>
                  </a:lnTo>
                  <a:lnTo>
                    <a:pt x="422420" y="562409"/>
                  </a:lnTo>
                  <a:lnTo>
                    <a:pt x="478560" y="562409"/>
                  </a:lnTo>
                  <a:lnTo>
                    <a:pt x="787690" y="562409"/>
                  </a:lnTo>
                  <a:lnTo>
                    <a:pt x="787690" y="225425"/>
                  </a:lnTo>
                  <a:lnTo>
                    <a:pt x="844190" y="225425"/>
                  </a:lnTo>
                  <a:lnTo>
                    <a:pt x="844190" y="618873"/>
                  </a:lnTo>
                  <a:lnTo>
                    <a:pt x="478560" y="618873"/>
                  </a:lnTo>
                  <a:lnTo>
                    <a:pt x="478560" y="803729"/>
                  </a:lnTo>
                  <a:lnTo>
                    <a:pt x="490436" y="815597"/>
                  </a:lnTo>
                  <a:lnTo>
                    <a:pt x="518146" y="843649"/>
                  </a:lnTo>
                  <a:lnTo>
                    <a:pt x="590840" y="843649"/>
                  </a:lnTo>
                  <a:lnTo>
                    <a:pt x="590840" y="899754"/>
                  </a:lnTo>
                  <a:lnTo>
                    <a:pt x="495114" y="899754"/>
                  </a:lnTo>
                  <a:lnTo>
                    <a:pt x="450490" y="855158"/>
                  </a:lnTo>
                  <a:lnTo>
                    <a:pt x="405866" y="899754"/>
                  </a:lnTo>
                  <a:lnTo>
                    <a:pt x="309780" y="899754"/>
                  </a:lnTo>
                  <a:lnTo>
                    <a:pt x="309780" y="843649"/>
                  </a:lnTo>
                  <a:lnTo>
                    <a:pt x="382475" y="843649"/>
                  </a:lnTo>
                  <a:lnTo>
                    <a:pt x="410904" y="815597"/>
                  </a:lnTo>
                  <a:lnTo>
                    <a:pt x="422420" y="803729"/>
                  </a:lnTo>
                  <a:lnTo>
                    <a:pt x="422420" y="618873"/>
                  </a:lnTo>
                  <a:lnTo>
                    <a:pt x="57150" y="618873"/>
                  </a:lnTo>
                  <a:lnTo>
                    <a:pt x="57150" y="225425"/>
                  </a:lnTo>
                  <a:close/>
                  <a:moveTo>
                    <a:pt x="421804" y="0"/>
                  </a:moveTo>
                  <a:lnTo>
                    <a:pt x="477949" y="0"/>
                  </a:lnTo>
                  <a:lnTo>
                    <a:pt x="477949" y="56380"/>
                  </a:lnTo>
                  <a:lnTo>
                    <a:pt x="899752" y="56380"/>
                  </a:lnTo>
                  <a:lnTo>
                    <a:pt x="899752" y="169501"/>
                  </a:lnTo>
                  <a:lnTo>
                    <a:pt x="0" y="169501"/>
                  </a:lnTo>
                  <a:lnTo>
                    <a:pt x="0" y="56380"/>
                  </a:lnTo>
                  <a:lnTo>
                    <a:pt x="421804" y="56380"/>
                  </a:lnTo>
                  <a:lnTo>
                    <a:pt x="421804" y="0"/>
                  </a:lnTo>
                  <a:close/>
                </a:path>
              </a:pathLst>
            </a:custGeom>
            <a:solidFill>
              <a:schemeClr val="bg1"/>
            </a:solidFill>
            <a:ln>
              <a:noFill/>
            </a:ln>
            <a:effectLst/>
          </p:spPr>
          <p:txBody>
            <a:bodyPr anchor="ctr"/>
            <a:lstStyle/>
            <a:p>
              <a:endParaRPr lang="en-US" sz="567" dirty="0">
                <a:latin typeface="+mj-lt"/>
              </a:endParaRPr>
            </a:p>
          </p:txBody>
        </p:sp>
        <p:sp>
          <p:nvSpPr>
            <p:cNvPr id="25" name="TextBox 52">
              <a:extLst>
                <a:ext uri="{FF2B5EF4-FFF2-40B4-BE49-F238E27FC236}">
                  <a16:creationId xmlns:a16="http://schemas.microsoft.com/office/drawing/2014/main" xmlns="" id="{2B63EF41-C744-40AC-9070-4071716CB85A}"/>
                </a:ext>
              </a:extLst>
            </p:cNvPr>
            <p:cNvSpPr txBox="1"/>
            <p:nvPr/>
          </p:nvSpPr>
          <p:spPr>
            <a:xfrm>
              <a:off x="8248492" y="3869920"/>
              <a:ext cx="896161" cy="971990"/>
            </a:xfrm>
            <a:prstGeom prst="rect">
              <a:avLst/>
            </a:prstGeom>
            <a:noFill/>
          </p:spPr>
          <p:txBody>
            <a:bodyPr wrap="none" rtlCol="0" anchor="t">
              <a:spAutoFit/>
            </a:bodyPr>
            <a:lstStyle/>
            <a:p>
              <a:pPr algn="ctr"/>
              <a:r>
                <a:rPr lang="en-US" sz="1400" b="1" dirty="0">
                  <a:solidFill>
                    <a:schemeClr val="bg1"/>
                  </a:solidFill>
                  <a:latin typeface="+mj-lt"/>
                  <a:cs typeface="Poppins" pitchFamily="2" charset="77"/>
                </a:rPr>
                <a:t>Presentación</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 de los</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 efecto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de la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medidas</a:t>
              </a:r>
            </a:p>
          </p:txBody>
        </p:sp>
        <p:sp>
          <p:nvSpPr>
            <p:cNvPr id="26" name="TextBox 56">
              <a:extLst>
                <a:ext uri="{FF2B5EF4-FFF2-40B4-BE49-F238E27FC236}">
                  <a16:creationId xmlns:a16="http://schemas.microsoft.com/office/drawing/2014/main" xmlns="" id="{C35268F3-A728-411A-B2B9-9925690FCD38}"/>
                </a:ext>
              </a:extLst>
            </p:cNvPr>
            <p:cNvSpPr txBox="1"/>
            <p:nvPr/>
          </p:nvSpPr>
          <p:spPr>
            <a:xfrm>
              <a:off x="5853432" y="4478848"/>
              <a:ext cx="791074" cy="613889"/>
            </a:xfrm>
            <a:prstGeom prst="rect">
              <a:avLst/>
            </a:prstGeom>
            <a:noFill/>
          </p:spPr>
          <p:txBody>
            <a:bodyPr wrap="none" rtlCol="0" anchor="t">
              <a:spAutoFit/>
            </a:bodyPr>
            <a:lstStyle/>
            <a:p>
              <a:pPr algn="ctr"/>
              <a:r>
                <a:rPr lang="en-US" sz="1400" b="1" dirty="0">
                  <a:solidFill>
                    <a:schemeClr val="bg1"/>
                  </a:solidFill>
                  <a:latin typeface="+mj-lt"/>
                  <a:cs typeface="Poppins" pitchFamily="2" charset="77"/>
                </a:rPr>
                <a:t>Cifras clave</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y</a:t>
              </a:r>
              <a:br>
                <a:rPr lang="en-US" sz="1400" b="1" dirty="0">
                  <a:solidFill>
                    <a:schemeClr val="bg1"/>
                  </a:solidFill>
                  <a:latin typeface="+mj-lt"/>
                  <a:cs typeface="Poppins" pitchFamily="2" charset="77"/>
                </a:rPr>
              </a:br>
              <a:r>
                <a:rPr lang="en-US" sz="1400" b="1" dirty="0" err="1">
                  <a:solidFill>
                    <a:schemeClr val="bg1"/>
                  </a:solidFill>
                  <a:latin typeface="+mj-lt"/>
                  <a:cs typeface="Poppins" pitchFamily="2" charset="77"/>
                </a:rPr>
                <a:t>indicadores</a:t>
              </a:r>
              <a:endParaRPr lang="en-US" sz="1400" b="1" dirty="0">
                <a:solidFill>
                  <a:schemeClr val="bg1"/>
                </a:solidFill>
                <a:latin typeface="+mj-lt"/>
                <a:cs typeface="Poppins" pitchFamily="2" charset="77"/>
              </a:endParaRPr>
            </a:p>
          </p:txBody>
        </p:sp>
        <p:sp>
          <p:nvSpPr>
            <p:cNvPr id="27" name="Freeform 89">
              <a:extLst>
                <a:ext uri="{FF2B5EF4-FFF2-40B4-BE49-F238E27FC236}">
                  <a16:creationId xmlns:a16="http://schemas.microsoft.com/office/drawing/2014/main" xmlns="" id="{63CF15F4-E96F-4DEC-B6F8-6B270256BC65}"/>
                </a:ext>
              </a:extLst>
            </p:cNvPr>
            <p:cNvSpPr>
              <a:spLocks noChangeArrowheads="1"/>
            </p:cNvSpPr>
            <p:nvPr/>
          </p:nvSpPr>
          <p:spPr bwMode="auto">
            <a:xfrm>
              <a:off x="6086214" y="4113511"/>
              <a:ext cx="325508" cy="243558"/>
            </a:xfrm>
            <a:custGeom>
              <a:avLst/>
              <a:gdLst>
                <a:gd name="T0" fmla="*/ 573956 w 901340"/>
                <a:gd name="T1" fmla="*/ 561975 h 674329"/>
                <a:gd name="T2" fmla="*/ 901340 w 901340"/>
                <a:gd name="T3" fmla="*/ 561975 h 674329"/>
                <a:gd name="T4" fmla="*/ 901340 w 901340"/>
                <a:gd name="T5" fmla="*/ 674329 h 674329"/>
                <a:gd name="T6" fmla="*/ 468313 w 901340"/>
                <a:gd name="T7" fmla="*/ 674329 h 674329"/>
                <a:gd name="T8" fmla="*/ 573956 w 901340"/>
                <a:gd name="T9" fmla="*/ 561975 h 674329"/>
                <a:gd name="T10" fmla="*/ 616811 w 901340"/>
                <a:gd name="T11" fmla="*/ 420688 h 674329"/>
                <a:gd name="T12" fmla="*/ 842604 w 901340"/>
                <a:gd name="T13" fmla="*/ 420688 h 674329"/>
                <a:gd name="T14" fmla="*/ 842604 w 901340"/>
                <a:gd name="T15" fmla="*/ 533040 h 674329"/>
                <a:gd name="T16" fmla="*/ 587375 w 901340"/>
                <a:gd name="T17" fmla="*/ 533040 h 674329"/>
                <a:gd name="T18" fmla="*/ 616811 w 901340"/>
                <a:gd name="T19" fmla="*/ 420688 h 674329"/>
                <a:gd name="T20" fmla="*/ 600075 w 901340"/>
                <a:gd name="T21" fmla="*/ 280988 h 674329"/>
                <a:gd name="T22" fmla="*/ 901339 w 901340"/>
                <a:gd name="T23" fmla="*/ 280988 h 674329"/>
                <a:gd name="T24" fmla="*/ 901339 w 901340"/>
                <a:gd name="T25" fmla="*/ 393341 h 674329"/>
                <a:gd name="T26" fmla="*/ 619919 w 901340"/>
                <a:gd name="T27" fmla="*/ 393341 h 674329"/>
                <a:gd name="T28" fmla="*/ 600075 w 901340"/>
                <a:gd name="T29" fmla="*/ 280988 h 674329"/>
                <a:gd name="T30" fmla="*/ 196799 w 901340"/>
                <a:gd name="T31" fmla="*/ 280982 h 674329"/>
                <a:gd name="T32" fmla="*/ 196799 w 901340"/>
                <a:gd name="T33" fmla="*/ 337072 h 674329"/>
                <a:gd name="T34" fmla="*/ 252925 w 901340"/>
                <a:gd name="T35" fmla="*/ 337072 h 674329"/>
                <a:gd name="T36" fmla="*/ 252925 w 901340"/>
                <a:gd name="T37" fmla="*/ 449611 h 674329"/>
                <a:gd name="T38" fmla="*/ 196799 w 901340"/>
                <a:gd name="T39" fmla="*/ 449611 h 674329"/>
                <a:gd name="T40" fmla="*/ 196799 w 901340"/>
                <a:gd name="T41" fmla="*/ 505700 h 674329"/>
                <a:gd name="T42" fmla="*/ 365176 w 901340"/>
                <a:gd name="T43" fmla="*/ 505700 h 674329"/>
                <a:gd name="T44" fmla="*/ 365176 w 901340"/>
                <a:gd name="T45" fmla="*/ 449611 h 674329"/>
                <a:gd name="T46" fmla="*/ 309051 w 901340"/>
                <a:gd name="T47" fmla="*/ 449611 h 674329"/>
                <a:gd name="T48" fmla="*/ 309051 w 901340"/>
                <a:gd name="T49" fmla="*/ 280982 h 674329"/>
                <a:gd name="T50" fmla="*/ 503238 w 901340"/>
                <a:gd name="T51" fmla="*/ 139700 h 674329"/>
                <a:gd name="T52" fmla="*/ 787040 w 901340"/>
                <a:gd name="T53" fmla="*/ 139700 h 674329"/>
                <a:gd name="T54" fmla="*/ 787040 w 901340"/>
                <a:gd name="T55" fmla="*/ 252053 h 674329"/>
                <a:gd name="T56" fmla="*/ 587154 w 901340"/>
                <a:gd name="T57" fmla="*/ 252053 h 674329"/>
                <a:gd name="T58" fmla="*/ 503238 w 901340"/>
                <a:gd name="T59" fmla="*/ 139700 h 674329"/>
                <a:gd name="T60" fmla="*/ 280988 w 901340"/>
                <a:gd name="T61" fmla="*/ 112713 h 674329"/>
                <a:gd name="T62" fmla="*/ 561615 w 901340"/>
                <a:gd name="T63" fmla="*/ 393521 h 674329"/>
                <a:gd name="T64" fmla="*/ 280988 w 901340"/>
                <a:gd name="T65" fmla="*/ 674329 h 674329"/>
                <a:gd name="T66" fmla="*/ 0 w 901340"/>
                <a:gd name="T67" fmla="*/ 393521 h 674329"/>
                <a:gd name="T68" fmla="*/ 280988 w 901340"/>
                <a:gd name="T69" fmla="*/ 112713 h 674329"/>
                <a:gd name="T70" fmla="*/ 282575 w 901340"/>
                <a:gd name="T71" fmla="*/ 0 h 674329"/>
                <a:gd name="T72" fmla="*/ 844190 w 901340"/>
                <a:gd name="T73" fmla="*/ 0 h 674329"/>
                <a:gd name="T74" fmla="*/ 844190 w 901340"/>
                <a:gd name="T75" fmla="*/ 112353 h 674329"/>
                <a:gd name="T76" fmla="*/ 468221 w 901340"/>
                <a:gd name="T77" fmla="*/ 112353 h 674329"/>
                <a:gd name="T78" fmla="*/ 282575 w 901340"/>
                <a:gd name="T79" fmla="*/ 55816 h 6743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01340" h="674329">
                  <a:moveTo>
                    <a:pt x="573956" y="561975"/>
                  </a:moveTo>
                  <a:lnTo>
                    <a:pt x="901340" y="561975"/>
                  </a:lnTo>
                  <a:lnTo>
                    <a:pt x="901340" y="674329"/>
                  </a:lnTo>
                  <a:lnTo>
                    <a:pt x="468313" y="674329"/>
                  </a:lnTo>
                  <a:cubicBezTo>
                    <a:pt x="511940" y="645613"/>
                    <a:pt x="547996" y="607204"/>
                    <a:pt x="573956" y="561975"/>
                  </a:cubicBezTo>
                  <a:close/>
                  <a:moveTo>
                    <a:pt x="616811" y="420688"/>
                  </a:moveTo>
                  <a:lnTo>
                    <a:pt x="842604" y="420688"/>
                  </a:lnTo>
                  <a:lnTo>
                    <a:pt x="842604" y="533040"/>
                  </a:lnTo>
                  <a:lnTo>
                    <a:pt x="587375" y="533040"/>
                  </a:lnTo>
                  <a:cubicBezTo>
                    <a:pt x="603529" y="498470"/>
                    <a:pt x="613580" y="460660"/>
                    <a:pt x="616811" y="420688"/>
                  </a:cubicBezTo>
                  <a:close/>
                  <a:moveTo>
                    <a:pt x="600075" y="280988"/>
                  </a:moveTo>
                  <a:lnTo>
                    <a:pt x="901339" y="280988"/>
                  </a:lnTo>
                  <a:lnTo>
                    <a:pt x="901339" y="393341"/>
                  </a:lnTo>
                  <a:lnTo>
                    <a:pt x="619919" y="393341"/>
                  </a:lnTo>
                  <a:cubicBezTo>
                    <a:pt x="619919" y="353856"/>
                    <a:pt x="612703" y="316166"/>
                    <a:pt x="600075" y="280988"/>
                  </a:cubicBezTo>
                  <a:close/>
                  <a:moveTo>
                    <a:pt x="196799" y="280982"/>
                  </a:moveTo>
                  <a:lnTo>
                    <a:pt x="196799" y="337072"/>
                  </a:lnTo>
                  <a:lnTo>
                    <a:pt x="252925" y="337072"/>
                  </a:lnTo>
                  <a:lnTo>
                    <a:pt x="252925" y="449611"/>
                  </a:lnTo>
                  <a:lnTo>
                    <a:pt x="196799" y="449611"/>
                  </a:lnTo>
                  <a:lnTo>
                    <a:pt x="196799" y="505700"/>
                  </a:lnTo>
                  <a:lnTo>
                    <a:pt x="365176" y="505700"/>
                  </a:lnTo>
                  <a:lnTo>
                    <a:pt x="365176" y="449611"/>
                  </a:lnTo>
                  <a:lnTo>
                    <a:pt x="309051" y="449611"/>
                  </a:lnTo>
                  <a:lnTo>
                    <a:pt x="309051" y="280982"/>
                  </a:lnTo>
                  <a:lnTo>
                    <a:pt x="196799" y="280982"/>
                  </a:lnTo>
                  <a:close/>
                  <a:moveTo>
                    <a:pt x="503238" y="139700"/>
                  </a:moveTo>
                  <a:lnTo>
                    <a:pt x="787040" y="139700"/>
                  </a:lnTo>
                  <a:lnTo>
                    <a:pt x="787040" y="252053"/>
                  </a:lnTo>
                  <a:lnTo>
                    <a:pt x="587154" y="252053"/>
                  </a:lnTo>
                  <a:cubicBezTo>
                    <a:pt x="567346" y="208840"/>
                    <a:pt x="538894" y="170669"/>
                    <a:pt x="503238" y="139700"/>
                  </a:cubicBezTo>
                  <a:close/>
                  <a:moveTo>
                    <a:pt x="280988" y="112713"/>
                  </a:moveTo>
                  <a:cubicBezTo>
                    <a:pt x="436053" y="112713"/>
                    <a:pt x="561615" y="238555"/>
                    <a:pt x="561615" y="393521"/>
                  </a:cubicBezTo>
                  <a:cubicBezTo>
                    <a:pt x="561615" y="548487"/>
                    <a:pt x="436053" y="674329"/>
                    <a:pt x="280988" y="674329"/>
                  </a:cubicBezTo>
                  <a:cubicBezTo>
                    <a:pt x="125923" y="674329"/>
                    <a:pt x="0" y="548487"/>
                    <a:pt x="0" y="393521"/>
                  </a:cubicBezTo>
                  <a:cubicBezTo>
                    <a:pt x="0" y="238555"/>
                    <a:pt x="125923" y="112713"/>
                    <a:pt x="280988" y="112713"/>
                  </a:cubicBezTo>
                  <a:close/>
                  <a:moveTo>
                    <a:pt x="282575" y="0"/>
                  </a:moveTo>
                  <a:lnTo>
                    <a:pt x="844190" y="0"/>
                  </a:lnTo>
                  <a:lnTo>
                    <a:pt x="844190" y="112353"/>
                  </a:lnTo>
                  <a:lnTo>
                    <a:pt x="468221" y="112353"/>
                  </a:lnTo>
                  <a:cubicBezTo>
                    <a:pt x="415694" y="76702"/>
                    <a:pt x="351293" y="55816"/>
                    <a:pt x="282575" y="55816"/>
                  </a:cubicBezTo>
                  <a:lnTo>
                    <a:pt x="282575" y="0"/>
                  </a:lnTo>
                  <a:close/>
                </a:path>
              </a:pathLst>
            </a:custGeom>
            <a:solidFill>
              <a:schemeClr val="bg1"/>
            </a:solidFill>
            <a:ln>
              <a:noFill/>
            </a:ln>
            <a:effectLst/>
          </p:spPr>
          <p:txBody>
            <a:bodyPr anchor="ctr"/>
            <a:lstStyle/>
            <a:p>
              <a:endParaRPr lang="en-US" sz="567" dirty="0">
                <a:latin typeface="+mj-lt"/>
              </a:endParaRPr>
            </a:p>
          </p:txBody>
        </p:sp>
      </p:grpSp>
      <p:sp>
        <p:nvSpPr>
          <p:cNvPr id="28" name="TextBox 58">
            <a:extLst>
              <a:ext uri="{FF2B5EF4-FFF2-40B4-BE49-F238E27FC236}">
                <a16:creationId xmlns:a16="http://schemas.microsoft.com/office/drawing/2014/main" xmlns="" id="{1874CCDC-64E5-4C2F-B847-E5475F5C7605}"/>
              </a:ext>
            </a:extLst>
          </p:cNvPr>
          <p:cNvSpPr txBox="1"/>
          <p:nvPr/>
        </p:nvSpPr>
        <p:spPr>
          <a:xfrm>
            <a:off x="9664245" y="1783737"/>
            <a:ext cx="2569858" cy="4524315"/>
          </a:xfrm>
          <a:prstGeom prst="rect">
            <a:avLst/>
          </a:prstGeom>
          <a:noFill/>
        </p:spPr>
        <p:txBody>
          <a:bodyPr wrap="square" rtlCol="0" anchor="t">
            <a:spAutoFit/>
          </a:bodyPr>
          <a:lstStyle/>
          <a:p>
            <a:r>
              <a:rPr lang="en-US" dirty="0">
                <a:solidFill>
                  <a:srgbClr val="245473"/>
                </a:solidFill>
                <a:latin typeface="+mj-lt"/>
                <a:ea typeface="Lato Light" panose="020F0502020204030203" pitchFamily="34" charset="0"/>
                <a:cs typeface="Lato Light" panose="020F0502020204030203" pitchFamily="34" charset="0"/>
              </a:rPr>
              <a:t>Al menos para el año en curso y para el siguiente, la planificación debe representarse mensualmente. En la planificación integrada de la reestructuración se hace especial hincapié en las cuestiones críticas...</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Evolución de los precios de las materias primas</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Crecimiento de los mercados extranjeros, desarrollo de la competencia</a:t>
            </a:r>
          </a:p>
          <a:p>
            <a:pPr marL="171450" indent="-171450">
              <a:buFont typeface="Arial" panose="020B0604020202020204" pitchFamily="34" charset="0"/>
              <a:buChar char="•"/>
            </a:pPr>
            <a:r>
              <a:rPr lang="en-US" dirty="0">
                <a:solidFill>
                  <a:srgbClr val="245473"/>
                </a:solidFill>
                <a:latin typeface="+mj-lt"/>
                <a:ea typeface="Lato Light" panose="020F0502020204030203" pitchFamily="34" charset="0"/>
                <a:cs typeface="Lato Light" panose="020F0502020204030203" pitchFamily="34" charset="0"/>
              </a:rPr>
              <a:t>Continuación de importantes contratos con clientes, etc.</a:t>
            </a:r>
          </a:p>
        </p:txBody>
      </p:sp>
    </p:spTree>
    <p:extLst>
      <p:ext uri="{BB962C8B-B14F-4D97-AF65-F5344CB8AC3E}">
        <p14:creationId xmlns:p14="http://schemas.microsoft.com/office/powerpoint/2010/main" val="38392539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94411" y="2723027"/>
            <a:ext cx="9759932" cy="1582271"/>
          </a:xfrm>
        </p:spPr>
        <p:txBody>
          <a:bodyPr/>
          <a:lstStyle/>
          <a:p>
            <a:r>
              <a:rPr lang="en-GB" dirty="0"/>
              <a:t>Opciones estratégicas en las fases de crisis </a:t>
            </a:r>
          </a:p>
        </p:txBody>
      </p:sp>
    </p:spTree>
    <p:extLst>
      <p:ext uri="{BB962C8B-B14F-4D97-AF65-F5344CB8AC3E}">
        <p14:creationId xmlns:p14="http://schemas.microsoft.com/office/powerpoint/2010/main" val="20856501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34210" y="447954"/>
            <a:ext cx="9224933" cy="895913"/>
          </a:xfrm>
        </p:spPr>
        <p:txBody>
          <a:bodyPr>
            <a:noAutofit/>
          </a:bodyPr>
          <a:lstStyle/>
          <a:p>
            <a:r>
              <a:rPr lang="en-GB" sz="2800" dirty="0"/>
              <a:t>Contenido de los conceptos de reestructuración: Planificación empresarial integrad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0372" y="2016798"/>
            <a:ext cx="2433554"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La planificación integrada debe completarse, en particular, con los ratios que apoyan la declaración sobre la capacidad de reestructuración, por ejemplo, los ratios de liquidez, los beneficios, el análisis de los activos</a:t>
            </a:r>
          </a:p>
        </p:txBody>
      </p:sp>
      <p:grpSp>
        <p:nvGrpSpPr>
          <p:cNvPr id="3" name="Gruppieren 2">
            <a:extLst>
              <a:ext uri="{FF2B5EF4-FFF2-40B4-BE49-F238E27FC236}">
                <a16:creationId xmlns:a16="http://schemas.microsoft.com/office/drawing/2014/main" xmlns="" id="{90702F68-82C1-42CC-9582-7CD198FA5AC1}"/>
              </a:ext>
            </a:extLst>
          </p:cNvPr>
          <p:cNvGrpSpPr>
            <a:grpSpLocks noChangeAspect="1"/>
          </p:cNvGrpSpPr>
          <p:nvPr/>
        </p:nvGrpSpPr>
        <p:grpSpPr>
          <a:xfrm>
            <a:off x="5470813" y="2056849"/>
            <a:ext cx="4106971" cy="4106973"/>
            <a:chOff x="5766160" y="2497407"/>
            <a:chExt cx="3413220" cy="3413222"/>
          </a:xfrm>
        </p:grpSpPr>
        <p:sp>
          <p:nvSpPr>
            <p:cNvPr id="15" name="Freeform 38">
              <a:extLst>
                <a:ext uri="{FF2B5EF4-FFF2-40B4-BE49-F238E27FC236}">
                  <a16:creationId xmlns:a16="http://schemas.microsoft.com/office/drawing/2014/main" xmlns="" id="{8EDE0225-25D9-4A5D-937B-C1B3B531F6B2}"/>
                </a:ext>
              </a:extLst>
            </p:cNvPr>
            <p:cNvSpPr/>
            <p:nvPr/>
          </p:nvSpPr>
          <p:spPr>
            <a:xfrm>
              <a:off x="5766160" y="2497407"/>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6" name="Freeform 39">
              <a:extLst>
                <a:ext uri="{FF2B5EF4-FFF2-40B4-BE49-F238E27FC236}">
                  <a16:creationId xmlns:a16="http://schemas.microsoft.com/office/drawing/2014/main" xmlns="" id="{16AE0FC8-7583-4919-A369-3E1B34DC5C04}"/>
                </a:ext>
              </a:extLst>
            </p:cNvPr>
            <p:cNvSpPr/>
            <p:nvPr/>
          </p:nvSpPr>
          <p:spPr>
            <a:xfrm rot="5400000">
              <a:off x="7472770" y="3238401"/>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7" name="Freeform 40">
              <a:extLst>
                <a:ext uri="{FF2B5EF4-FFF2-40B4-BE49-F238E27FC236}">
                  <a16:creationId xmlns:a16="http://schemas.microsoft.com/office/drawing/2014/main" xmlns="" id="{7E93E9F9-3FF7-4606-A59B-D8D903F0FDA9}"/>
                </a:ext>
              </a:extLst>
            </p:cNvPr>
            <p:cNvSpPr/>
            <p:nvPr/>
          </p:nvSpPr>
          <p:spPr>
            <a:xfrm rot="10800000">
              <a:off x="6731776" y="4945011"/>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8" name="Freeform 41">
              <a:extLst>
                <a:ext uri="{FF2B5EF4-FFF2-40B4-BE49-F238E27FC236}">
                  <a16:creationId xmlns:a16="http://schemas.microsoft.com/office/drawing/2014/main" xmlns="" id="{AEEBB382-01E1-4868-891D-33C37437EC4E}"/>
                </a:ext>
              </a:extLst>
            </p:cNvPr>
            <p:cNvSpPr/>
            <p:nvPr/>
          </p:nvSpPr>
          <p:spPr>
            <a:xfrm rot="16200000">
              <a:off x="5025166" y="4204019"/>
              <a:ext cx="2447604" cy="965616"/>
            </a:xfrm>
            <a:custGeom>
              <a:avLst/>
              <a:gdLst>
                <a:gd name="connsiteX0" fmla="*/ 2339506 w 5930083"/>
                <a:gd name="connsiteY0" fmla="*/ 0 h 2339506"/>
                <a:gd name="connsiteX1" fmla="*/ 5930083 w 5930083"/>
                <a:gd name="connsiteY1" fmla="*/ 0 h 2339506"/>
                <a:gd name="connsiteX2" fmla="*/ 5930083 w 5930083"/>
                <a:gd name="connsiteY2" fmla="*/ 2339506 h 2339506"/>
                <a:gd name="connsiteX3" fmla="*/ 2339506 w 5930083"/>
                <a:gd name="connsiteY3" fmla="*/ 2339506 h 2339506"/>
                <a:gd name="connsiteX4" fmla="*/ 0 w 5930083"/>
                <a:gd name="connsiteY4" fmla="*/ 2339506 h 2339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083" h="2339506">
                  <a:moveTo>
                    <a:pt x="2339506" y="0"/>
                  </a:moveTo>
                  <a:lnTo>
                    <a:pt x="5930083" y="0"/>
                  </a:lnTo>
                  <a:lnTo>
                    <a:pt x="5930083" y="2339506"/>
                  </a:lnTo>
                  <a:lnTo>
                    <a:pt x="2339506" y="2339506"/>
                  </a:lnTo>
                  <a:lnTo>
                    <a:pt x="0" y="233950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mj-lt"/>
              </a:endParaRPr>
            </a:p>
          </p:txBody>
        </p:sp>
        <p:sp>
          <p:nvSpPr>
            <p:cNvPr id="19" name="TextBox 43">
              <a:extLst>
                <a:ext uri="{FF2B5EF4-FFF2-40B4-BE49-F238E27FC236}">
                  <a16:creationId xmlns:a16="http://schemas.microsoft.com/office/drawing/2014/main" xmlns="" id="{AEC72BF0-11CD-4FCE-862D-B247DF65D7A2}"/>
                </a:ext>
              </a:extLst>
            </p:cNvPr>
            <p:cNvSpPr txBox="1"/>
            <p:nvPr/>
          </p:nvSpPr>
          <p:spPr>
            <a:xfrm>
              <a:off x="6731778" y="3665409"/>
              <a:ext cx="1481987" cy="1077218"/>
            </a:xfrm>
            <a:prstGeom prst="rect">
              <a:avLst/>
            </a:prstGeom>
            <a:noFill/>
          </p:spPr>
          <p:txBody>
            <a:bodyPr wrap="square" rtlCol="0" anchor="ctr">
              <a:spAutoFit/>
            </a:bodyPr>
            <a:lstStyle/>
            <a:p>
              <a:pPr algn="ctr"/>
              <a:r>
                <a:rPr lang="en-US" sz="1600" b="1" dirty="0">
                  <a:solidFill>
                    <a:schemeClr val="tx2"/>
                  </a:solidFill>
                  <a:latin typeface="+mj-lt"/>
                  <a:cs typeface="Poppins" pitchFamily="2" charset="77"/>
                </a:rPr>
                <a:t>Resumen: Planificación empresarial en la crisis</a:t>
              </a:r>
            </a:p>
          </p:txBody>
        </p:sp>
        <p:sp>
          <p:nvSpPr>
            <p:cNvPr id="20" name="TextBox 44">
              <a:extLst>
                <a:ext uri="{FF2B5EF4-FFF2-40B4-BE49-F238E27FC236}">
                  <a16:creationId xmlns:a16="http://schemas.microsoft.com/office/drawing/2014/main" xmlns="" id="{062D07B8-00B6-4F0A-A8A6-5C88DCB3E2A3}"/>
                </a:ext>
              </a:extLst>
            </p:cNvPr>
            <p:cNvSpPr txBox="1"/>
            <p:nvPr/>
          </p:nvSpPr>
          <p:spPr>
            <a:xfrm>
              <a:off x="6303903" y="2889958"/>
              <a:ext cx="1815177" cy="523220"/>
            </a:xfrm>
            <a:prstGeom prst="rect">
              <a:avLst/>
            </a:prstGeom>
            <a:noFill/>
          </p:spPr>
          <p:txBody>
            <a:bodyPr wrap="none" rtlCol="0" anchor="ctr">
              <a:spAutoFit/>
            </a:bodyPr>
            <a:lstStyle/>
            <a:p>
              <a:pPr algn="ctr"/>
              <a:r>
                <a:rPr lang="en-US" sz="1400" b="1" dirty="0">
                  <a:solidFill>
                    <a:schemeClr val="bg1"/>
                  </a:solidFill>
                  <a:latin typeface="+mj-lt"/>
                  <a:cs typeface="Poppins" pitchFamily="2" charset="77"/>
                </a:rPr>
                <a:t>Descripción de la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problema y áreas de pérdida</a:t>
              </a:r>
            </a:p>
          </p:txBody>
        </p:sp>
        <p:sp>
          <p:nvSpPr>
            <p:cNvPr id="21" name="Freeform 41">
              <a:extLst>
                <a:ext uri="{FF2B5EF4-FFF2-40B4-BE49-F238E27FC236}">
                  <a16:creationId xmlns:a16="http://schemas.microsoft.com/office/drawing/2014/main" xmlns="" id="{CF70DE15-9BE8-40DD-A4E0-E82287C12258}"/>
                </a:ext>
              </a:extLst>
            </p:cNvPr>
            <p:cNvSpPr>
              <a:spLocks noChangeArrowheads="1"/>
            </p:cNvSpPr>
            <p:nvPr/>
          </p:nvSpPr>
          <p:spPr bwMode="auto">
            <a:xfrm>
              <a:off x="7075520" y="2604219"/>
              <a:ext cx="274171" cy="292209"/>
            </a:xfrm>
            <a:custGeom>
              <a:avLst/>
              <a:gdLst>
                <a:gd name="T0" fmla="*/ 450379 w 2344"/>
                <a:gd name="T1" fmla="*/ 478140 h 2500"/>
                <a:gd name="T2" fmla="*/ 731775 w 2344"/>
                <a:gd name="T3" fmla="*/ 421973 h 2500"/>
                <a:gd name="T4" fmla="*/ 731775 w 2344"/>
                <a:gd name="T5" fmla="*/ 703168 h 2500"/>
                <a:gd name="T6" fmla="*/ 450379 w 2344"/>
                <a:gd name="T7" fmla="*/ 646641 h 2500"/>
                <a:gd name="T8" fmla="*/ 731775 w 2344"/>
                <a:gd name="T9" fmla="*/ 703168 h 2500"/>
                <a:gd name="T10" fmla="*/ 366068 w 2344"/>
                <a:gd name="T11" fmla="*/ 365446 h 2500"/>
                <a:gd name="T12" fmla="*/ 337964 w 2344"/>
                <a:gd name="T13" fmla="*/ 337362 h 2500"/>
                <a:gd name="T14" fmla="*/ 366068 w 2344"/>
                <a:gd name="T15" fmla="*/ 309279 h 2500"/>
                <a:gd name="T16" fmla="*/ 394171 w 2344"/>
                <a:gd name="T17" fmla="*/ 337362 h 2500"/>
                <a:gd name="T18" fmla="*/ 366068 w 2344"/>
                <a:gd name="T19" fmla="*/ 478140 h 2500"/>
                <a:gd name="T20" fmla="*/ 337964 w 2344"/>
                <a:gd name="T21" fmla="*/ 449696 h 2500"/>
                <a:gd name="T22" fmla="*/ 366068 w 2344"/>
                <a:gd name="T23" fmla="*/ 421973 h 2500"/>
                <a:gd name="T24" fmla="*/ 394171 w 2344"/>
                <a:gd name="T25" fmla="*/ 449696 h 2500"/>
                <a:gd name="T26" fmla="*/ 366068 w 2344"/>
                <a:gd name="T27" fmla="*/ 478140 h 2500"/>
                <a:gd name="T28" fmla="*/ 366068 w 2344"/>
                <a:gd name="T29" fmla="*/ 590474 h 2500"/>
                <a:gd name="T30" fmla="*/ 337964 w 2344"/>
                <a:gd name="T31" fmla="*/ 562391 h 2500"/>
                <a:gd name="T32" fmla="*/ 366068 w 2344"/>
                <a:gd name="T33" fmla="*/ 534307 h 2500"/>
                <a:gd name="T34" fmla="*/ 394171 w 2344"/>
                <a:gd name="T35" fmla="*/ 562391 h 2500"/>
                <a:gd name="T36" fmla="*/ 366068 w 2344"/>
                <a:gd name="T37" fmla="*/ 703168 h 2500"/>
                <a:gd name="T38" fmla="*/ 337964 w 2344"/>
                <a:gd name="T39" fmla="*/ 674725 h 2500"/>
                <a:gd name="T40" fmla="*/ 366068 w 2344"/>
                <a:gd name="T41" fmla="*/ 646641 h 2500"/>
                <a:gd name="T42" fmla="*/ 394171 w 2344"/>
                <a:gd name="T43" fmla="*/ 674725 h 2500"/>
                <a:gd name="T44" fmla="*/ 366068 w 2344"/>
                <a:gd name="T45" fmla="*/ 703168 h 2500"/>
                <a:gd name="T46" fmla="*/ 619000 w 2344"/>
                <a:gd name="T47" fmla="*/ 534307 h 2500"/>
                <a:gd name="T48" fmla="*/ 450379 w 2344"/>
                <a:gd name="T49" fmla="*/ 590474 h 2500"/>
                <a:gd name="T50" fmla="*/ 450379 w 2344"/>
                <a:gd name="T51" fmla="*/ 309279 h 2500"/>
                <a:gd name="T52" fmla="*/ 703311 w 2344"/>
                <a:gd name="T53" fmla="*/ 365446 h 2500"/>
                <a:gd name="T54" fmla="*/ 450379 w 2344"/>
                <a:gd name="T55" fmla="*/ 309279 h 2500"/>
                <a:gd name="T56" fmla="*/ 647104 w 2344"/>
                <a:gd name="T57" fmla="*/ 140418 h 2500"/>
                <a:gd name="T58" fmla="*/ 450379 w 2344"/>
                <a:gd name="T59" fmla="*/ 196585 h 2500"/>
                <a:gd name="T60" fmla="*/ 225189 w 2344"/>
                <a:gd name="T61" fmla="*/ 815502 h 2500"/>
                <a:gd name="T62" fmla="*/ 197086 w 2344"/>
                <a:gd name="T63" fmla="*/ 843586 h 2500"/>
                <a:gd name="T64" fmla="*/ 168982 w 2344"/>
                <a:gd name="T65" fmla="*/ 815502 h 2500"/>
                <a:gd name="T66" fmla="*/ 168982 w 2344"/>
                <a:gd name="T67" fmla="*/ 309279 h 2500"/>
                <a:gd name="T68" fmla="*/ 225189 w 2344"/>
                <a:gd name="T69" fmla="*/ 281195 h 2500"/>
                <a:gd name="T70" fmla="*/ 112775 w 2344"/>
                <a:gd name="T71" fmla="*/ 590474 h 2500"/>
                <a:gd name="T72" fmla="*/ 56568 w 2344"/>
                <a:gd name="T73" fmla="*/ 309279 h 2500"/>
                <a:gd name="T74" fmla="*/ 84311 w 2344"/>
                <a:gd name="T75" fmla="*/ 281195 h 2500"/>
                <a:gd name="T76" fmla="*/ 112775 w 2344"/>
                <a:gd name="T77" fmla="*/ 309279 h 2500"/>
                <a:gd name="T78" fmla="*/ 225189 w 2344"/>
                <a:gd name="T79" fmla="*/ 0 h 2500"/>
                <a:gd name="T80" fmla="*/ 84311 w 2344"/>
                <a:gd name="T81" fmla="*/ 225028 h 2500"/>
                <a:gd name="T82" fmla="*/ 0 w 2344"/>
                <a:gd name="T83" fmla="*/ 309279 h 2500"/>
                <a:gd name="T84" fmla="*/ 112775 w 2344"/>
                <a:gd name="T85" fmla="*/ 646641 h 2500"/>
                <a:gd name="T86" fmla="*/ 112775 w 2344"/>
                <a:gd name="T87" fmla="*/ 815502 h 2500"/>
                <a:gd name="T88" fmla="*/ 759879 w 2344"/>
                <a:gd name="T89" fmla="*/ 899753 h 2500"/>
                <a:gd name="T90" fmla="*/ 844190 w 2344"/>
                <a:gd name="T91" fmla="*/ 815502 h 2500"/>
                <a:gd name="T92" fmla="*/ 225189 w 2344"/>
                <a:gd name="T93" fmla="*/ 0 h 25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344" h="2500">
                  <a:moveTo>
                    <a:pt x="2031" y="1328"/>
                  </a:moveTo>
                  <a:lnTo>
                    <a:pt x="1250" y="1328"/>
                  </a:lnTo>
                  <a:lnTo>
                    <a:pt x="1250" y="1172"/>
                  </a:lnTo>
                  <a:lnTo>
                    <a:pt x="2031" y="1172"/>
                  </a:lnTo>
                  <a:lnTo>
                    <a:pt x="2031" y="1328"/>
                  </a:lnTo>
                  <a:close/>
                  <a:moveTo>
                    <a:pt x="2031" y="1953"/>
                  </a:moveTo>
                  <a:lnTo>
                    <a:pt x="1250" y="1953"/>
                  </a:lnTo>
                  <a:lnTo>
                    <a:pt x="1250" y="1796"/>
                  </a:lnTo>
                  <a:lnTo>
                    <a:pt x="2031" y="1796"/>
                  </a:lnTo>
                  <a:lnTo>
                    <a:pt x="2031" y="1953"/>
                  </a:lnTo>
                  <a:close/>
                  <a:moveTo>
                    <a:pt x="1016" y="1015"/>
                  </a:moveTo>
                  <a:lnTo>
                    <a:pt x="1016" y="1015"/>
                  </a:lnTo>
                  <a:cubicBezTo>
                    <a:pt x="972" y="1015"/>
                    <a:pt x="938" y="980"/>
                    <a:pt x="938" y="937"/>
                  </a:cubicBezTo>
                  <a:cubicBezTo>
                    <a:pt x="938" y="893"/>
                    <a:pt x="972" y="859"/>
                    <a:pt x="1016" y="859"/>
                  </a:cubicBezTo>
                  <a:cubicBezTo>
                    <a:pt x="1059" y="859"/>
                    <a:pt x="1094" y="893"/>
                    <a:pt x="1094" y="937"/>
                  </a:cubicBezTo>
                  <a:cubicBezTo>
                    <a:pt x="1094" y="980"/>
                    <a:pt x="1059" y="1015"/>
                    <a:pt x="1016" y="1015"/>
                  </a:cubicBezTo>
                  <a:close/>
                  <a:moveTo>
                    <a:pt x="1016" y="1328"/>
                  </a:moveTo>
                  <a:lnTo>
                    <a:pt x="1016" y="1328"/>
                  </a:lnTo>
                  <a:cubicBezTo>
                    <a:pt x="972" y="1328"/>
                    <a:pt x="938" y="1293"/>
                    <a:pt x="938" y="1249"/>
                  </a:cubicBezTo>
                  <a:cubicBezTo>
                    <a:pt x="938" y="1206"/>
                    <a:pt x="972" y="1172"/>
                    <a:pt x="1016" y="1172"/>
                  </a:cubicBezTo>
                  <a:cubicBezTo>
                    <a:pt x="1059" y="1172"/>
                    <a:pt x="1094" y="1206"/>
                    <a:pt x="1094" y="1249"/>
                  </a:cubicBezTo>
                  <a:cubicBezTo>
                    <a:pt x="1094" y="1293"/>
                    <a:pt x="1059" y="1328"/>
                    <a:pt x="1016" y="1328"/>
                  </a:cubicBezTo>
                  <a:close/>
                  <a:moveTo>
                    <a:pt x="1016" y="1640"/>
                  </a:moveTo>
                  <a:lnTo>
                    <a:pt x="1016" y="1640"/>
                  </a:lnTo>
                  <a:cubicBezTo>
                    <a:pt x="972" y="1640"/>
                    <a:pt x="938" y="1605"/>
                    <a:pt x="938" y="1562"/>
                  </a:cubicBezTo>
                  <a:cubicBezTo>
                    <a:pt x="938" y="1519"/>
                    <a:pt x="972" y="1484"/>
                    <a:pt x="1016" y="1484"/>
                  </a:cubicBezTo>
                  <a:cubicBezTo>
                    <a:pt x="1059" y="1484"/>
                    <a:pt x="1094" y="1519"/>
                    <a:pt x="1094" y="1562"/>
                  </a:cubicBezTo>
                  <a:cubicBezTo>
                    <a:pt x="1094" y="1605"/>
                    <a:pt x="1059" y="1640"/>
                    <a:pt x="1016" y="1640"/>
                  </a:cubicBezTo>
                  <a:close/>
                  <a:moveTo>
                    <a:pt x="1016" y="1953"/>
                  </a:moveTo>
                  <a:lnTo>
                    <a:pt x="1016" y="1953"/>
                  </a:lnTo>
                  <a:cubicBezTo>
                    <a:pt x="972" y="1953"/>
                    <a:pt x="938" y="1917"/>
                    <a:pt x="938" y="1874"/>
                  </a:cubicBezTo>
                  <a:cubicBezTo>
                    <a:pt x="938" y="1831"/>
                    <a:pt x="972" y="1796"/>
                    <a:pt x="1016" y="1796"/>
                  </a:cubicBezTo>
                  <a:cubicBezTo>
                    <a:pt x="1059" y="1796"/>
                    <a:pt x="1094" y="1831"/>
                    <a:pt x="1094" y="1874"/>
                  </a:cubicBezTo>
                  <a:cubicBezTo>
                    <a:pt x="1094" y="1917"/>
                    <a:pt x="1059" y="1953"/>
                    <a:pt x="1016" y="1953"/>
                  </a:cubicBezTo>
                  <a:close/>
                  <a:moveTo>
                    <a:pt x="1250" y="1484"/>
                  </a:moveTo>
                  <a:lnTo>
                    <a:pt x="1718" y="1484"/>
                  </a:lnTo>
                  <a:lnTo>
                    <a:pt x="1718" y="1640"/>
                  </a:lnTo>
                  <a:lnTo>
                    <a:pt x="1250" y="1640"/>
                  </a:lnTo>
                  <a:lnTo>
                    <a:pt x="1250" y="1484"/>
                  </a:lnTo>
                  <a:close/>
                  <a:moveTo>
                    <a:pt x="1250" y="859"/>
                  </a:moveTo>
                  <a:lnTo>
                    <a:pt x="1952" y="859"/>
                  </a:lnTo>
                  <a:lnTo>
                    <a:pt x="1952" y="1015"/>
                  </a:lnTo>
                  <a:lnTo>
                    <a:pt x="1250" y="1015"/>
                  </a:lnTo>
                  <a:lnTo>
                    <a:pt x="1250" y="859"/>
                  </a:lnTo>
                  <a:close/>
                  <a:moveTo>
                    <a:pt x="1250" y="390"/>
                  </a:moveTo>
                  <a:lnTo>
                    <a:pt x="1796" y="390"/>
                  </a:lnTo>
                  <a:lnTo>
                    <a:pt x="1796" y="546"/>
                  </a:lnTo>
                  <a:lnTo>
                    <a:pt x="1250" y="546"/>
                  </a:lnTo>
                  <a:lnTo>
                    <a:pt x="1250" y="390"/>
                  </a:lnTo>
                  <a:close/>
                  <a:moveTo>
                    <a:pt x="625" y="2265"/>
                  </a:moveTo>
                  <a:lnTo>
                    <a:pt x="625" y="2265"/>
                  </a:lnTo>
                  <a:cubicBezTo>
                    <a:pt x="625" y="2308"/>
                    <a:pt x="590" y="2343"/>
                    <a:pt x="547" y="2343"/>
                  </a:cubicBezTo>
                  <a:cubicBezTo>
                    <a:pt x="504" y="2343"/>
                    <a:pt x="469" y="2308"/>
                    <a:pt x="469" y="2265"/>
                  </a:cubicBezTo>
                  <a:lnTo>
                    <a:pt x="469" y="859"/>
                  </a:lnTo>
                  <a:cubicBezTo>
                    <a:pt x="469" y="831"/>
                    <a:pt x="463" y="806"/>
                    <a:pt x="454" y="781"/>
                  </a:cubicBezTo>
                  <a:lnTo>
                    <a:pt x="625" y="781"/>
                  </a:lnTo>
                  <a:lnTo>
                    <a:pt x="625" y="2265"/>
                  </a:lnTo>
                  <a:close/>
                  <a:moveTo>
                    <a:pt x="313" y="1640"/>
                  </a:moveTo>
                  <a:lnTo>
                    <a:pt x="157" y="1640"/>
                  </a:lnTo>
                  <a:lnTo>
                    <a:pt x="157" y="859"/>
                  </a:lnTo>
                  <a:cubicBezTo>
                    <a:pt x="157" y="816"/>
                    <a:pt x="191" y="781"/>
                    <a:pt x="234" y="781"/>
                  </a:cubicBezTo>
                  <a:cubicBezTo>
                    <a:pt x="277" y="781"/>
                    <a:pt x="313" y="816"/>
                    <a:pt x="313" y="859"/>
                  </a:cubicBezTo>
                  <a:lnTo>
                    <a:pt x="313" y="1640"/>
                  </a:lnTo>
                  <a:close/>
                  <a:moveTo>
                    <a:pt x="625" y="0"/>
                  </a:moveTo>
                  <a:lnTo>
                    <a:pt x="625" y="625"/>
                  </a:lnTo>
                  <a:lnTo>
                    <a:pt x="234" y="625"/>
                  </a:lnTo>
                  <a:cubicBezTo>
                    <a:pt x="105" y="625"/>
                    <a:pt x="0" y="730"/>
                    <a:pt x="0" y="859"/>
                  </a:cubicBezTo>
                  <a:lnTo>
                    <a:pt x="0" y="1796"/>
                  </a:lnTo>
                  <a:lnTo>
                    <a:pt x="313" y="1796"/>
                  </a:lnTo>
                  <a:lnTo>
                    <a:pt x="313" y="2265"/>
                  </a:lnTo>
                  <a:cubicBezTo>
                    <a:pt x="313" y="2394"/>
                    <a:pt x="418" y="2499"/>
                    <a:pt x="547" y="2499"/>
                  </a:cubicBezTo>
                  <a:lnTo>
                    <a:pt x="2109" y="2499"/>
                  </a:lnTo>
                  <a:cubicBezTo>
                    <a:pt x="2238" y="2499"/>
                    <a:pt x="2343" y="2394"/>
                    <a:pt x="2343" y="2265"/>
                  </a:cubicBezTo>
                  <a:lnTo>
                    <a:pt x="2343" y="0"/>
                  </a:lnTo>
                  <a:lnTo>
                    <a:pt x="625" y="0"/>
                  </a:lnTo>
                  <a:close/>
                </a:path>
              </a:pathLst>
            </a:custGeom>
            <a:solidFill>
              <a:schemeClr val="bg1"/>
            </a:solidFill>
            <a:ln>
              <a:noFill/>
            </a:ln>
            <a:effectLst/>
          </p:spPr>
          <p:txBody>
            <a:bodyPr wrap="none" anchor="ctr"/>
            <a:lstStyle/>
            <a:p>
              <a:endParaRPr lang="en-US" sz="567" dirty="0">
                <a:latin typeface="+mj-lt"/>
              </a:endParaRPr>
            </a:p>
          </p:txBody>
        </p:sp>
        <p:sp>
          <p:nvSpPr>
            <p:cNvPr id="22" name="TextBox 48">
              <a:extLst>
                <a:ext uri="{FF2B5EF4-FFF2-40B4-BE49-F238E27FC236}">
                  <a16:creationId xmlns:a16="http://schemas.microsoft.com/office/drawing/2014/main" xmlns="" id="{D3DC1898-6275-4144-AE76-CED6333A4068}"/>
                </a:ext>
              </a:extLst>
            </p:cNvPr>
            <p:cNvSpPr txBox="1"/>
            <p:nvPr/>
          </p:nvSpPr>
          <p:spPr>
            <a:xfrm>
              <a:off x="6849205" y="5381846"/>
              <a:ext cx="1550867" cy="434838"/>
            </a:xfrm>
            <a:prstGeom prst="rect">
              <a:avLst/>
            </a:prstGeom>
            <a:noFill/>
          </p:spPr>
          <p:txBody>
            <a:bodyPr wrap="none" rtlCol="0" anchor="ctr">
              <a:spAutoFit/>
            </a:bodyPr>
            <a:lstStyle/>
            <a:p>
              <a:pPr algn="ctr"/>
              <a:r>
                <a:rPr lang="en-US" sz="1400" b="1" dirty="0">
                  <a:solidFill>
                    <a:schemeClr val="bg1"/>
                  </a:solidFill>
                  <a:latin typeface="+mj-lt"/>
                  <a:cs typeface="Poppins" pitchFamily="2" charset="77"/>
                </a:rPr>
                <a:t>Estructura de la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planificación de la reconstrucción</a:t>
              </a:r>
            </a:p>
          </p:txBody>
        </p:sp>
        <p:sp>
          <p:nvSpPr>
            <p:cNvPr id="23" name="Freeform 91">
              <a:extLst>
                <a:ext uri="{FF2B5EF4-FFF2-40B4-BE49-F238E27FC236}">
                  <a16:creationId xmlns:a16="http://schemas.microsoft.com/office/drawing/2014/main" xmlns="" id="{175DD395-C0D3-4565-B465-BB6ECC957B3F}"/>
                </a:ext>
              </a:extLst>
            </p:cNvPr>
            <p:cNvSpPr>
              <a:spLocks noChangeArrowheads="1"/>
            </p:cNvSpPr>
            <p:nvPr/>
          </p:nvSpPr>
          <p:spPr bwMode="auto">
            <a:xfrm>
              <a:off x="7455823" y="5054493"/>
              <a:ext cx="337630" cy="316193"/>
            </a:xfrm>
            <a:custGeom>
              <a:avLst/>
              <a:gdLst>
                <a:gd name="T0" fmla="*/ 642085 w 899753"/>
                <a:gd name="T1" fmla="*/ 505575 h 842602"/>
                <a:gd name="T2" fmla="*/ 781355 w 899753"/>
                <a:gd name="T3" fmla="*/ 645275 h 842602"/>
                <a:gd name="T4" fmla="*/ 838935 w 899753"/>
                <a:gd name="T5" fmla="*/ 505575 h 842602"/>
                <a:gd name="T6" fmla="*/ 506413 w 899753"/>
                <a:gd name="T7" fmla="*/ 449262 h 842602"/>
                <a:gd name="T8" fmla="*/ 899753 w 899753"/>
                <a:gd name="T9" fmla="*/ 449262 h 842602"/>
                <a:gd name="T10" fmla="*/ 784594 w 899753"/>
                <a:gd name="T11" fmla="*/ 728301 h 842602"/>
                <a:gd name="T12" fmla="*/ 506990 w 899753"/>
                <a:gd name="T13" fmla="*/ 61123 h 842602"/>
                <a:gd name="T14" fmla="*/ 506990 w 899753"/>
                <a:gd name="T15" fmla="*/ 336892 h 842602"/>
                <a:gd name="T16" fmla="*/ 783372 w 899753"/>
                <a:gd name="T17" fmla="*/ 336892 h 842602"/>
                <a:gd name="T18" fmla="*/ 506990 w 899753"/>
                <a:gd name="T19" fmla="*/ 61123 h 842602"/>
                <a:gd name="T20" fmla="*/ 394203 w 899753"/>
                <a:gd name="T21" fmla="*/ 55562 h 842602"/>
                <a:gd name="T22" fmla="*/ 394203 w 899753"/>
                <a:gd name="T23" fmla="*/ 449082 h 842602"/>
                <a:gd name="T24" fmla="*/ 672740 w 899753"/>
                <a:gd name="T25" fmla="*/ 727390 h 842602"/>
                <a:gd name="T26" fmla="*/ 394203 w 899753"/>
                <a:gd name="T27" fmla="*/ 842602 h 842602"/>
                <a:gd name="T28" fmla="*/ 0 w 899753"/>
                <a:gd name="T29" fmla="*/ 449082 h 842602"/>
                <a:gd name="T30" fmla="*/ 394203 w 899753"/>
                <a:gd name="T31" fmla="*/ 55562 h 842602"/>
                <a:gd name="T32" fmla="*/ 450850 w 899753"/>
                <a:gd name="T33" fmla="*/ 0 h 842602"/>
                <a:gd name="T34" fmla="*/ 844190 w 899753"/>
                <a:gd name="T35" fmla="*/ 393341 h 842602"/>
                <a:gd name="T36" fmla="*/ 450850 w 899753"/>
                <a:gd name="T37" fmla="*/ 393341 h 8426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99753" h="842602">
                  <a:moveTo>
                    <a:pt x="642085" y="505575"/>
                  </a:moveTo>
                  <a:lnTo>
                    <a:pt x="781355" y="645275"/>
                  </a:lnTo>
                  <a:cubicBezTo>
                    <a:pt x="810865" y="603763"/>
                    <a:pt x="830658" y="556113"/>
                    <a:pt x="838935" y="505575"/>
                  </a:cubicBezTo>
                  <a:lnTo>
                    <a:pt x="642085" y="505575"/>
                  </a:lnTo>
                  <a:close/>
                  <a:moveTo>
                    <a:pt x="506413" y="449262"/>
                  </a:moveTo>
                  <a:lnTo>
                    <a:pt x="899753" y="449262"/>
                  </a:lnTo>
                  <a:cubicBezTo>
                    <a:pt x="899753" y="558279"/>
                    <a:pt x="855849" y="656827"/>
                    <a:pt x="784594" y="728301"/>
                  </a:cubicBezTo>
                  <a:lnTo>
                    <a:pt x="506413" y="449262"/>
                  </a:lnTo>
                  <a:close/>
                  <a:moveTo>
                    <a:pt x="506990" y="61123"/>
                  </a:moveTo>
                  <a:lnTo>
                    <a:pt x="506990" y="336892"/>
                  </a:lnTo>
                  <a:lnTo>
                    <a:pt x="783372" y="336892"/>
                  </a:lnTo>
                  <a:cubicBezTo>
                    <a:pt x="759620" y="195951"/>
                    <a:pt x="648060" y="84493"/>
                    <a:pt x="506990" y="61123"/>
                  </a:cubicBezTo>
                  <a:close/>
                  <a:moveTo>
                    <a:pt x="394203" y="55562"/>
                  </a:moveTo>
                  <a:lnTo>
                    <a:pt x="394203" y="449082"/>
                  </a:lnTo>
                  <a:lnTo>
                    <a:pt x="672740" y="727390"/>
                  </a:lnTo>
                  <a:cubicBezTo>
                    <a:pt x="601394" y="798678"/>
                    <a:pt x="502663" y="842602"/>
                    <a:pt x="394203" y="842602"/>
                  </a:cubicBezTo>
                  <a:cubicBezTo>
                    <a:pt x="176203" y="842602"/>
                    <a:pt x="0" y="666544"/>
                    <a:pt x="0" y="449082"/>
                  </a:cubicBezTo>
                  <a:cubicBezTo>
                    <a:pt x="0" y="231620"/>
                    <a:pt x="176203" y="55562"/>
                    <a:pt x="394203" y="55562"/>
                  </a:cubicBezTo>
                  <a:close/>
                  <a:moveTo>
                    <a:pt x="450850" y="0"/>
                  </a:moveTo>
                  <a:cubicBezTo>
                    <a:pt x="668213" y="0"/>
                    <a:pt x="844190" y="176176"/>
                    <a:pt x="844190" y="393341"/>
                  </a:cubicBezTo>
                  <a:lnTo>
                    <a:pt x="450850" y="393341"/>
                  </a:lnTo>
                  <a:lnTo>
                    <a:pt x="450850" y="0"/>
                  </a:lnTo>
                  <a:close/>
                </a:path>
              </a:pathLst>
            </a:custGeom>
            <a:solidFill>
              <a:schemeClr val="bg1"/>
            </a:solidFill>
            <a:ln>
              <a:noFill/>
            </a:ln>
            <a:effectLst/>
          </p:spPr>
          <p:txBody>
            <a:bodyPr anchor="ctr"/>
            <a:lstStyle/>
            <a:p>
              <a:endParaRPr lang="en-US" sz="567" dirty="0">
                <a:latin typeface="+mj-lt"/>
              </a:endParaRPr>
            </a:p>
          </p:txBody>
        </p:sp>
        <p:sp>
          <p:nvSpPr>
            <p:cNvPr id="24" name="Freeform 85">
              <a:extLst>
                <a:ext uri="{FF2B5EF4-FFF2-40B4-BE49-F238E27FC236}">
                  <a16:creationId xmlns:a16="http://schemas.microsoft.com/office/drawing/2014/main" xmlns="" id="{3053E684-6E0D-45A0-9C61-C9628CBF964C}"/>
                </a:ext>
              </a:extLst>
            </p:cNvPr>
            <p:cNvSpPr>
              <a:spLocks noChangeArrowheads="1"/>
            </p:cNvSpPr>
            <p:nvPr/>
          </p:nvSpPr>
          <p:spPr bwMode="auto">
            <a:xfrm>
              <a:off x="8550468" y="3463023"/>
              <a:ext cx="292208" cy="292209"/>
            </a:xfrm>
            <a:custGeom>
              <a:avLst/>
              <a:gdLst>
                <a:gd name="T0" fmla="*/ 422275 w 899752"/>
                <a:gd name="T1" fmla="*/ 280988 h 899754"/>
                <a:gd name="T2" fmla="*/ 534627 w 899752"/>
                <a:gd name="T3" fmla="*/ 365919 h 899754"/>
                <a:gd name="T4" fmla="*/ 422275 w 899752"/>
                <a:gd name="T5" fmla="*/ 450489 h 899754"/>
                <a:gd name="T6" fmla="*/ 57150 w 899752"/>
                <a:gd name="T7" fmla="*/ 225425 h 899754"/>
                <a:gd name="T8" fmla="*/ 113290 w 899752"/>
                <a:gd name="T9" fmla="*/ 225425 h 899754"/>
                <a:gd name="T10" fmla="*/ 113290 w 899752"/>
                <a:gd name="T11" fmla="*/ 562409 h 899754"/>
                <a:gd name="T12" fmla="*/ 422420 w 899752"/>
                <a:gd name="T13" fmla="*/ 562409 h 899754"/>
                <a:gd name="T14" fmla="*/ 478560 w 899752"/>
                <a:gd name="T15" fmla="*/ 562409 h 899754"/>
                <a:gd name="T16" fmla="*/ 787690 w 899752"/>
                <a:gd name="T17" fmla="*/ 562409 h 899754"/>
                <a:gd name="T18" fmla="*/ 787690 w 899752"/>
                <a:gd name="T19" fmla="*/ 225425 h 899754"/>
                <a:gd name="T20" fmla="*/ 844190 w 899752"/>
                <a:gd name="T21" fmla="*/ 225425 h 899754"/>
                <a:gd name="T22" fmla="*/ 844190 w 899752"/>
                <a:gd name="T23" fmla="*/ 618873 h 899754"/>
                <a:gd name="T24" fmla="*/ 478560 w 899752"/>
                <a:gd name="T25" fmla="*/ 618873 h 899754"/>
                <a:gd name="T26" fmla="*/ 478560 w 899752"/>
                <a:gd name="T27" fmla="*/ 803729 h 899754"/>
                <a:gd name="T28" fmla="*/ 490436 w 899752"/>
                <a:gd name="T29" fmla="*/ 815597 h 899754"/>
                <a:gd name="T30" fmla="*/ 518146 w 899752"/>
                <a:gd name="T31" fmla="*/ 843649 h 899754"/>
                <a:gd name="T32" fmla="*/ 590840 w 899752"/>
                <a:gd name="T33" fmla="*/ 843649 h 899754"/>
                <a:gd name="T34" fmla="*/ 590840 w 899752"/>
                <a:gd name="T35" fmla="*/ 899754 h 899754"/>
                <a:gd name="T36" fmla="*/ 495114 w 899752"/>
                <a:gd name="T37" fmla="*/ 899754 h 899754"/>
                <a:gd name="T38" fmla="*/ 450490 w 899752"/>
                <a:gd name="T39" fmla="*/ 855158 h 899754"/>
                <a:gd name="T40" fmla="*/ 405866 w 899752"/>
                <a:gd name="T41" fmla="*/ 899754 h 899754"/>
                <a:gd name="T42" fmla="*/ 309780 w 899752"/>
                <a:gd name="T43" fmla="*/ 899754 h 899754"/>
                <a:gd name="T44" fmla="*/ 309780 w 899752"/>
                <a:gd name="T45" fmla="*/ 843649 h 899754"/>
                <a:gd name="T46" fmla="*/ 382475 w 899752"/>
                <a:gd name="T47" fmla="*/ 843649 h 899754"/>
                <a:gd name="T48" fmla="*/ 410904 w 899752"/>
                <a:gd name="T49" fmla="*/ 815597 h 899754"/>
                <a:gd name="T50" fmla="*/ 422420 w 899752"/>
                <a:gd name="T51" fmla="*/ 803729 h 899754"/>
                <a:gd name="T52" fmla="*/ 422420 w 899752"/>
                <a:gd name="T53" fmla="*/ 618873 h 899754"/>
                <a:gd name="T54" fmla="*/ 57150 w 899752"/>
                <a:gd name="T55" fmla="*/ 618873 h 899754"/>
                <a:gd name="T56" fmla="*/ 421804 w 899752"/>
                <a:gd name="T57" fmla="*/ 0 h 899754"/>
                <a:gd name="T58" fmla="*/ 477949 w 899752"/>
                <a:gd name="T59" fmla="*/ 0 h 899754"/>
                <a:gd name="T60" fmla="*/ 477949 w 899752"/>
                <a:gd name="T61" fmla="*/ 56380 h 899754"/>
                <a:gd name="T62" fmla="*/ 899752 w 899752"/>
                <a:gd name="T63" fmla="*/ 56380 h 899754"/>
                <a:gd name="T64" fmla="*/ 899752 w 899752"/>
                <a:gd name="T65" fmla="*/ 169501 h 899754"/>
                <a:gd name="T66" fmla="*/ 0 w 899752"/>
                <a:gd name="T67" fmla="*/ 169501 h 899754"/>
                <a:gd name="T68" fmla="*/ 0 w 899752"/>
                <a:gd name="T69" fmla="*/ 56380 h 899754"/>
                <a:gd name="T70" fmla="*/ 421804 w 899752"/>
                <a:gd name="T71" fmla="*/ 56380 h 89975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99752" h="899754">
                  <a:moveTo>
                    <a:pt x="422275" y="280988"/>
                  </a:moveTo>
                  <a:lnTo>
                    <a:pt x="534627" y="365919"/>
                  </a:lnTo>
                  <a:lnTo>
                    <a:pt x="422275" y="450489"/>
                  </a:lnTo>
                  <a:lnTo>
                    <a:pt x="422275" y="280988"/>
                  </a:lnTo>
                  <a:close/>
                  <a:moveTo>
                    <a:pt x="57150" y="225425"/>
                  </a:moveTo>
                  <a:lnTo>
                    <a:pt x="113290" y="225425"/>
                  </a:lnTo>
                  <a:lnTo>
                    <a:pt x="113290" y="562409"/>
                  </a:lnTo>
                  <a:lnTo>
                    <a:pt x="422420" y="562409"/>
                  </a:lnTo>
                  <a:lnTo>
                    <a:pt x="478560" y="562409"/>
                  </a:lnTo>
                  <a:lnTo>
                    <a:pt x="787690" y="562409"/>
                  </a:lnTo>
                  <a:lnTo>
                    <a:pt x="787690" y="225425"/>
                  </a:lnTo>
                  <a:lnTo>
                    <a:pt x="844190" y="225425"/>
                  </a:lnTo>
                  <a:lnTo>
                    <a:pt x="844190" y="618873"/>
                  </a:lnTo>
                  <a:lnTo>
                    <a:pt x="478560" y="618873"/>
                  </a:lnTo>
                  <a:lnTo>
                    <a:pt x="478560" y="803729"/>
                  </a:lnTo>
                  <a:lnTo>
                    <a:pt x="490436" y="815597"/>
                  </a:lnTo>
                  <a:lnTo>
                    <a:pt x="518146" y="843649"/>
                  </a:lnTo>
                  <a:lnTo>
                    <a:pt x="590840" y="843649"/>
                  </a:lnTo>
                  <a:lnTo>
                    <a:pt x="590840" y="899754"/>
                  </a:lnTo>
                  <a:lnTo>
                    <a:pt x="495114" y="899754"/>
                  </a:lnTo>
                  <a:lnTo>
                    <a:pt x="450490" y="855158"/>
                  </a:lnTo>
                  <a:lnTo>
                    <a:pt x="405866" y="899754"/>
                  </a:lnTo>
                  <a:lnTo>
                    <a:pt x="309780" y="899754"/>
                  </a:lnTo>
                  <a:lnTo>
                    <a:pt x="309780" y="843649"/>
                  </a:lnTo>
                  <a:lnTo>
                    <a:pt x="382475" y="843649"/>
                  </a:lnTo>
                  <a:lnTo>
                    <a:pt x="410904" y="815597"/>
                  </a:lnTo>
                  <a:lnTo>
                    <a:pt x="422420" y="803729"/>
                  </a:lnTo>
                  <a:lnTo>
                    <a:pt x="422420" y="618873"/>
                  </a:lnTo>
                  <a:lnTo>
                    <a:pt x="57150" y="618873"/>
                  </a:lnTo>
                  <a:lnTo>
                    <a:pt x="57150" y="225425"/>
                  </a:lnTo>
                  <a:close/>
                  <a:moveTo>
                    <a:pt x="421804" y="0"/>
                  </a:moveTo>
                  <a:lnTo>
                    <a:pt x="477949" y="0"/>
                  </a:lnTo>
                  <a:lnTo>
                    <a:pt x="477949" y="56380"/>
                  </a:lnTo>
                  <a:lnTo>
                    <a:pt x="899752" y="56380"/>
                  </a:lnTo>
                  <a:lnTo>
                    <a:pt x="899752" y="169501"/>
                  </a:lnTo>
                  <a:lnTo>
                    <a:pt x="0" y="169501"/>
                  </a:lnTo>
                  <a:lnTo>
                    <a:pt x="0" y="56380"/>
                  </a:lnTo>
                  <a:lnTo>
                    <a:pt x="421804" y="56380"/>
                  </a:lnTo>
                  <a:lnTo>
                    <a:pt x="421804" y="0"/>
                  </a:lnTo>
                  <a:close/>
                </a:path>
              </a:pathLst>
            </a:custGeom>
            <a:solidFill>
              <a:schemeClr val="bg1"/>
            </a:solidFill>
            <a:ln>
              <a:noFill/>
            </a:ln>
            <a:effectLst/>
          </p:spPr>
          <p:txBody>
            <a:bodyPr anchor="ctr"/>
            <a:lstStyle/>
            <a:p>
              <a:endParaRPr lang="en-US" sz="567" dirty="0">
                <a:latin typeface="+mj-lt"/>
              </a:endParaRPr>
            </a:p>
          </p:txBody>
        </p:sp>
        <p:sp>
          <p:nvSpPr>
            <p:cNvPr id="25" name="TextBox 52">
              <a:extLst>
                <a:ext uri="{FF2B5EF4-FFF2-40B4-BE49-F238E27FC236}">
                  <a16:creationId xmlns:a16="http://schemas.microsoft.com/office/drawing/2014/main" xmlns="" id="{2B63EF41-C744-40AC-9070-4071716CB85A}"/>
                </a:ext>
              </a:extLst>
            </p:cNvPr>
            <p:cNvSpPr txBox="1"/>
            <p:nvPr/>
          </p:nvSpPr>
          <p:spPr>
            <a:xfrm>
              <a:off x="8248492" y="3869920"/>
              <a:ext cx="896161" cy="971990"/>
            </a:xfrm>
            <a:prstGeom prst="rect">
              <a:avLst/>
            </a:prstGeom>
            <a:noFill/>
          </p:spPr>
          <p:txBody>
            <a:bodyPr wrap="none" rtlCol="0" anchor="t">
              <a:spAutoFit/>
            </a:bodyPr>
            <a:lstStyle/>
            <a:p>
              <a:pPr algn="ctr"/>
              <a:r>
                <a:rPr lang="en-US" sz="1400" b="1" dirty="0">
                  <a:solidFill>
                    <a:schemeClr val="bg1"/>
                  </a:solidFill>
                  <a:latin typeface="+mj-lt"/>
                  <a:cs typeface="Poppins" pitchFamily="2" charset="77"/>
                </a:rPr>
                <a:t>Presentación</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 de los</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 efecto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de las </a:t>
              </a:r>
              <a:br>
                <a:rPr lang="en-US" sz="1400" b="1" dirty="0">
                  <a:solidFill>
                    <a:schemeClr val="bg1"/>
                  </a:solidFill>
                  <a:latin typeface="+mj-lt"/>
                  <a:cs typeface="Poppins" pitchFamily="2" charset="77"/>
                </a:rPr>
              </a:br>
              <a:r>
                <a:rPr lang="en-US" sz="1400" b="1" dirty="0">
                  <a:solidFill>
                    <a:schemeClr val="bg1"/>
                  </a:solidFill>
                  <a:latin typeface="+mj-lt"/>
                  <a:cs typeface="Poppins" pitchFamily="2" charset="77"/>
                </a:rPr>
                <a:t>medidas</a:t>
              </a:r>
            </a:p>
          </p:txBody>
        </p:sp>
        <p:sp>
          <p:nvSpPr>
            <p:cNvPr id="26" name="TextBox 56">
              <a:extLst>
                <a:ext uri="{FF2B5EF4-FFF2-40B4-BE49-F238E27FC236}">
                  <a16:creationId xmlns:a16="http://schemas.microsoft.com/office/drawing/2014/main" xmlns="" id="{C35268F3-A728-411A-B2B9-9925690FCD38}"/>
                </a:ext>
              </a:extLst>
            </p:cNvPr>
            <p:cNvSpPr txBox="1"/>
            <p:nvPr/>
          </p:nvSpPr>
          <p:spPr>
            <a:xfrm>
              <a:off x="5775870" y="3919467"/>
              <a:ext cx="973270" cy="767361"/>
            </a:xfrm>
            <a:prstGeom prst="rect">
              <a:avLst/>
            </a:prstGeom>
            <a:noFill/>
          </p:spPr>
          <p:txBody>
            <a:bodyPr wrap="none" rtlCol="0" anchor="t">
              <a:spAutoFit/>
            </a:bodyPr>
            <a:lstStyle/>
            <a:p>
              <a:pPr algn="ctr"/>
              <a:r>
                <a:rPr lang="en-US" b="1" dirty="0">
                  <a:solidFill>
                    <a:schemeClr val="bg1"/>
                  </a:solidFill>
                  <a:latin typeface="+mj-lt"/>
                  <a:cs typeface="Poppins" pitchFamily="2" charset="77"/>
                </a:rPr>
                <a:t>Cifras clave</a:t>
              </a:r>
              <a:br>
                <a:rPr lang="en-US" b="1" dirty="0">
                  <a:solidFill>
                    <a:schemeClr val="bg1"/>
                  </a:solidFill>
                  <a:latin typeface="+mj-lt"/>
                  <a:cs typeface="Poppins" pitchFamily="2" charset="77"/>
                </a:rPr>
              </a:br>
              <a:r>
                <a:rPr lang="en-US" b="1" dirty="0">
                  <a:solidFill>
                    <a:schemeClr val="bg1"/>
                  </a:solidFill>
                  <a:latin typeface="+mj-lt"/>
                  <a:cs typeface="Poppins" pitchFamily="2" charset="77"/>
                </a:rPr>
                <a:t>y</a:t>
              </a:r>
              <a:br>
                <a:rPr lang="en-US" b="1" dirty="0">
                  <a:solidFill>
                    <a:schemeClr val="bg1"/>
                  </a:solidFill>
                  <a:latin typeface="+mj-lt"/>
                  <a:cs typeface="Poppins" pitchFamily="2" charset="77"/>
                </a:rPr>
              </a:br>
              <a:r>
                <a:rPr lang="en-US" b="1" dirty="0">
                  <a:solidFill>
                    <a:schemeClr val="bg1"/>
                  </a:solidFill>
                  <a:latin typeface="+mj-lt"/>
                  <a:cs typeface="Poppins" pitchFamily="2" charset="77"/>
                </a:rPr>
                <a:t>indicadores</a:t>
              </a:r>
            </a:p>
          </p:txBody>
        </p:sp>
        <p:sp>
          <p:nvSpPr>
            <p:cNvPr id="27" name="Freeform 89">
              <a:extLst>
                <a:ext uri="{FF2B5EF4-FFF2-40B4-BE49-F238E27FC236}">
                  <a16:creationId xmlns:a16="http://schemas.microsoft.com/office/drawing/2014/main" xmlns="" id="{63CF15F4-E96F-4DEC-B6F8-6B270256BC65}"/>
                </a:ext>
              </a:extLst>
            </p:cNvPr>
            <p:cNvSpPr>
              <a:spLocks noChangeArrowheads="1"/>
            </p:cNvSpPr>
            <p:nvPr/>
          </p:nvSpPr>
          <p:spPr bwMode="auto">
            <a:xfrm>
              <a:off x="6086214" y="3501830"/>
              <a:ext cx="325508" cy="243558"/>
            </a:xfrm>
            <a:custGeom>
              <a:avLst/>
              <a:gdLst>
                <a:gd name="T0" fmla="*/ 573956 w 901340"/>
                <a:gd name="T1" fmla="*/ 561975 h 674329"/>
                <a:gd name="T2" fmla="*/ 901340 w 901340"/>
                <a:gd name="T3" fmla="*/ 561975 h 674329"/>
                <a:gd name="T4" fmla="*/ 901340 w 901340"/>
                <a:gd name="T5" fmla="*/ 674329 h 674329"/>
                <a:gd name="T6" fmla="*/ 468313 w 901340"/>
                <a:gd name="T7" fmla="*/ 674329 h 674329"/>
                <a:gd name="T8" fmla="*/ 573956 w 901340"/>
                <a:gd name="T9" fmla="*/ 561975 h 674329"/>
                <a:gd name="T10" fmla="*/ 616811 w 901340"/>
                <a:gd name="T11" fmla="*/ 420688 h 674329"/>
                <a:gd name="T12" fmla="*/ 842604 w 901340"/>
                <a:gd name="T13" fmla="*/ 420688 h 674329"/>
                <a:gd name="T14" fmla="*/ 842604 w 901340"/>
                <a:gd name="T15" fmla="*/ 533040 h 674329"/>
                <a:gd name="T16" fmla="*/ 587375 w 901340"/>
                <a:gd name="T17" fmla="*/ 533040 h 674329"/>
                <a:gd name="T18" fmla="*/ 616811 w 901340"/>
                <a:gd name="T19" fmla="*/ 420688 h 674329"/>
                <a:gd name="T20" fmla="*/ 600075 w 901340"/>
                <a:gd name="T21" fmla="*/ 280988 h 674329"/>
                <a:gd name="T22" fmla="*/ 901339 w 901340"/>
                <a:gd name="T23" fmla="*/ 280988 h 674329"/>
                <a:gd name="T24" fmla="*/ 901339 w 901340"/>
                <a:gd name="T25" fmla="*/ 393341 h 674329"/>
                <a:gd name="T26" fmla="*/ 619919 w 901340"/>
                <a:gd name="T27" fmla="*/ 393341 h 674329"/>
                <a:gd name="T28" fmla="*/ 600075 w 901340"/>
                <a:gd name="T29" fmla="*/ 280988 h 674329"/>
                <a:gd name="T30" fmla="*/ 196799 w 901340"/>
                <a:gd name="T31" fmla="*/ 280982 h 674329"/>
                <a:gd name="T32" fmla="*/ 196799 w 901340"/>
                <a:gd name="T33" fmla="*/ 337072 h 674329"/>
                <a:gd name="T34" fmla="*/ 252925 w 901340"/>
                <a:gd name="T35" fmla="*/ 337072 h 674329"/>
                <a:gd name="T36" fmla="*/ 252925 w 901340"/>
                <a:gd name="T37" fmla="*/ 449611 h 674329"/>
                <a:gd name="T38" fmla="*/ 196799 w 901340"/>
                <a:gd name="T39" fmla="*/ 449611 h 674329"/>
                <a:gd name="T40" fmla="*/ 196799 w 901340"/>
                <a:gd name="T41" fmla="*/ 505700 h 674329"/>
                <a:gd name="T42" fmla="*/ 365176 w 901340"/>
                <a:gd name="T43" fmla="*/ 505700 h 674329"/>
                <a:gd name="T44" fmla="*/ 365176 w 901340"/>
                <a:gd name="T45" fmla="*/ 449611 h 674329"/>
                <a:gd name="T46" fmla="*/ 309051 w 901340"/>
                <a:gd name="T47" fmla="*/ 449611 h 674329"/>
                <a:gd name="T48" fmla="*/ 309051 w 901340"/>
                <a:gd name="T49" fmla="*/ 280982 h 674329"/>
                <a:gd name="T50" fmla="*/ 503238 w 901340"/>
                <a:gd name="T51" fmla="*/ 139700 h 674329"/>
                <a:gd name="T52" fmla="*/ 787040 w 901340"/>
                <a:gd name="T53" fmla="*/ 139700 h 674329"/>
                <a:gd name="T54" fmla="*/ 787040 w 901340"/>
                <a:gd name="T55" fmla="*/ 252053 h 674329"/>
                <a:gd name="T56" fmla="*/ 587154 w 901340"/>
                <a:gd name="T57" fmla="*/ 252053 h 674329"/>
                <a:gd name="T58" fmla="*/ 503238 w 901340"/>
                <a:gd name="T59" fmla="*/ 139700 h 674329"/>
                <a:gd name="T60" fmla="*/ 280988 w 901340"/>
                <a:gd name="T61" fmla="*/ 112713 h 674329"/>
                <a:gd name="T62" fmla="*/ 561615 w 901340"/>
                <a:gd name="T63" fmla="*/ 393521 h 674329"/>
                <a:gd name="T64" fmla="*/ 280988 w 901340"/>
                <a:gd name="T65" fmla="*/ 674329 h 674329"/>
                <a:gd name="T66" fmla="*/ 0 w 901340"/>
                <a:gd name="T67" fmla="*/ 393521 h 674329"/>
                <a:gd name="T68" fmla="*/ 280988 w 901340"/>
                <a:gd name="T69" fmla="*/ 112713 h 674329"/>
                <a:gd name="T70" fmla="*/ 282575 w 901340"/>
                <a:gd name="T71" fmla="*/ 0 h 674329"/>
                <a:gd name="T72" fmla="*/ 844190 w 901340"/>
                <a:gd name="T73" fmla="*/ 0 h 674329"/>
                <a:gd name="T74" fmla="*/ 844190 w 901340"/>
                <a:gd name="T75" fmla="*/ 112353 h 674329"/>
                <a:gd name="T76" fmla="*/ 468221 w 901340"/>
                <a:gd name="T77" fmla="*/ 112353 h 674329"/>
                <a:gd name="T78" fmla="*/ 282575 w 901340"/>
                <a:gd name="T79" fmla="*/ 55816 h 6743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01340" h="674329">
                  <a:moveTo>
                    <a:pt x="573956" y="561975"/>
                  </a:moveTo>
                  <a:lnTo>
                    <a:pt x="901340" y="561975"/>
                  </a:lnTo>
                  <a:lnTo>
                    <a:pt x="901340" y="674329"/>
                  </a:lnTo>
                  <a:lnTo>
                    <a:pt x="468313" y="674329"/>
                  </a:lnTo>
                  <a:cubicBezTo>
                    <a:pt x="511940" y="645613"/>
                    <a:pt x="547996" y="607204"/>
                    <a:pt x="573956" y="561975"/>
                  </a:cubicBezTo>
                  <a:close/>
                  <a:moveTo>
                    <a:pt x="616811" y="420688"/>
                  </a:moveTo>
                  <a:lnTo>
                    <a:pt x="842604" y="420688"/>
                  </a:lnTo>
                  <a:lnTo>
                    <a:pt x="842604" y="533040"/>
                  </a:lnTo>
                  <a:lnTo>
                    <a:pt x="587375" y="533040"/>
                  </a:lnTo>
                  <a:cubicBezTo>
                    <a:pt x="603529" y="498470"/>
                    <a:pt x="613580" y="460660"/>
                    <a:pt x="616811" y="420688"/>
                  </a:cubicBezTo>
                  <a:close/>
                  <a:moveTo>
                    <a:pt x="600075" y="280988"/>
                  </a:moveTo>
                  <a:lnTo>
                    <a:pt x="901339" y="280988"/>
                  </a:lnTo>
                  <a:lnTo>
                    <a:pt x="901339" y="393341"/>
                  </a:lnTo>
                  <a:lnTo>
                    <a:pt x="619919" y="393341"/>
                  </a:lnTo>
                  <a:cubicBezTo>
                    <a:pt x="619919" y="353856"/>
                    <a:pt x="612703" y="316166"/>
                    <a:pt x="600075" y="280988"/>
                  </a:cubicBezTo>
                  <a:close/>
                  <a:moveTo>
                    <a:pt x="196799" y="280982"/>
                  </a:moveTo>
                  <a:lnTo>
                    <a:pt x="196799" y="337072"/>
                  </a:lnTo>
                  <a:lnTo>
                    <a:pt x="252925" y="337072"/>
                  </a:lnTo>
                  <a:lnTo>
                    <a:pt x="252925" y="449611"/>
                  </a:lnTo>
                  <a:lnTo>
                    <a:pt x="196799" y="449611"/>
                  </a:lnTo>
                  <a:lnTo>
                    <a:pt x="196799" y="505700"/>
                  </a:lnTo>
                  <a:lnTo>
                    <a:pt x="365176" y="505700"/>
                  </a:lnTo>
                  <a:lnTo>
                    <a:pt x="365176" y="449611"/>
                  </a:lnTo>
                  <a:lnTo>
                    <a:pt x="309051" y="449611"/>
                  </a:lnTo>
                  <a:lnTo>
                    <a:pt x="309051" y="280982"/>
                  </a:lnTo>
                  <a:lnTo>
                    <a:pt x="196799" y="280982"/>
                  </a:lnTo>
                  <a:close/>
                  <a:moveTo>
                    <a:pt x="503238" y="139700"/>
                  </a:moveTo>
                  <a:lnTo>
                    <a:pt x="787040" y="139700"/>
                  </a:lnTo>
                  <a:lnTo>
                    <a:pt x="787040" y="252053"/>
                  </a:lnTo>
                  <a:lnTo>
                    <a:pt x="587154" y="252053"/>
                  </a:lnTo>
                  <a:cubicBezTo>
                    <a:pt x="567346" y="208840"/>
                    <a:pt x="538894" y="170669"/>
                    <a:pt x="503238" y="139700"/>
                  </a:cubicBezTo>
                  <a:close/>
                  <a:moveTo>
                    <a:pt x="280988" y="112713"/>
                  </a:moveTo>
                  <a:cubicBezTo>
                    <a:pt x="436053" y="112713"/>
                    <a:pt x="561615" y="238555"/>
                    <a:pt x="561615" y="393521"/>
                  </a:cubicBezTo>
                  <a:cubicBezTo>
                    <a:pt x="561615" y="548487"/>
                    <a:pt x="436053" y="674329"/>
                    <a:pt x="280988" y="674329"/>
                  </a:cubicBezTo>
                  <a:cubicBezTo>
                    <a:pt x="125923" y="674329"/>
                    <a:pt x="0" y="548487"/>
                    <a:pt x="0" y="393521"/>
                  </a:cubicBezTo>
                  <a:cubicBezTo>
                    <a:pt x="0" y="238555"/>
                    <a:pt x="125923" y="112713"/>
                    <a:pt x="280988" y="112713"/>
                  </a:cubicBezTo>
                  <a:close/>
                  <a:moveTo>
                    <a:pt x="282575" y="0"/>
                  </a:moveTo>
                  <a:lnTo>
                    <a:pt x="844190" y="0"/>
                  </a:lnTo>
                  <a:lnTo>
                    <a:pt x="844190" y="112353"/>
                  </a:lnTo>
                  <a:lnTo>
                    <a:pt x="468221" y="112353"/>
                  </a:lnTo>
                  <a:cubicBezTo>
                    <a:pt x="415694" y="76702"/>
                    <a:pt x="351293" y="55816"/>
                    <a:pt x="282575" y="55816"/>
                  </a:cubicBezTo>
                  <a:lnTo>
                    <a:pt x="282575" y="0"/>
                  </a:lnTo>
                  <a:close/>
                </a:path>
              </a:pathLst>
            </a:custGeom>
            <a:solidFill>
              <a:schemeClr val="bg1"/>
            </a:solidFill>
            <a:ln>
              <a:noFill/>
            </a:ln>
            <a:effectLst/>
          </p:spPr>
          <p:txBody>
            <a:bodyPr anchor="ctr"/>
            <a:lstStyle/>
            <a:p>
              <a:endParaRPr lang="en-US" sz="567" dirty="0">
                <a:latin typeface="+mj-lt"/>
              </a:endParaRPr>
            </a:p>
          </p:txBody>
        </p:sp>
      </p:grpSp>
      <p:sp>
        <p:nvSpPr>
          <p:cNvPr id="28" name="TextBox 58">
            <a:extLst>
              <a:ext uri="{FF2B5EF4-FFF2-40B4-BE49-F238E27FC236}">
                <a16:creationId xmlns:a16="http://schemas.microsoft.com/office/drawing/2014/main" xmlns="" id="{1874CCDC-64E5-4C2F-B847-E5475F5C7605}"/>
              </a:ext>
            </a:extLst>
          </p:cNvPr>
          <p:cNvSpPr txBox="1"/>
          <p:nvPr/>
        </p:nvSpPr>
        <p:spPr>
          <a:xfrm>
            <a:off x="3119726" y="1882677"/>
            <a:ext cx="2285902" cy="5293757"/>
          </a:xfrm>
          <a:prstGeom prst="rect">
            <a:avLst/>
          </a:prstGeom>
          <a:noFill/>
        </p:spPr>
        <p:txBody>
          <a:bodyPr wrap="square" rtlCol="0" anchor="t">
            <a:spAutoFit/>
          </a:bodyPr>
          <a:lstStyle/>
          <a:p>
            <a:r>
              <a:rPr lang="en-US" dirty="0">
                <a:solidFill>
                  <a:srgbClr val="245473"/>
                </a:solidFill>
                <a:latin typeface="+mj-lt"/>
                <a:ea typeface="Lato Light" panose="020F0502020204030203" pitchFamily="34" charset="0"/>
                <a:cs typeface="Lato Light" panose="020F0502020204030203" pitchFamily="34" charset="0"/>
              </a:rPr>
              <a:t>Además de tener en cuenta los ratios típicos o las comparaciones del sector, la planificación financiera debe contener y observar en particular los ratios acordados en los llamados "</a:t>
            </a:r>
            <a:r>
              <a:rPr lang="en-US" b="1" dirty="0">
                <a:solidFill>
                  <a:srgbClr val="245473"/>
                </a:solidFill>
                <a:latin typeface="+mj-lt"/>
                <a:ea typeface="Lato Light" panose="020F0502020204030203" pitchFamily="34" charset="0"/>
                <a:cs typeface="Lato Light" panose="020F0502020204030203" pitchFamily="34" charset="0"/>
              </a:rPr>
              <a:t>Covenants"</a:t>
            </a:r>
            <a:r>
              <a:rPr lang="en-US" dirty="0">
                <a:solidFill>
                  <a:srgbClr val="245473"/>
                </a:solidFill>
                <a:latin typeface="+mj-lt"/>
                <a:ea typeface="Lato Light" panose="020F0502020204030203" pitchFamily="34" charset="0"/>
                <a:cs typeface="Lato Light" panose="020F0502020204030203" pitchFamily="34" charset="0"/>
              </a:rPr>
              <a:t>.</a:t>
            </a:r>
          </a:p>
          <a:p>
            <a:endParaRPr lang="en-US" dirty="0">
              <a:solidFill>
                <a:srgbClr val="245473"/>
              </a:solidFill>
              <a:latin typeface="+mj-lt"/>
              <a:ea typeface="Lato Light" panose="020F0502020204030203" pitchFamily="34" charset="0"/>
              <a:cs typeface="Lato Light" panose="020F0502020204030203" pitchFamily="34" charset="0"/>
            </a:endParaRPr>
          </a:p>
          <a:p>
            <a:r>
              <a:rPr lang="en-US" dirty="0">
                <a:solidFill>
                  <a:srgbClr val="245473"/>
                </a:solidFill>
                <a:latin typeface="+mj-lt"/>
                <a:ea typeface="Lato Light" panose="020F0502020204030203" pitchFamily="34" charset="0"/>
                <a:cs typeface="Lato Light" panose="020F0502020204030203" pitchFamily="34" charset="0"/>
              </a:rPr>
              <a:t>Son ratios financieros que la empresa prestataria debe cumplir como condiciones de crédito para la financiación del préstamo.</a:t>
            </a:r>
          </a:p>
          <a:p>
            <a:endParaRPr lang="en-US" sz="1600" dirty="0">
              <a:latin typeface="+mj-lt"/>
              <a:ea typeface="Lato Light" panose="020F0502020204030203" pitchFamily="34" charset="0"/>
              <a:cs typeface="Lato Light" panose="020F0502020204030203" pitchFamily="34" charset="0"/>
            </a:endParaRPr>
          </a:p>
          <a:p>
            <a:endParaRPr lang="en-US" sz="1600" dirty="0">
              <a:latin typeface="+mj-lt"/>
              <a:ea typeface="Lato Light" panose="020F0502020204030203" pitchFamily="34" charset="0"/>
              <a:cs typeface="Lato Light" panose="020F0502020204030203" pitchFamily="34" charset="0"/>
            </a:endParaRPr>
          </a:p>
        </p:txBody>
      </p:sp>
      <p:sp>
        <p:nvSpPr>
          <p:cNvPr id="5" name="Rectangle 4">
            <a:extLst>
              <a:ext uri="{FF2B5EF4-FFF2-40B4-BE49-F238E27FC236}">
                <a16:creationId xmlns:a16="http://schemas.microsoft.com/office/drawing/2014/main" xmlns="" id="{E7D1F222-278B-8442-ABFB-78CF504390BE}"/>
              </a:ext>
            </a:extLst>
          </p:cNvPr>
          <p:cNvSpPr/>
          <p:nvPr/>
        </p:nvSpPr>
        <p:spPr>
          <a:xfrm>
            <a:off x="9719081" y="1914508"/>
            <a:ext cx="2500286" cy="4247317"/>
          </a:xfrm>
          <a:prstGeom prst="rect">
            <a:avLst/>
          </a:prstGeom>
        </p:spPr>
        <p:txBody>
          <a:bodyPr wrap="square">
            <a:spAutoFit/>
          </a:bodyPr>
          <a:lstStyle/>
          <a:p>
            <a:r>
              <a:rPr lang="en-US" dirty="0">
                <a:solidFill>
                  <a:srgbClr val="245473"/>
                </a:solidFill>
                <a:latin typeface="+mj-lt"/>
                <a:ea typeface="Lato Light" panose="020F0502020204030203" pitchFamily="34" charset="0"/>
                <a:cs typeface="Lato Light" panose="020F0502020204030203" pitchFamily="34" charset="0"/>
              </a:rPr>
              <a:t>El contrato estipula de qué ratios se trata, cómo se determinan los ratios, qué valor umbral es decisivo, con qué frecuencia y en qué intervalos no hay que observar los ratios respectivos. La evolución de los ratios muestra el curso previsto de la reestructuración y es una variable de control para medir los logros.</a:t>
            </a:r>
          </a:p>
        </p:txBody>
      </p:sp>
    </p:spTree>
    <p:extLst>
      <p:ext uri="{BB962C8B-B14F-4D97-AF65-F5344CB8AC3E}">
        <p14:creationId xmlns:p14="http://schemas.microsoft.com/office/powerpoint/2010/main" val="22928954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Reducir el impacto de la crisis -</a:t>
            </a:r>
          </a:p>
          <a:p>
            <a:r>
              <a:rPr lang="en-GB" dirty="0"/>
              <a:t>Medidas que incluyen una caja de herramientas básicas para identificar y mitigar las crisis</a:t>
            </a:r>
          </a:p>
          <a:p>
            <a:endParaRPr lang="en-GB" dirty="0"/>
          </a:p>
        </p:txBody>
      </p:sp>
    </p:spTree>
    <p:extLst>
      <p:ext uri="{BB962C8B-B14F-4D97-AF65-F5344CB8AC3E}">
        <p14:creationId xmlns:p14="http://schemas.microsoft.com/office/powerpoint/2010/main" val="57700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12563"/>
            <a:ext cx="8852375" cy="697353"/>
          </a:xfrm>
        </p:spPr>
        <p:txBody>
          <a:bodyPr>
            <a:normAutofit/>
          </a:bodyPr>
          <a:lstStyle/>
          <a:p>
            <a:r>
              <a:rPr lang="en-GB" dirty="0"/>
              <a:t>Caja de herramientas básicas para identificar y mitigar las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2063" y="1897573"/>
            <a:ext cx="2724999" cy="456052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contabilidad financiera/controlling debe garantizar que las cifras sean adecuadas para crear transparencia en el contexto de la recopilación de información</a:t>
            </a:r>
            <a:endParaRPr lang="en-US"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ransparencia a través de una comunicación abierta tanto interna como externa (especialmente los financiadores externos)</a:t>
            </a:r>
          </a:p>
        </p:txBody>
      </p:sp>
      <p:sp>
        <p:nvSpPr>
          <p:cNvPr id="24" name="Freeform 6">
            <a:extLst>
              <a:ext uri="{FF2B5EF4-FFF2-40B4-BE49-F238E27FC236}">
                <a16:creationId xmlns:a16="http://schemas.microsoft.com/office/drawing/2014/main" xmlns="" id="{758672DC-06CC-40F2-BBCB-D31FBFB25582}"/>
              </a:ext>
            </a:extLst>
          </p:cNvPr>
          <p:cNvSpPr>
            <a:spLocks noChangeArrowheads="1"/>
          </p:cNvSpPr>
          <p:nvPr/>
        </p:nvSpPr>
        <p:spPr bwMode="auto">
          <a:xfrm>
            <a:off x="4700110" y="4185941"/>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1"/>
          </a:solidFill>
          <a:ln>
            <a:noFill/>
          </a:ln>
          <a:effectLst/>
        </p:spPr>
        <p:txBody>
          <a:bodyPr wrap="none" anchor="ctr"/>
          <a:lstStyle/>
          <a:p>
            <a:endParaRPr lang="en-GB" sz="2450" dirty="0">
              <a:latin typeface="+mj-lt"/>
            </a:endParaRPr>
          </a:p>
        </p:txBody>
      </p:sp>
      <p:sp>
        <p:nvSpPr>
          <p:cNvPr id="25" name="Freeform 7">
            <a:extLst>
              <a:ext uri="{FF2B5EF4-FFF2-40B4-BE49-F238E27FC236}">
                <a16:creationId xmlns:a16="http://schemas.microsoft.com/office/drawing/2014/main" xmlns="" id="{DE3A98B4-27A6-4C98-8349-AC0BA8A9B6E2}"/>
              </a:ext>
            </a:extLst>
          </p:cNvPr>
          <p:cNvSpPr>
            <a:spLocks noChangeArrowheads="1"/>
          </p:cNvSpPr>
          <p:nvPr/>
        </p:nvSpPr>
        <p:spPr bwMode="auto">
          <a:xfrm>
            <a:off x="6358119" y="3834710"/>
            <a:ext cx="212229" cy="210987"/>
          </a:xfrm>
          <a:custGeom>
            <a:avLst/>
            <a:gdLst>
              <a:gd name="T0" fmla="*/ 0 w 755"/>
              <a:gd name="T1" fmla="*/ 750 h 751"/>
              <a:gd name="T2" fmla="*/ 754 w 755"/>
              <a:gd name="T3" fmla="*/ 750 h 751"/>
              <a:gd name="T4" fmla="*/ 754 w 755"/>
              <a:gd name="T5" fmla="*/ 0 h 751"/>
              <a:gd name="T6" fmla="*/ 750 w 755"/>
              <a:gd name="T7" fmla="*/ 0 h 751"/>
              <a:gd name="T8" fmla="*/ 0 w 755"/>
              <a:gd name="T9" fmla="*/ 750 h 751"/>
            </a:gdLst>
            <a:ahLst/>
            <a:cxnLst>
              <a:cxn ang="0">
                <a:pos x="T0" y="T1"/>
              </a:cxn>
              <a:cxn ang="0">
                <a:pos x="T2" y="T3"/>
              </a:cxn>
              <a:cxn ang="0">
                <a:pos x="T4" y="T5"/>
              </a:cxn>
              <a:cxn ang="0">
                <a:pos x="T6" y="T7"/>
              </a:cxn>
              <a:cxn ang="0">
                <a:pos x="T8" y="T9"/>
              </a:cxn>
            </a:cxnLst>
            <a:rect l="0" t="0" r="r" b="b"/>
            <a:pathLst>
              <a:path w="755" h="751">
                <a:moveTo>
                  <a:pt x="0" y="750"/>
                </a:moveTo>
                <a:lnTo>
                  <a:pt x="754" y="750"/>
                </a:lnTo>
                <a:lnTo>
                  <a:pt x="754" y="0"/>
                </a:lnTo>
                <a:lnTo>
                  <a:pt x="750" y="0"/>
                </a:lnTo>
                <a:lnTo>
                  <a:pt x="0" y="750"/>
                </a:lnTo>
              </a:path>
            </a:pathLst>
          </a:custGeom>
          <a:solidFill>
            <a:schemeClr val="accent2"/>
          </a:solidFill>
          <a:ln>
            <a:noFill/>
          </a:ln>
          <a:effectLst/>
        </p:spPr>
        <p:txBody>
          <a:bodyPr wrap="none" anchor="ctr"/>
          <a:lstStyle/>
          <a:p>
            <a:endParaRPr lang="en-GB" sz="2450" dirty="0">
              <a:latin typeface="+mj-lt"/>
            </a:endParaRPr>
          </a:p>
        </p:txBody>
      </p:sp>
      <p:sp>
        <p:nvSpPr>
          <p:cNvPr id="26" name="Freeform 8">
            <a:extLst>
              <a:ext uri="{FF2B5EF4-FFF2-40B4-BE49-F238E27FC236}">
                <a16:creationId xmlns:a16="http://schemas.microsoft.com/office/drawing/2014/main" xmlns="" id="{EFC6ECC0-24DA-40AF-8AAD-CD9378E87F53}"/>
              </a:ext>
            </a:extLst>
          </p:cNvPr>
          <p:cNvSpPr>
            <a:spLocks noChangeArrowheads="1"/>
          </p:cNvSpPr>
          <p:nvPr/>
        </p:nvSpPr>
        <p:spPr bwMode="auto">
          <a:xfrm>
            <a:off x="7976118" y="3508922"/>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3"/>
          </a:solidFill>
          <a:ln>
            <a:noFill/>
          </a:ln>
          <a:effectLst/>
        </p:spPr>
        <p:txBody>
          <a:bodyPr wrap="none" anchor="ctr"/>
          <a:lstStyle/>
          <a:p>
            <a:endParaRPr lang="en-GB" sz="2450" dirty="0">
              <a:latin typeface="+mj-lt"/>
            </a:endParaRPr>
          </a:p>
        </p:txBody>
      </p:sp>
      <p:sp>
        <p:nvSpPr>
          <p:cNvPr id="27" name="Freeform 77">
            <a:extLst>
              <a:ext uri="{FF2B5EF4-FFF2-40B4-BE49-F238E27FC236}">
                <a16:creationId xmlns:a16="http://schemas.microsoft.com/office/drawing/2014/main" xmlns="" id="{8B2ACDAA-C243-4037-8E3E-9590B3A7EA08}"/>
              </a:ext>
            </a:extLst>
          </p:cNvPr>
          <p:cNvSpPr>
            <a:spLocks noChangeArrowheads="1"/>
          </p:cNvSpPr>
          <p:nvPr/>
        </p:nvSpPr>
        <p:spPr bwMode="auto">
          <a:xfrm>
            <a:off x="5463413" y="2800215"/>
            <a:ext cx="232808" cy="147772"/>
          </a:xfrm>
          <a:custGeom>
            <a:avLst/>
            <a:gdLst>
              <a:gd name="connsiteX0" fmla="*/ 408053 w 620659"/>
              <a:gd name="connsiteY0" fmla="*/ 0 h 393956"/>
              <a:gd name="connsiteX1" fmla="*/ 403544 w 620659"/>
              <a:gd name="connsiteY1" fmla="*/ 60159 h 393956"/>
              <a:gd name="connsiteX2" fmla="*/ 290070 w 620659"/>
              <a:gd name="connsiteY2" fmla="*/ 141373 h 393956"/>
              <a:gd name="connsiteX3" fmla="*/ 369751 w 620659"/>
              <a:gd name="connsiteY3" fmla="*/ 152477 h 393956"/>
              <a:gd name="connsiteX4" fmla="*/ 372034 w 620659"/>
              <a:gd name="connsiteY4" fmla="*/ 152509 h 393956"/>
              <a:gd name="connsiteX5" fmla="*/ 571766 w 620659"/>
              <a:gd name="connsiteY5" fmla="*/ 136109 h 393956"/>
              <a:gd name="connsiteX6" fmla="*/ 577036 w 620659"/>
              <a:gd name="connsiteY6" fmla="*/ 192508 h 393956"/>
              <a:gd name="connsiteX7" fmla="*/ 383978 w 620659"/>
              <a:gd name="connsiteY7" fmla="*/ 208361 h 393956"/>
              <a:gd name="connsiteX8" fmla="*/ 384005 w 620659"/>
              <a:gd name="connsiteY8" fmla="*/ 209417 h 393956"/>
              <a:gd name="connsiteX9" fmla="*/ 383837 w 620659"/>
              <a:gd name="connsiteY9" fmla="*/ 215064 h 393956"/>
              <a:gd name="connsiteX10" fmla="*/ 590715 w 620659"/>
              <a:gd name="connsiteY10" fmla="*/ 205889 h 393956"/>
              <a:gd name="connsiteX11" fmla="*/ 593716 w 620659"/>
              <a:gd name="connsiteY11" fmla="*/ 262672 h 393956"/>
              <a:gd name="connsiteX12" fmla="*/ 382070 w 620659"/>
              <a:gd name="connsiteY12" fmla="*/ 272745 h 393956"/>
              <a:gd name="connsiteX13" fmla="*/ 381393 w 620659"/>
              <a:gd name="connsiteY13" fmla="*/ 277934 h 393956"/>
              <a:gd name="connsiteX14" fmla="*/ 580287 w 620659"/>
              <a:gd name="connsiteY14" fmla="*/ 277934 h 393956"/>
              <a:gd name="connsiteX15" fmla="*/ 580287 w 620659"/>
              <a:gd name="connsiteY15" fmla="*/ 333444 h 393956"/>
              <a:gd name="connsiteX16" fmla="*/ 374150 w 620659"/>
              <a:gd name="connsiteY16" fmla="*/ 333444 h 393956"/>
              <a:gd name="connsiteX17" fmla="*/ 374048 w 620659"/>
              <a:gd name="connsiteY17" fmla="*/ 334223 h 393956"/>
              <a:gd name="connsiteX18" fmla="*/ 372905 w 620659"/>
              <a:gd name="connsiteY18" fmla="*/ 337820 h 393956"/>
              <a:gd name="connsiteX19" fmla="*/ 527826 w 620659"/>
              <a:gd name="connsiteY19" fmla="*/ 339683 h 393956"/>
              <a:gd name="connsiteX20" fmla="*/ 527826 w 620659"/>
              <a:gd name="connsiteY20" fmla="*/ 385665 h 393956"/>
              <a:gd name="connsiteX21" fmla="*/ 358134 w 620659"/>
              <a:gd name="connsiteY21" fmla="*/ 384306 h 393956"/>
              <a:gd name="connsiteX22" fmla="*/ 356952 w 620659"/>
              <a:gd name="connsiteY22" fmla="*/ 388026 h 393956"/>
              <a:gd name="connsiteX23" fmla="*/ 130757 w 620659"/>
              <a:gd name="connsiteY23" fmla="*/ 360954 h 393956"/>
              <a:gd name="connsiteX24" fmla="*/ 0 w 620659"/>
              <a:gd name="connsiteY24" fmla="*/ 360954 h 393956"/>
              <a:gd name="connsiteX25" fmla="*/ 12775 w 620659"/>
              <a:gd name="connsiteY25" fmla="*/ 170701 h 393956"/>
              <a:gd name="connsiteX26" fmla="*/ 136017 w 620659"/>
              <a:gd name="connsiteY26" fmla="*/ 157917 h 393956"/>
              <a:gd name="connsiteX27" fmla="*/ 350189 w 620659"/>
              <a:gd name="connsiteY27" fmla="*/ 30079 h 393956"/>
              <a:gd name="connsiteX28" fmla="*/ 408053 w 620659"/>
              <a:gd name="connsiteY28" fmla="*/ 0 h 39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0659" h="393956">
                <a:moveTo>
                  <a:pt x="408053" y="0"/>
                </a:moveTo>
                <a:cubicBezTo>
                  <a:pt x="408053" y="0"/>
                  <a:pt x="442621" y="27823"/>
                  <a:pt x="403544" y="60159"/>
                </a:cubicBezTo>
                <a:cubicBezTo>
                  <a:pt x="365970" y="93246"/>
                  <a:pt x="267526" y="120318"/>
                  <a:pt x="290070" y="141373"/>
                </a:cubicBezTo>
                <a:cubicBezTo>
                  <a:pt x="299088" y="149833"/>
                  <a:pt x="346573" y="151948"/>
                  <a:pt x="369751" y="152477"/>
                </a:cubicBezTo>
                <a:lnTo>
                  <a:pt x="372034" y="152509"/>
                </a:lnTo>
                <a:lnTo>
                  <a:pt x="571766" y="136109"/>
                </a:lnTo>
                <a:cubicBezTo>
                  <a:pt x="609403" y="132349"/>
                  <a:pt x="614672" y="189500"/>
                  <a:pt x="577036" y="192508"/>
                </a:cubicBezTo>
                <a:lnTo>
                  <a:pt x="383978" y="208361"/>
                </a:lnTo>
                <a:lnTo>
                  <a:pt x="384005" y="209417"/>
                </a:lnTo>
                <a:lnTo>
                  <a:pt x="383837" y="215064"/>
                </a:lnTo>
                <a:lnTo>
                  <a:pt x="590715" y="205889"/>
                </a:lnTo>
                <a:cubicBezTo>
                  <a:pt x="628970" y="205142"/>
                  <a:pt x="631220" y="261178"/>
                  <a:pt x="593716" y="262672"/>
                </a:cubicBezTo>
                <a:lnTo>
                  <a:pt x="382070" y="272745"/>
                </a:lnTo>
                <a:lnTo>
                  <a:pt x="381393" y="277934"/>
                </a:lnTo>
                <a:lnTo>
                  <a:pt x="580287" y="277934"/>
                </a:lnTo>
                <a:cubicBezTo>
                  <a:pt x="617981" y="277934"/>
                  <a:pt x="617981" y="333444"/>
                  <a:pt x="580287" y="333444"/>
                </a:cubicBezTo>
                <a:lnTo>
                  <a:pt x="374150" y="333444"/>
                </a:lnTo>
                <a:lnTo>
                  <a:pt x="374048" y="334223"/>
                </a:lnTo>
                <a:lnTo>
                  <a:pt x="372905" y="337820"/>
                </a:lnTo>
                <a:lnTo>
                  <a:pt x="527826" y="339683"/>
                </a:lnTo>
                <a:cubicBezTo>
                  <a:pt x="558432" y="339683"/>
                  <a:pt x="557685" y="386395"/>
                  <a:pt x="527826" y="385665"/>
                </a:cubicBezTo>
                <a:lnTo>
                  <a:pt x="358134" y="384306"/>
                </a:lnTo>
                <a:lnTo>
                  <a:pt x="356952" y="388026"/>
                </a:lnTo>
                <a:cubicBezTo>
                  <a:pt x="356952" y="388026"/>
                  <a:pt x="141278" y="412841"/>
                  <a:pt x="130757" y="360954"/>
                </a:cubicBezTo>
                <a:cubicBezTo>
                  <a:pt x="97692" y="360954"/>
                  <a:pt x="21793" y="360954"/>
                  <a:pt x="0" y="360954"/>
                </a:cubicBezTo>
                <a:lnTo>
                  <a:pt x="12775" y="170701"/>
                </a:lnTo>
                <a:cubicBezTo>
                  <a:pt x="59367" y="166189"/>
                  <a:pt x="99946" y="163181"/>
                  <a:pt x="136017" y="157917"/>
                </a:cubicBezTo>
                <a:cubicBezTo>
                  <a:pt x="168331" y="72191"/>
                  <a:pt x="284810" y="64671"/>
                  <a:pt x="350189" y="30079"/>
                </a:cubicBezTo>
                <a:cubicBezTo>
                  <a:pt x="382503" y="14288"/>
                  <a:pt x="408053" y="0"/>
                  <a:pt x="408053" y="0"/>
                </a:cubicBez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28" name="Freeform 15">
            <a:extLst>
              <a:ext uri="{FF2B5EF4-FFF2-40B4-BE49-F238E27FC236}">
                <a16:creationId xmlns:a16="http://schemas.microsoft.com/office/drawing/2014/main" xmlns="" id="{9D99425B-A08D-4CF3-8ADC-A090DAA326BF}"/>
              </a:ext>
            </a:extLst>
          </p:cNvPr>
          <p:cNvSpPr>
            <a:spLocks noChangeArrowheads="1"/>
          </p:cNvSpPr>
          <p:nvPr/>
        </p:nvSpPr>
        <p:spPr bwMode="auto">
          <a:xfrm>
            <a:off x="4999241" y="2609086"/>
            <a:ext cx="522504" cy="451760"/>
          </a:xfrm>
          <a:custGeom>
            <a:avLst/>
            <a:gdLst>
              <a:gd name="T0" fmla="*/ 283 w 1858"/>
              <a:gd name="T1" fmla="*/ 0 h 1605"/>
              <a:gd name="T2" fmla="*/ 753 w 1858"/>
              <a:gd name="T3" fmla="*/ 991 h 1605"/>
              <a:gd name="T4" fmla="*/ 1779 w 1858"/>
              <a:gd name="T5" fmla="*/ 805 h 1605"/>
              <a:gd name="T6" fmla="*/ 1857 w 1858"/>
              <a:gd name="T7" fmla="*/ 1258 h 1605"/>
              <a:gd name="T8" fmla="*/ 461 w 1858"/>
              <a:gd name="T9" fmla="*/ 1604 h 1605"/>
              <a:gd name="T10" fmla="*/ 0 w 1858"/>
              <a:gd name="T11" fmla="*/ 752 h 1605"/>
              <a:gd name="T12" fmla="*/ 283 w 1858"/>
              <a:gd name="T13" fmla="*/ 0 h 1605"/>
            </a:gdLst>
            <a:ahLst/>
            <a:cxnLst>
              <a:cxn ang="0">
                <a:pos x="T0" y="T1"/>
              </a:cxn>
              <a:cxn ang="0">
                <a:pos x="T2" y="T3"/>
              </a:cxn>
              <a:cxn ang="0">
                <a:pos x="T4" y="T5"/>
              </a:cxn>
              <a:cxn ang="0">
                <a:pos x="T6" y="T7"/>
              </a:cxn>
              <a:cxn ang="0">
                <a:pos x="T8" y="T9"/>
              </a:cxn>
              <a:cxn ang="0">
                <a:pos x="T10" y="T11"/>
              </a:cxn>
              <a:cxn ang="0">
                <a:pos x="T12" y="T13"/>
              </a:cxn>
            </a:cxnLst>
            <a:rect l="0" t="0" r="r" b="b"/>
            <a:pathLst>
              <a:path w="1858" h="1605">
                <a:moveTo>
                  <a:pt x="283" y="0"/>
                </a:moveTo>
                <a:lnTo>
                  <a:pt x="753" y="991"/>
                </a:lnTo>
                <a:lnTo>
                  <a:pt x="1779" y="805"/>
                </a:lnTo>
                <a:lnTo>
                  <a:pt x="1857" y="1258"/>
                </a:lnTo>
                <a:lnTo>
                  <a:pt x="461" y="1604"/>
                </a:lnTo>
                <a:lnTo>
                  <a:pt x="0" y="752"/>
                </a:lnTo>
                <a:lnTo>
                  <a:pt x="283" y="0"/>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29" name="Freeform 16">
            <a:extLst>
              <a:ext uri="{FF2B5EF4-FFF2-40B4-BE49-F238E27FC236}">
                <a16:creationId xmlns:a16="http://schemas.microsoft.com/office/drawing/2014/main" xmlns="" id="{DD78D3A7-2700-47F5-B316-017B7C9DBDCE}"/>
              </a:ext>
            </a:extLst>
          </p:cNvPr>
          <p:cNvSpPr>
            <a:spLocks noChangeArrowheads="1"/>
          </p:cNvSpPr>
          <p:nvPr/>
        </p:nvSpPr>
        <p:spPr bwMode="auto">
          <a:xfrm>
            <a:off x="3667541" y="2831243"/>
            <a:ext cx="490235" cy="544842"/>
          </a:xfrm>
          <a:custGeom>
            <a:avLst/>
            <a:gdLst>
              <a:gd name="T0" fmla="*/ 1740 w 1741"/>
              <a:gd name="T1" fmla="*/ 1467 h 1936"/>
              <a:gd name="T2" fmla="*/ 1166 w 1741"/>
              <a:gd name="T3" fmla="*/ 1906 h 1936"/>
              <a:gd name="T4" fmla="*/ 1166 w 1741"/>
              <a:gd name="T5" fmla="*/ 1906 h 1936"/>
              <a:gd name="T6" fmla="*/ 1049 w 1741"/>
              <a:gd name="T7" fmla="*/ 1890 h 1936"/>
              <a:gd name="T8" fmla="*/ 29 w 1741"/>
              <a:gd name="T9" fmla="*/ 557 h 1936"/>
              <a:gd name="T10" fmla="*/ 29 w 1741"/>
              <a:gd name="T11" fmla="*/ 557 h 1936"/>
              <a:gd name="T12" fmla="*/ 45 w 1741"/>
              <a:gd name="T13" fmla="*/ 439 h 1936"/>
              <a:gd name="T14" fmla="*/ 619 w 1741"/>
              <a:gd name="T15" fmla="*/ 0 h 1936"/>
              <a:gd name="T16" fmla="*/ 619 w 1741"/>
              <a:gd name="T17" fmla="*/ 0 h 1936"/>
              <a:gd name="T18" fmla="*/ 603 w 1741"/>
              <a:gd name="T19" fmla="*/ 119 h 1936"/>
              <a:gd name="T20" fmla="*/ 1621 w 1741"/>
              <a:gd name="T21" fmla="*/ 1452 h 1936"/>
              <a:gd name="T22" fmla="*/ 1621 w 1741"/>
              <a:gd name="T23" fmla="*/ 1452 h 1936"/>
              <a:gd name="T24" fmla="*/ 1740 w 1741"/>
              <a:gd name="T25" fmla="*/ 1467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936">
                <a:moveTo>
                  <a:pt x="1740" y="1467"/>
                </a:moveTo>
                <a:lnTo>
                  <a:pt x="1166" y="1906"/>
                </a:lnTo>
                <a:lnTo>
                  <a:pt x="1166" y="1906"/>
                </a:lnTo>
                <a:cubicBezTo>
                  <a:pt x="1130" y="1935"/>
                  <a:pt x="1076" y="1928"/>
                  <a:pt x="1049" y="1890"/>
                </a:cubicBezTo>
                <a:lnTo>
                  <a:pt x="29" y="557"/>
                </a:lnTo>
                <a:lnTo>
                  <a:pt x="29" y="557"/>
                </a:lnTo>
                <a:cubicBezTo>
                  <a:pt x="0" y="520"/>
                  <a:pt x="8" y="468"/>
                  <a:pt x="45" y="439"/>
                </a:cubicBezTo>
                <a:lnTo>
                  <a:pt x="619" y="0"/>
                </a:lnTo>
                <a:lnTo>
                  <a:pt x="619" y="0"/>
                </a:lnTo>
                <a:cubicBezTo>
                  <a:pt x="582" y="29"/>
                  <a:pt x="574" y="82"/>
                  <a:pt x="603" y="119"/>
                </a:cubicBezTo>
                <a:lnTo>
                  <a:pt x="1621" y="1452"/>
                </a:lnTo>
                <a:lnTo>
                  <a:pt x="1621" y="1452"/>
                </a:lnTo>
                <a:cubicBezTo>
                  <a:pt x="1650" y="1489"/>
                  <a:pt x="1703" y="1496"/>
                  <a:pt x="1740" y="1467"/>
                </a:cubicBezTo>
              </a:path>
            </a:pathLst>
          </a:custGeom>
          <a:solidFill>
            <a:srgbClr val="28282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0" name="Freeform 78">
            <a:extLst>
              <a:ext uri="{FF2B5EF4-FFF2-40B4-BE49-F238E27FC236}">
                <a16:creationId xmlns:a16="http://schemas.microsoft.com/office/drawing/2014/main" xmlns="" id="{0A2EBD7C-64B4-4CD4-ADF2-D2E1CDE69CEF}"/>
              </a:ext>
            </a:extLst>
          </p:cNvPr>
          <p:cNvSpPr>
            <a:spLocks noChangeArrowheads="1"/>
          </p:cNvSpPr>
          <p:nvPr/>
        </p:nvSpPr>
        <p:spPr bwMode="auto">
          <a:xfrm>
            <a:off x="3832099" y="2731374"/>
            <a:ext cx="457564" cy="517207"/>
          </a:xfrm>
          <a:custGeom>
            <a:avLst/>
            <a:gdLst>
              <a:gd name="connsiteX0" fmla="*/ 827635 w 1219852"/>
              <a:gd name="connsiteY0" fmla="*/ 347519 h 1378859"/>
              <a:gd name="connsiteX1" fmla="*/ 811843 w 1219852"/>
              <a:gd name="connsiteY1" fmla="*/ 351753 h 1378859"/>
              <a:gd name="connsiteX2" fmla="*/ 736429 w 1219852"/>
              <a:gd name="connsiteY2" fmla="*/ 409315 h 1378859"/>
              <a:gd name="connsiteX3" fmla="*/ 914342 w 1219852"/>
              <a:gd name="connsiteY3" fmla="*/ 642867 h 1378859"/>
              <a:gd name="connsiteX4" fmla="*/ 990065 w 1219852"/>
              <a:gd name="connsiteY4" fmla="*/ 585069 h 1378859"/>
              <a:gd name="connsiteX5" fmla="*/ 994577 w 1219852"/>
              <a:gd name="connsiteY5" fmla="*/ 554964 h 1378859"/>
              <a:gd name="connsiteX6" fmla="*/ 841171 w 1219852"/>
              <a:gd name="connsiteY6" fmla="*/ 356269 h 1378859"/>
              <a:gd name="connsiteX7" fmla="*/ 827635 w 1219852"/>
              <a:gd name="connsiteY7" fmla="*/ 347519 h 1378859"/>
              <a:gd name="connsiteX8" fmla="*/ 400856 w 1219852"/>
              <a:gd name="connsiteY8" fmla="*/ 628 h 1378859"/>
              <a:gd name="connsiteX9" fmla="*/ 443392 w 1219852"/>
              <a:gd name="connsiteY9" fmla="*/ 24637 h 1378859"/>
              <a:gd name="connsiteX10" fmla="*/ 693116 w 1219852"/>
              <a:gd name="connsiteY10" fmla="*/ 352458 h 1378859"/>
              <a:gd name="connsiteX11" fmla="*/ 768980 w 1219852"/>
              <a:gd name="connsiteY11" fmla="*/ 294553 h 1378859"/>
              <a:gd name="connsiteX12" fmla="*/ 899074 w 1219852"/>
              <a:gd name="connsiteY12" fmla="*/ 311863 h 1378859"/>
              <a:gd name="connsiteX13" fmla="*/ 1052480 w 1219852"/>
              <a:gd name="connsiteY13" fmla="*/ 511311 h 1378859"/>
              <a:gd name="connsiteX14" fmla="*/ 1034432 w 1219852"/>
              <a:gd name="connsiteY14" fmla="*/ 643022 h 1378859"/>
              <a:gd name="connsiteX15" fmla="*/ 958570 w 1219852"/>
              <a:gd name="connsiteY15" fmla="*/ 700926 h 1378859"/>
              <a:gd name="connsiteX16" fmla="*/ 1206410 w 1219852"/>
              <a:gd name="connsiteY16" fmla="*/ 1026273 h 1378859"/>
              <a:gd name="connsiteX17" fmla="*/ 1195167 w 1219852"/>
              <a:gd name="connsiteY17" fmla="*/ 1113307 h 1378859"/>
              <a:gd name="connsiteX18" fmla="*/ 865376 w 1219852"/>
              <a:gd name="connsiteY18" fmla="*/ 1365404 h 1378859"/>
              <a:gd name="connsiteX19" fmla="*/ 776182 w 1219852"/>
              <a:gd name="connsiteY19" fmla="*/ 1354149 h 1378859"/>
              <a:gd name="connsiteX20" fmla="*/ 13163 w 1219852"/>
              <a:gd name="connsiteY20" fmla="*/ 354015 h 1378859"/>
              <a:gd name="connsiteX21" fmla="*/ 25156 w 1219852"/>
              <a:gd name="connsiteY21" fmla="*/ 264730 h 1378859"/>
              <a:gd name="connsiteX22" fmla="*/ 354947 w 1219852"/>
              <a:gd name="connsiteY22" fmla="*/ 12633 h 1378859"/>
              <a:gd name="connsiteX23" fmla="*/ 400856 w 1219852"/>
              <a:gd name="connsiteY23" fmla="*/ 628 h 137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852" h="1378859">
                <a:moveTo>
                  <a:pt x="827635" y="347519"/>
                </a:moveTo>
                <a:cubicBezTo>
                  <a:pt x="822183" y="346673"/>
                  <a:pt x="816355" y="347990"/>
                  <a:pt x="811843" y="351753"/>
                </a:cubicBezTo>
                <a:lnTo>
                  <a:pt x="736429" y="409315"/>
                </a:lnTo>
                <a:lnTo>
                  <a:pt x="914342" y="642867"/>
                </a:lnTo>
                <a:lnTo>
                  <a:pt x="990065" y="585069"/>
                </a:lnTo>
                <a:cubicBezTo>
                  <a:pt x="999840" y="579048"/>
                  <a:pt x="1001344" y="564748"/>
                  <a:pt x="994577" y="554964"/>
                </a:cubicBezTo>
                <a:lnTo>
                  <a:pt x="841171" y="356269"/>
                </a:lnTo>
                <a:cubicBezTo>
                  <a:pt x="838163" y="351377"/>
                  <a:pt x="833087" y="348366"/>
                  <a:pt x="827635" y="347519"/>
                </a:cubicBezTo>
                <a:close/>
                <a:moveTo>
                  <a:pt x="400856" y="628"/>
                </a:moveTo>
                <a:cubicBezTo>
                  <a:pt x="416971" y="2879"/>
                  <a:pt x="432524" y="11132"/>
                  <a:pt x="443392" y="24637"/>
                </a:cubicBezTo>
                <a:lnTo>
                  <a:pt x="693116" y="352458"/>
                </a:lnTo>
                <a:lnTo>
                  <a:pt x="768980" y="294553"/>
                </a:lnTo>
                <a:cubicBezTo>
                  <a:pt x="809587" y="262942"/>
                  <a:pt x="867491" y="271221"/>
                  <a:pt x="899074" y="311863"/>
                </a:cubicBezTo>
                <a:lnTo>
                  <a:pt x="1052480" y="511311"/>
                </a:lnTo>
                <a:cubicBezTo>
                  <a:pt x="1082559" y="553458"/>
                  <a:pt x="1075039" y="610658"/>
                  <a:pt x="1034432" y="643022"/>
                </a:cubicBezTo>
                <a:lnTo>
                  <a:pt x="958570" y="700926"/>
                </a:lnTo>
                <a:lnTo>
                  <a:pt x="1206410" y="1026273"/>
                </a:lnTo>
                <a:cubicBezTo>
                  <a:pt x="1228147" y="1052533"/>
                  <a:pt x="1222900" y="1093049"/>
                  <a:pt x="1195167" y="1113307"/>
                </a:cubicBezTo>
                <a:lnTo>
                  <a:pt x="865376" y="1365404"/>
                </a:lnTo>
                <a:cubicBezTo>
                  <a:pt x="837643" y="1387162"/>
                  <a:pt x="797918" y="1381910"/>
                  <a:pt x="776182" y="1354149"/>
                </a:cubicBezTo>
                <a:lnTo>
                  <a:pt x="13163" y="354015"/>
                </a:lnTo>
                <a:cubicBezTo>
                  <a:pt x="-8573" y="326254"/>
                  <a:pt x="-2577" y="286489"/>
                  <a:pt x="25156" y="264730"/>
                </a:cubicBezTo>
                <a:lnTo>
                  <a:pt x="354947" y="12633"/>
                </a:lnTo>
                <a:cubicBezTo>
                  <a:pt x="368064" y="2129"/>
                  <a:pt x="384741" y="-1623"/>
                  <a:pt x="400856" y="628"/>
                </a:cubicBezTo>
                <a:close/>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31" name="Freeform 76">
            <a:extLst>
              <a:ext uri="{FF2B5EF4-FFF2-40B4-BE49-F238E27FC236}">
                <a16:creationId xmlns:a16="http://schemas.microsoft.com/office/drawing/2014/main" xmlns="" id="{CCCA3169-248C-4CA6-970A-517789137C69}"/>
              </a:ext>
            </a:extLst>
          </p:cNvPr>
          <p:cNvSpPr>
            <a:spLocks noChangeArrowheads="1"/>
          </p:cNvSpPr>
          <p:nvPr/>
        </p:nvSpPr>
        <p:spPr bwMode="auto">
          <a:xfrm>
            <a:off x="4121238" y="2662454"/>
            <a:ext cx="423480" cy="293156"/>
          </a:xfrm>
          <a:custGeom>
            <a:avLst/>
            <a:gdLst>
              <a:gd name="connsiteX0" fmla="*/ 869451 w 1128985"/>
              <a:gd name="connsiteY0" fmla="*/ 0 h 781547"/>
              <a:gd name="connsiteX1" fmla="*/ 1128985 w 1128985"/>
              <a:gd name="connsiteY1" fmla="*/ 139041 h 781547"/>
              <a:gd name="connsiteX2" fmla="*/ 373635 w 1128985"/>
              <a:gd name="connsiteY2" fmla="*/ 541882 h 781547"/>
              <a:gd name="connsiteX3" fmla="*/ 372915 w 1128985"/>
              <a:gd name="connsiteY3" fmla="*/ 540159 h 781547"/>
              <a:gd name="connsiteX4" fmla="*/ 370525 w 1128985"/>
              <a:gd name="connsiteY4" fmla="*/ 541496 h 781547"/>
              <a:gd name="connsiteX5" fmla="*/ 308363 w 1128985"/>
              <a:gd name="connsiteY5" fmla="*/ 760258 h 781547"/>
              <a:gd name="connsiteX6" fmla="*/ 268576 w 1128985"/>
              <a:gd name="connsiteY6" fmla="*/ 736766 h 781547"/>
              <a:gd name="connsiteX7" fmla="*/ 260481 w 1128985"/>
              <a:gd name="connsiteY7" fmla="*/ 726745 h 781547"/>
              <a:gd name="connsiteX8" fmla="*/ 253821 w 1128985"/>
              <a:gd name="connsiteY8" fmla="*/ 732495 h 781547"/>
              <a:gd name="connsiteX9" fmla="*/ 178622 w 1128985"/>
              <a:gd name="connsiteY9" fmla="*/ 774827 h 781547"/>
              <a:gd name="connsiteX10" fmla="*/ 101002 w 1128985"/>
              <a:gd name="connsiteY10" fmla="*/ 716467 h 781547"/>
              <a:gd name="connsiteX11" fmla="*/ 101849 w 1128985"/>
              <a:gd name="connsiteY11" fmla="*/ 714699 h 781547"/>
              <a:gd name="connsiteX12" fmla="*/ 73316 w 1128985"/>
              <a:gd name="connsiteY12" fmla="*/ 690524 h 781547"/>
              <a:gd name="connsiteX13" fmla="*/ 67006 w 1128985"/>
              <a:gd name="connsiteY13" fmla="*/ 653281 h 781547"/>
              <a:gd name="connsiteX14" fmla="*/ 68249 w 1128985"/>
              <a:gd name="connsiteY14" fmla="*/ 650682 h 781547"/>
              <a:gd name="connsiteX15" fmla="*/ 41233 w 1128985"/>
              <a:gd name="connsiteY15" fmla="*/ 628118 h 781547"/>
              <a:gd name="connsiteX16" fmla="*/ 34504 w 1128985"/>
              <a:gd name="connsiteY16" fmla="*/ 590723 h 781547"/>
              <a:gd name="connsiteX17" fmla="*/ 35223 w 1128985"/>
              <a:gd name="connsiteY17" fmla="*/ 589185 h 781547"/>
              <a:gd name="connsiteX18" fmla="*/ 7701 w 1128985"/>
              <a:gd name="connsiteY18" fmla="*/ 566199 h 781547"/>
              <a:gd name="connsiteX19" fmla="*/ 27763 w 1128985"/>
              <a:gd name="connsiteY19" fmla="*/ 495873 h 781547"/>
              <a:gd name="connsiteX20" fmla="*/ 101664 w 1128985"/>
              <a:gd name="connsiteY20" fmla="*/ 455419 h 781547"/>
              <a:gd name="connsiteX21" fmla="*/ 112337 w 1128985"/>
              <a:gd name="connsiteY21" fmla="*/ 451846 h 781547"/>
              <a:gd name="connsiteX22" fmla="*/ 110643 w 1128985"/>
              <a:gd name="connsiteY22" fmla="*/ 448278 h 781547"/>
              <a:gd name="connsiteX23" fmla="*/ 305011 w 1128985"/>
              <a:gd name="connsiteY23" fmla="*/ 340504 h 78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8985" h="781547">
                <a:moveTo>
                  <a:pt x="869451" y="0"/>
                </a:moveTo>
                <a:lnTo>
                  <a:pt x="1128985" y="139041"/>
                </a:lnTo>
                <a:lnTo>
                  <a:pt x="373635" y="541882"/>
                </a:lnTo>
                <a:lnTo>
                  <a:pt x="372915" y="540159"/>
                </a:lnTo>
                <a:lnTo>
                  <a:pt x="370525" y="541496"/>
                </a:lnTo>
                <a:cubicBezTo>
                  <a:pt x="497845" y="675309"/>
                  <a:pt x="336074" y="744471"/>
                  <a:pt x="308363" y="760258"/>
                </a:cubicBezTo>
                <a:cubicBezTo>
                  <a:pt x="308363" y="760258"/>
                  <a:pt x="285520" y="750109"/>
                  <a:pt x="268576" y="736766"/>
                </a:cubicBezTo>
                <a:lnTo>
                  <a:pt x="260481" y="726745"/>
                </a:lnTo>
                <a:lnTo>
                  <a:pt x="253821" y="732495"/>
                </a:lnTo>
                <a:lnTo>
                  <a:pt x="178622" y="774827"/>
                </a:lnTo>
                <a:cubicBezTo>
                  <a:pt x="135194" y="798639"/>
                  <a:pt x="92613" y="754417"/>
                  <a:pt x="101002" y="716467"/>
                </a:cubicBezTo>
                <a:lnTo>
                  <a:pt x="101849" y="714699"/>
                </a:lnTo>
                <a:lnTo>
                  <a:pt x="73316" y="690524"/>
                </a:lnTo>
                <a:cubicBezTo>
                  <a:pt x="66831" y="679275"/>
                  <a:pt x="64148" y="665931"/>
                  <a:pt x="67006" y="653281"/>
                </a:cubicBezTo>
                <a:lnTo>
                  <a:pt x="68249" y="650682"/>
                </a:lnTo>
                <a:lnTo>
                  <a:pt x="41233" y="628118"/>
                </a:lnTo>
                <a:cubicBezTo>
                  <a:pt x="34586" y="616874"/>
                  <a:pt x="31734" y="603503"/>
                  <a:pt x="34504" y="590723"/>
                </a:cubicBezTo>
                <a:lnTo>
                  <a:pt x="35223" y="589185"/>
                </a:lnTo>
                <a:lnTo>
                  <a:pt x="7701" y="566199"/>
                </a:lnTo>
                <a:cubicBezTo>
                  <a:pt x="-5456" y="544006"/>
                  <a:pt x="-3590" y="513478"/>
                  <a:pt x="27763" y="495873"/>
                </a:cubicBezTo>
                <a:lnTo>
                  <a:pt x="101664" y="455419"/>
                </a:lnTo>
                <a:lnTo>
                  <a:pt x="112337" y="451846"/>
                </a:lnTo>
                <a:lnTo>
                  <a:pt x="110643" y="448278"/>
                </a:lnTo>
                <a:lnTo>
                  <a:pt x="305011" y="340504"/>
                </a:ln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32" name="Freeform 21">
            <a:extLst>
              <a:ext uri="{FF2B5EF4-FFF2-40B4-BE49-F238E27FC236}">
                <a16:creationId xmlns:a16="http://schemas.microsoft.com/office/drawing/2014/main" xmlns="" id="{C3E3E238-64A9-4EA9-955B-AB5B4853A358}"/>
              </a:ext>
            </a:extLst>
          </p:cNvPr>
          <p:cNvSpPr>
            <a:spLocks noChangeArrowheads="1"/>
          </p:cNvSpPr>
          <p:nvPr/>
        </p:nvSpPr>
        <p:spPr bwMode="auto">
          <a:xfrm>
            <a:off x="4513971" y="2491183"/>
            <a:ext cx="601934" cy="783133"/>
          </a:xfrm>
          <a:custGeom>
            <a:avLst/>
            <a:gdLst>
              <a:gd name="T0" fmla="*/ 0 w 2138"/>
              <a:gd name="T1" fmla="*/ 2511 h 2783"/>
              <a:gd name="T2" fmla="*/ 0 w 2138"/>
              <a:gd name="T3" fmla="*/ 2511 h 2783"/>
              <a:gd name="T4" fmla="*/ 1037 w 2138"/>
              <a:gd name="T5" fmla="*/ 311 h 2783"/>
              <a:gd name="T6" fmla="*/ 1688 w 2138"/>
              <a:gd name="T7" fmla="*/ 0 h 2783"/>
              <a:gd name="T8" fmla="*/ 2137 w 2138"/>
              <a:gd name="T9" fmla="*/ 396 h 2783"/>
              <a:gd name="T10" fmla="*/ 2137 w 2138"/>
              <a:gd name="T11" fmla="*/ 396 h 2783"/>
              <a:gd name="T12" fmla="*/ 1916 w 2138"/>
              <a:gd name="T13" fmla="*/ 1261 h 2783"/>
              <a:gd name="T14" fmla="*/ 1181 w 2138"/>
              <a:gd name="T15" fmla="*/ 2782 h 2783"/>
              <a:gd name="T16" fmla="*/ 0 w 2138"/>
              <a:gd name="T17" fmla="*/ 2511 h 2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8" h="2783">
                <a:moveTo>
                  <a:pt x="0" y="2511"/>
                </a:moveTo>
                <a:lnTo>
                  <a:pt x="0" y="2511"/>
                </a:lnTo>
                <a:cubicBezTo>
                  <a:pt x="0" y="2511"/>
                  <a:pt x="778" y="571"/>
                  <a:pt x="1037" y="311"/>
                </a:cubicBezTo>
                <a:lnTo>
                  <a:pt x="1688" y="0"/>
                </a:lnTo>
                <a:lnTo>
                  <a:pt x="2137" y="396"/>
                </a:lnTo>
                <a:lnTo>
                  <a:pt x="2137" y="396"/>
                </a:lnTo>
                <a:cubicBezTo>
                  <a:pt x="2137" y="396"/>
                  <a:pt x="2011" y="1066"/>
                  <a:pt x="1916" y="1261"/>
                </a:cubicBezTo>
                <a:lnTo>
                  <a:pt x="1181" y="2782"/>
                </a:lnTo>
                <a:lnTo>
                  <a:pt x="0" y="2511"/>
                </a:lnTo>
              </a:path>
            </a:pathLst>
          </a:custGeom>
          <a:solidFill>
            <a:schemeClr val="bg1">
              <a:lumMod val="75000"/>
            </a:schemeClr>
          </a:solidFill>
          <a:ln>
            <a:noFill/>
          </a:ln>
          <a:effectLst/>
        </p:spPr>
        <p:txBody>
          <a:bodyPr wrap="none" anchor="ctr"/>
          <a:lstStyle/>
          <a:p>
            <a:endParaRPr lang="en-GB" sz="2450" dirty="0">
              <a:latin typeface="+mj-lt"/>
            </a:endParaRPr>
          </a:p>
        </p:txBody>
      </p:sp>
      <p:sp>
        <p:nvSpPr>
          <p:cNvPr id="33" name="Freeform 27">
            <a:extLst>
              <a:ext uri="{FF2B5EF4-FFF2-40B4-BE49-F238E27FC236}">
                <a16:creationId xmlns:a16="http://schemas.microsoft.com/office/drawing/2014/main" xmlns="" id="{CABCA2B8-BA3F-4C55-A5C5-54927E1CA8A1}"/>
              </a:ext>
            </a:extLst>
          </p:cNvPr>
          <p:cNvSpPr>
            <a:spLocks noChangeArrowheads="1"/>
          </p:cNvSpPr>
          <p:nvPr/>
        </p:nvSpPr>
        <p:spPr bwMode="auto">
          <a:xfrm>
            <a:off x="4971938" y="2050592"/>
            <a:ext cx="435627" cy="594487"/>
          </a:xfrm>
          <a:custGeom>
            <a:avLst/>
            <a:gdLst>
              <a:gd name="T0" fmla="*/ 6 w 1549"/>
              <a:gd name="T1" fmla="*/ 889 h 2112"/>
              <a:gd name="T2" fmla="*/ 6 w 1549"/>
              <a:gd name="T3" fmla="*/ 889 h 2112"/>
              <a:gd name="T4" fmla="*/ 137 w 1549"/>
              <a:gd name="T5" fmla="*/ 1347 h 2112"/>
              <a:gd name="T6" fmla="*/ 137 w 1549"/>
              <a:gd name="T7" fmla="*/ 1347 h 2112"/>
              <a:gd name="T8" fmla="*/ 64 w 1549"/>
              <a:gd name="T9" fmla="*/ 1562 h 2112"/>
              <a:gd name="T10" fmla="*/ 480 w 1549"/>
              <a:gd name="T11" fmla="*/ 2111 h 2112"/>
              <a:gd name="T12" fmla="*/ 618 w 1549"/>
              <a:gd name="T13" fmla="*/ 1707 h 2112"/>
              <a:gd name="T14" fmla="*/ 618 w 1549"/>
              <a:gd name="T15" fmla="*/ 1707 h 2112"/>
              <a:gd name="T16" fmla="*/ 799 w 1549"/>
              <a:gd name="T17" fmla="*/ 1819 h 2112"/>
              <a:gd name="T18" fmla="*/ 799 w 1549"/>
              <a:gd name="T19" fmla="*/ 1819 h 2112"/>
              <a:gd name="T20" fmla="*/ 996 w 1549"/>
              <a:gd name="T21" fmla="*/ 1811 h 2112"/>
              <a:gd name="T22" fmla="*/ 996 w 1549"/>
              <a:gd name="T23" fmla="*/ 1811 h 2112"/>
              <a:gd name="T24" fmla="*/ 1138 w 1549"/>
              <a:gd name="T25" fmla="*/ 1444 h 2112"/>
              <a:gd name="T26" fmla="*/ 1138 w 1549"/>
              <a:gd name="T27" fmla="*/ 1444 h 2112"/>
              <a:gd name="T28" fmla="*/ 1181 w 1549"/>
              <a:gd name="T29" fmla="*/ 1213 h 2112"/>
              <a:gd name="T30" fmla="*/ 1181 w 1549"/>
              <a:gd name="T31" fmla="*/ 1213 h 2112"/>
              <a:gd name="T32" fmla="*/ 6 w 1549"/>
              <a:gd name="T33" fmla="*/ 889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9" h="2112">
                <a:moveTo>
                  <a:pt x="6" y="889"/>
                </a:moveTo>
                <a:lnTo>
                  <a:pt x="6" y="889"/>
                </a:lnTo>
                <a:cubicBezTo>
                  <a:pt x="7" y="1108"/>
                  <a:pt x="138" y="1283"/>
                  <a:pt x="137" y="1347"/>
                </a:cubicBezTo>
                <a:lnTo>
                  <a:pt x="137" y="1347"/>
                </a:lnTo>
                <a:cubicBezTo>
                  <a:pt x="135" y="1386"/>
                  <a:pt x="64" y="1562"/>
                  <a:pt x="64" y="1562"/>
                </a:cubicBezTo>
                <a:lnTo>
                  <a:pt x="480" y="2111"/>
                </a:lnTo>
                <a:lnTo>
                  <a:pt x="618" y="1707"/>
                </a:lnTo>
                <a:lnTo>
                  <a:pt x="618" y="1707"/>
                </a:lnTo>
                <a:cubicBezTo>
                  <a:pt x="618" y="1707"/>
                  <a:pt x="715" y="1790"/>
                  <a:pt x="799" y="1819"/>
                </a:cubicBezTo>
                <a:lnTo>
                  <a:pt x="799" y="1819"/>
                </a:lnTo>
                <a:cubicBezTo>
                  <a:pt x="799" y="1819"/>
                  <a:pt x="944" y="1887"/>
                  <a:pt x="996" y="1811"/>
                </a:cubicBezTo>
                <a:lnTo>
                  <a:pt x="996" y="1811"/>
                </a:lnTo>
                <a:cubicBezTo>
                  <a:pt x="1064" y="1589"/>
                  <a:pt x="1084" y="1565"/>
                  <a:pt x="1138" y="1444"/>
                </a:cubicBezTo>
                <a:lnTo>
                  <a:pt x="1138" y="1444"/>
                </a:lnTo>
                <a:cubicBezTo>
                  <a:pt x="1259" y="1427"/>
                  <a:pt x="1293" y="1359"/>
                  <a:pt x="1181" y="1213"/>
                </a:cubicBezTo>
                <a:lnTo>
                  <a:pt x="1181" y="1213"/>
                </a:lnTo>
                <a:cubicBezTo>
                  <a:pt x="1548" y="238"/>
                  <a:pt x="0" y="0"/>
                  <a:pt x="6" y="889"/>
                </a:cubicBez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4" name="Freeform 28">
            <a:extLst>
              <a:ext uri="{FF2B5EF4-FFF2-40B4-BE49-F238E27FC236}">
                <a16:creationId xmlns:a16="http://schemas.microsoft.com/office/drawing/2014/main" xmlns="" id="{5963071C-4C32-473D-B522-29455CF28114}"/>
              </a:ext>
            </a:extLst>
          </p:cNvPr>
          <p:cNvSpPr>
            <a:spLocks noChangeArrowheads="1"/>
          </p:cNvSpPr>
          <p:nvPr/>
        </p:nvSpPr>
        <p:spPr bwMode="auto">
          <a:xfrm>
            <a:off x="3866118" y="3352505"/>
            <a:ext cx="909727" cy="816644"/>
          </a:xfrm>
          <a:custGeom>
            <a:avLst/>
            <a:gdLst>
              <a:gd name="T0" fmla="*/ 2265 w 3234"/>
              <a:gd name="T1" fmla="*/ 0 h 2903"/>
              <a:gd name="T2" fmla="*/ 2265 w 3234"/>
              <a:gd name="T3" fmla="*/ 0 h 2903"/>
              <a:gd name="T4" fmla="*/ 2010 w 3234"/>
              <a:gd name="T5" fmla="*/ 1351 h 2903"/>
              <a:gd name="T6" fmla="*/ 0 w 3234"/>
              <a:gd name="T7" fmla="*/ 2433 h 2903"/>
              <a:gd name="T8" fmla="*/ 145 w 3234"/>
              <a:gd name="T9" fmla="*/ 2902 h 2903"/>
              <a:gd name="T10" fmla="*/ 145 w 3234"/>
              <a:gd name="T11" fmla="*/ 2902 h 2903"/>
              <a:gd name="T12" fmla="*/ 2933 w 3234"/>
              <a:gd name="T13" fmla="*/ 1681 h 2903"/>
              <a:gd name="T14" fmla="*/ 3233 w 3234"/>
              <a:gd name="T15" fmla="*/ 265 h 2903"/>
              <a:gd name="T16" fmla="*/ 2265 w 3234"/>
              <a:gd name="T17" fmla="*/ 0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4" h="2903">
                <a:moveTo>
                  <a:pt x="2265" y="0"/>
                </a:moveTo>
                <a:lnTo>
                  <a:pt x="2265" y="0"/>
                </a:lnTo>
                <a:cubicBezTo>
                  <a:pt x="2288" y="50"/>
                  <a:pt x="2010" y="1351"/>
                  <a:pt x="2010" y="1351"/>
                </a:cubicBezTo>
                <a:lnTo>
                  <a:pt x="0" y="2433"/>
                </a:lnTo>
                <a:lnTo>
                  <a:pt x="145" y="2902"/>
                </a:lnTo>
                <a:lnTo>
                  <a:pt x="145" y="2902"/>
                </a:lnTo>
                <a:cubicBezTo>
                  <a:pt x="145" y="2902"/>
                  <a:pt x="2750" y="1882"/>
                  <a:pt x="2933" y="1681"/>
                </a:cubicBezTo>
                <a:lnTo>
                  <a:pt x="3233" y="265"/>
                </a:lnTo>
                <a:lnTo>
                  <a:pt x="2265" y="0"/>
                </a:lnTo>
              </a:path>
            </a:pathLst>
          </a:custGeom>
          <a:solidFill>
            <a:schemeClr val="bg1">
              <a:lumMod val="50000"/>
            </a:schemeClr>
          </a:solidFill>
          <a:ln>
            <a:noFill/>
          </a:ln>
          <a:effectLst/>
        </p:spPr>
        <p:txBody>
          <a:bodyPr wrap="none" anchor="ctr"/>
          <a:lstStyle/>
          <a:p>
            <a:endParaRPr lang="en-GB" sz="2450" dirty="0">
              <a:latin typeface="+mj-lt"/>
            </a:endParaRPr>
          </a:p>
        </p:txBody>
      </p:sp>
      <p:sp>
        <p:nvSpPr>
          <p:cNvPr id="35" name="Freeform 29">
            <a:extLst>
              <a:ext uri="{FF2B5EF4-FFF2-40B4-BE49-F238E27FC236}">
                <a16:creationId xmlns:a16="http://schemas.microsoft.com/office/drawing/2014/main" xmlns="" id="{9D92A27F-C22A-4FED-9141-4F169297B2A0}"/>
              </a:ext>
            </a:extLst>
          </p:cNvPr>
          <p:cNvSpPr>
            <a:spLocks noChangeArrowheads="1"/>
          </p:cNvSpPr>
          <p:nvPr/>
        </p:nvSpPr>
        <p:spPr bwMode="auto">
          <a:xfrm>
            <a:off x="4366281" y="2523450"/>
            <a:ext cx="723562" cy="278006"/>
          </a:xfrm>
          <a:custGeom>
            <a:avLst/>
            <a:gdLst>
              <a:gd name="T0" fmla="*/ 0 w 2569"/>
              <a:gd name="T1" fmla="*/ 609 h 986"/>
              <a:gd name="T2" fmla="*/ 613 w 2569"/>
              <a:gd name="T3" fmla="*/ 171 h 986"/>
              <a:gd name="T4" fmla="*/ 613 w 2569"/>
              <a:gd name="T5" fmla="*/ 171 h 986"/>
              <a:gd name="T6" fmla="*/ 1461 w 2569"/>
              <a:gd name="T7" fmla="*/ 80 h 986"/>
              <a:gd name="T8" fmla="*/ 1461 w 2569"/>
              <a:gd name="T9" fmla="*/ 80 h 986"/>
              <a:gd name="T10" fmla="*/ 2171 w 2569"/>
              <a:gd name="T11" fmla="*/ 690 h 986"/>
              <a:gd name="T12" fmla="*/ 748 w 2569"/>
              <a:gd name="T13" fmla="*/ 708 h 986"/>
              <a:gd name="T14" fmla="*/ 211 w 2569"/>
              <a:gd name="T15" fmla="*/ 985 h 986"/>
              <a:gd name="T16" fmla="*/ 0 w 2569"/>
              <a:gd name="T17" fmla="*/ 609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9" h="986">
                <a:moveTo>
                  <a:pt x="0" y="609"/>
                </a:moveTo>
                <a:lnTo>
                  <a:pt x="613" y="171"/>
                </a:lnTo>
                <a:lnTo>
                  <a:pt x="613" y="171"/>
                </a:lnTo>
                <a:cubicBezTo>
                  <a:pt x="613" y="171"/>
                  <a:pt x="1046" y="110"/>
                  <a:pt x="1461" y="80"/>
                </a:cubicBezTo>
                <a:lnTo>
                  <a:pt x="1461" y="80"/>
                </a:lnTo>
                <a:cubicBezTo>
                  <a:pt x="2568" y="0"/>
                  <a:pt x="2360" y="688"/>
                  <a:pt x="2171" y="690"/>
                </a:cubicBezTo>
                <a:lnTo>
                  <a:pt x="748" y="708"/>
                </a:lnTo>
                <a:lnTo>
                  <a:pt x="211" y="985"/>
                </a:lnTo>
                <a:lnTo>
                  <a:pt x="0" y="609"/>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6" name="Freeform 30">
            <a:extLst>
              <a:ext uri="{FF2B5EF4-FFF2-40B4-BE49-F238E27FC236}">
                <a16:creationId xmlns:a16="http://schemas.microsoft.com/office/drawing/2014/main" xmlns="" id="{1E6C21F9-CDDD-494F-A09E-4CD85AF5EF9E}"/>
              </a:ext>
            </a:extLst>
          </p:cNvPr>
          <p:cNvSpPr>
            <a:spLocks noChangeArrowheads="1"/>
          </p:cNvSpPr>
          <p:nvPr/>
        </p:nvSpPr>
        <p:spPr bwMode="auto">
          <a:xfrm>
            <a:off x="4932222" y="2101478"/>
            <a:ext cx="423216" cy="328891"/>
          </a:xfrm>
          <a:custGeom>
            <a:avLst/>
            <a:gdLst>
              <a:gd name="T0" fmla="*/ 1443 w 1503"/>
              <a:gd name="T1" fmla="*/ 766 h 1167"/>
              <a:gd name="T2" fmla="*/ 883 w 1503"/>
              <a:gd name="T3" fmla="*/ 649 h 1167"/>
              <a:gd name="T4" fmla="*/ 883 w 1503"/>
              <a:gd name="T5" fmla="*/ 649 h 1167"/>
              <a:gd name="T6" fmla="*/ 275 w 1503"/>
              <a:gd name="T7" fmla="*/ 1166 h 1167"/>
              <a:gd name="T8" fmla="*/ 275 w 1503"/>
              <a:gd name="T9" fmla="*/ 1166 h 1167"/>
              <a:gd name="T10" fmla="*/ 236 w 1503"/>
              <a:gd name="T11" fmla="*/ 380 h 1167"/>
              <a:gd name="T12" fmla="*/ 236 w 1503"/>
              <a:gd name="T13" fmla="*/ 380 h 1167"/>
              <a:gd name="T14" fmla="*/ 940 w 1503"/>
              <a:gd name="T15" fmla="*/ 101 h 1167"/>
              <a:gd name="T16" fmla="*/ 880 w 1503"/>
              <a:gd name="T17" fmla="*/ 171 h 1167"/>
              <a:gd name="T18" fmla="*/ 880 w 1503"/>
              <a:gd name="T19" fmla="*/ 171 h 1167"/>
              <a:gd name="T20" fmla="*/ 1176 w 1503"/>
              <a:gd name="T21" fmla="*/ 210 h 1167"/>
              <a:gd name="T22" fmla="*/ 1176 w 1503"/>
              <a:gd name="T23" fmla="*/ 210 h 1167"/>
              <a:gd name="T24" fmla="*/ 1443 w 1503"/>
              <a:gd name="T25" fmla="*/ 766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3" h="1167">
                <a:moveTo>
                  <a:pt x="1443" y="766"/>
                </a:moveTo>
                <a:lnTo>
                  <a:pt x="883" y="649"/>
                </a:lnTo>
                <a:lnTo>
                  <a:pt x="883" y="649"/>
                </a:lnTo>
                <a:cubicBezTo>
                  <a:pt x="883" y="649"/>
                  <a:pt x="678" y="971"/>
                  <a:pt x="275" y="1166"/>
                </a:cubicBezTo>
                <a:lnTo>
                  <a:pt x="275" y="1166"/>
                </a:lnTo>
                <a:cubicBezTo>
                  <a:pt x="275" y="1166"/>
                  <a:pt x="0" y="799"/>
                  <a:pt x="236" y="380"/>
                </a:cubicBezTo>
                <a:lnTo>
                  <a:pt x="236" y="380"/>
                </a:lnTo>
                <a:cubicBezTo>
                  <a:pt x="236" y="380"/>
                  <a:pt x="434" y="0"/>
                  <a:pt x="940" y="101"/>
                </a:cubicBezTo>
                <a:lnTo>
                  <a:pt x="880" y="171"/>
                </a:lnTo>
                <a:lnTo>
                  <a:pt x="880" y="171"/>
                </a:lnTo>
                <a:cubicBezTo>
                  <a:pt x="880" y="171"/>
                  <a:pt x="867" y="64"/>
                  <a:pt x="1176" y="210"/>
                </a:cubicBezTo>
                <a:lnTo>
                  <a:pt x="1176" y="210"/>
                </a:lnTo>
                <a:cubicBezTo>
                  <a:pt x="1176" y="210"/>
                  <a:pt x="1502" y="386"/>
                  <a:pt x="1443" y="766"/>
                </a:cubicBezTo>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7" name="Freeform 31">
            <a:extLst>
              <a:ext uri="{FF2B5EF4-FFF2-40B4-BE49-F238E27FC236}">
                <a16:creationId xmlns:a16="http://schemas.microsoft.com/office/drawing/2014/main" xmlns="" id="{AB961CA3-2F12-4690-90CA-663ABD7F7840}"/>
              </a:ext>
            </a:extLst>
          </p:cNvPr>
          <p:cNvSpPr>
            <a:spLocks noChangeArrowheads="1"/>
          </p:cNvSpPr>
          <p:nvPr/>
        </p:nvSpPr>
        <p:spPr bwMode="auto">
          <a:xfrm>
            <a:off x="5048886" y="2312464"/>
            <a:ext cx="76948" cy="95564"/>
          </a:xfrm>
          <a:custGeom>
            <a:avLst/>
            <a:gdLst>
              <a:gd name="T0" fmla="*/ 273 w 274"/>
              <a:gd name="T1" fmla="*/ 140 h 340"/>
              <a:gd name="T2" fmla="*/ 273 w 274"/>
              <a:gd name="T3" fmla="*/ 140 h 340"/>
              <a:gd name="T4" fmla="*/ 135 w 274"/>
              <a:gd name="T5" fmla="*/ 3 h 340"/>
              <a:gd name="T6" fmla="*/ 135 w 274"/>
              <a:gd name="T7" fmla="*/ 3 h 340"/>
              <a:gd name="T8" fmla="*/ 176 w 274"/>
              <a:gd name="T9" fmla="*/ 339 h 340"/>
              <a:gd name="T10" fmla="*/ 273 w 274"/>
              <a:gd name="T11" fmla="*/ 140 h 340"/>
            </a:gdLst>
            <a:ahLst/>
            <a:cxnLst>
              <a:cxn ang="0">
                <a:pos x="T0" y="T1"/>
              </a:cxn>
              <a:cxn ang="0">
                <a:pos x="T2" y="T3"/>
              </a:cxn>
              <a:cxn ang="0">
                <a:pos x="T4" y="T5"/>
              </a:cxn>
              <a:cxn ang="0">
                <a:pos x="T6" y="T7"/>
              </a:cxn>
              <a:cxn ang="0">
                <a:pos x="T8" y="T9"/>
              </a:cxn>
              <a:cxn ang="0">
                <a:pos x="T10" y="T11"/>
              </a:cxn>
            </a:cxnLst>
            <a:rect l="0" t="0" r="r" b="b"/>
            <a:pathLst>
              <a:path w="274" h="340">
                <a:moveTo>
                  <a:pt x="273" y="140"/>
                </a:moveTo>
                <a:lnTo>
                  <a:pt x="273" y="140"/>
                </a:lnTo>
                <a:cubicBezTo>
                  <a:pt x="273" y="140"/>
                  <a:pt x="239" y="6"/>
                  <a:pt x="135" y="3"/>
                </a:cubicBezTo>
                <a:lnTo>
                  <a:pt x="135" y="3"/>
                </a:lnTo>
                <a:cubicBezTo>
                  <a:pt x="0" y="0"/>
                  <a:pt x="105" y="335"/>
                  <a:pt x="176" y="339"/>
                </a:cubicBezTo>
                <a:lnTo>
                  <a:pt x="273" y="140"/>
                </a:ln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8" name="Freeform 32">
            <a:extLst>
              <a:ext uri="{FF2B5EF4-FFF2-40B4-BE49-F238E27FC236}">
                <a16:creationId xmlns:a16="http://schemas.microsoft.com/office/drawing/2014/main" xmlns="" id="{A5DE87DA-34E3-4069-A4D0-D9C6BD15B167}"/>
              </a:ext>
            </a:extLst>
          </p:cNvPr>
          <p:cNvSpPr>
            <a:spLocks noChangeArrowheads="1"/>
          </p:cNvSpPr>
          <p:nvPr/>
        </p:nvSpPr>
        <p:spPr bwMode="auto">
          <a:xfrm>
            <a:off x="5050129" y="2570612"/>
            <a:ext cx="55849" cy="193612"/>
          </a:xfrm>
          <a:custGeom>
            <a:avLst/>
            <a:gdLst>
              <a:gd name="T0" fmla="*/ 0 w 199"/>
              <a:gd name="T1" fmla="*/ 0 h 689"/>
              <a:gd name="T2" fmla="*/ 102 w 199"/>
              <a:gd name="T3" fmla="*/ 688 h 689"/>
              <a:gd name="T4" fmla="*/ 198 w 199"/>
              <a:gd name="T5" fmla="*/ 263 h 689"/>
              <a:gd name="T6" fmla="*/ 0 w 199"/>
              <a:gd name="T7" fmla="*/ 0 h 689"/>
            </a:gdLst>
            <a:ahLst/>
            <a:cxnLst>
              <a:cxn ang="0">
                <a:pos x="T0" y="T1"/>
              </a:cxn>
              <a:cxn ang="0">
                <a:pos x="T2" y="T3"/>
              </a:cxn>
              <a:cxn ang="0">
                <a:pos x="T4" y="T5"/>
              </a:cxn>
              <a:cxn ang="0">
                <a:pos x="T6" y="T7"/>
              </a:cxn>
            </a:cxnLst>
            <a:rect l="0" t="0" r="r" b="b"/>
            <a:pathLst>
              <a:path w="199" h="689">
                <a:moveTo>
                  <a:pt x="0" y="0"/>
                </a:moveTo>
                <a:lnTo>
                  <a:pt x="102" y="688"/>
                </a:lnTo>
                <a:lnTo>
                  <a:pt x="198" y="263"/>
                </a:lnTo>
                <a:lnTo>
                  <a:pt x="0" y="0"/>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9" name="Freeform 33">
            <a:extLst>
              <a:ext uri="{FF2B5EF4-FFF2-40B4-BE49-F238E27FC236}">
                <a16:creationId xmlns:a16="http://schemas.microsoft.com/office/drawing/2014/main" xmlns="" id="{24E3F3B0-F530-4604-99B8-0D1D063F9BB5}"/>
              </a:ext>
            </a:extLst>
          </p:cNvPr>
          <p:cNvSpPr>
            <a:spLocks noChangeArrowheads="1"/>
          </p:cNvSpPr>
          <p:nvPr/>
        </p:nvSpPr>
        <p:spPr bwMode="auto">
          <a:xfrm>
            <a:off x="5232569" y="4031386"/>
            <a:ext cx="328892" cy="146450"/>
          </a:xfrm>
          <a:custGeom>
            <a:avLst/>
            <a:gdLst>
              <a:gd name="T0" fmla="*/ 5 w 1167"/>
              <a:gd name="T1" fmla="*/ 161 h 521"/>
              <a:gd name="T2" fmla="*/ 5 w 1167"/>
              <a:gd name="T3" fmla="*/ 161 h 521"/>
              <a:gd name="T4" fmla="*/ 149 w 1167"/>
              <a:gd name="T5" fmla="*/ 520 h 521"/>
              <a:gd name="T6" fmla="*/ 1148 w 1167"/>
              <a:gd name="T7" fmla="*/ 230 h 521"/>
              <a:gd name="T8" fmla="*/ 1148 w 1167"/>
              <a:gd name="T9" fmla="*/ 230 h 521"/>
              <a:gd name="T10" fmla="*/ 913 w 1167"/>
              <a:gd name="T11" fmla="*/ 54 h 521"/>
              <a:gd name="T12" fmla="*/ 460 w 1167"/>
              <a:gd name="T13" fmla="*/ 94 h 521"/>
              <a:gd name="T14" fmla="*/ 336 w 1167"/>
              <a:gd name="T15" fmla="*/ 42 h 521"/>
              <a:gd name="T16" fmla="*/ 5 w 1167"/>
              <a:gd name="T17" fmla="*/ 1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7" h="521">
                <a:moveTo>
                  <a:pt x="5" y="161"/>
                </a:moveTo>
                <a:lnTo>
                  <a:pt x="5" y="161"/>
                </a:lnTo>
                <a:cubicBezTo>
                  <a:pt x="5" y="161"/>
                  <a:pt x="0" y="369"/>
                  <a:pt x="149" y="520"/>
                </a:cubicBezTo>
                <a:lnTo>
                  <a:pt x="1148" y="230"/>
                </a:lnTo>
                <a:lnTo>
                  <a:pt x="1148" y="230"/>
                </a:lnTo>
                <a:cubicBezTo>
                  <a:pt x="1148" y="230"/>
                  <a:pt x="1166" y="0"/>
                  <a:pt x="913" y="54"/>
                </a:cubicBezTo>
                <a:lnTo>
                  <a:pt x="460" y="94"/>
                </a:lnTo>
                <a:lnTo>
                  <a:pt x="336" y="42"/>
                </a:lnTo>
                <a:lnTo>
                  <a:pt x="5" y="161"/>
                </a:lnTo>
              </a:path>
            </a:pathLst>
          </a:custGeom>
          <a:solidFill>
            <a:schemeClr val="tx2">
              <a:lumMod val="95000"/>
              <a:lumOff val="5000"/>
            </a:schemeClr>
          </a:solidFill>
          <a:ln>
            <a:noFill/>
          </a:ln>
          <a:effectLst/>
        </p:spPr>
        <p:txBody>
          <a:bodyPr wrap="none" anchor="ctr"/>
          <a:lstStyle/>
          <a:p>
            <a:endParaRPr lang="en-GB" sz="2450" dirty="0">
              <a:latin typeface="+mj-lt"/>
            </a:endParaRPr>
          </a:p>
        </p:txBody>
      </p:sp>
      <p:sp>
        <p:nvSpPr>
          <p:cNvPr id="40" name="Freeform 34">
            <a:extLst>
              <a:ext uri="{FF2B5EF4-FFF2-40B4-BE49-F238E27FC236}">
                <a16:creationId xmlns:a16="http://schemas.microsoft.com/office/drawing/2014/main" xmlns="" id="{A23E8C3C-3E9F-46C2-B996-3D4A357B57DC}"/>
              </a:ext>
            </a:extLst>
          </p:cNvPr>
          <p:cNvSpPr>
            <a:spLocks noChangeArrowheads="1"/>
          </p:cNvSpPr>
          <p:nvPr/>
        </p:nvSpPr>
        <p:spPr bwMode="auto">
          <a:xfrm>
            <a:off x="3765588" y="4057450"/>
            <a:ext cx="157620" cy="328891"/>
          </a:xfrm>
          <a:custGeom>
            <a:avLst/>
            <a:gdLst>
              <a:gd name="T0" fmla="*/ 380 w 559"/>
              <a:gd name="T1" fmla="*/ 0 h 1169"/>
              <a:gd name="T2" fmla="*/ 380 w 559"/>
              <a:gd name="T3" fmla="*/ 0 h 1169"/>
              <a:gd name="T4" fmla="*/ 0 w 559"/>
              <a:gd name="T5" fmla="*/ 172 h 1169"/>
              <a:gd name="T6" fmla="*/ 327 w 559"/>
              <a:gd name="T7" fmla="*/ 1159 h 1169"/>
              <a:gd name="T8" fmla="*/ 327 w 559"/>
              <a:gd name="T9" fmla="*/ 1159 h 1169"/>
              <a:gd name="T10" fmla="*/ 494 w 559"/>
              <a:gd name="T11" fmla="*/ 918 h 1169"/>
              <a:gd name="T12" fmla="*/ 438 w 559"/>
              <a:gd name="T13" fmla="*/ 467 h 1169"/>
              <a:gd name="T14" fmla="*/ 485 w 559"/>
              <a:gd name="T15" fmla="*/ 340 h 1169"/>
              <a:gd name="T16" fmla="*/ 380 w 559"/>
              <a:gd name="T17" fmla="*/ 0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1169">
                <a:moveTo>
                  <a:pt x="380" y="0"/>
                </a:moveTo>
                <a:lnTo>
                  <a:pt x="380" y="0"/>
                </a:lnTo>
                <a:cubicBezTo>
                  <a:pt x="380" y="0"/>
                  <a:pt x="146" y="17"/>
                  <a:pt x="0" y="172"/>
                </a:cubicBezTo>
                <a:lnTo>
                  <a:pt x="327" y="1159"/>
                </a:lnTo>
                <a:lnTo>
                  <a:pt x="327" y="1159"/>
                </a:lnTo>
                <a:cubicBezTo>
                  <a:pt x="327" y="1159"/>
                  <a:pt x="558" y="1168"/>
                  <a:pt x="494" y="918"/>
                </a:cubicBezTo>
                <a:lnTo>
                  <a:pt x="438" y="467"/>
                </a:lnTo>
                <a:lnTo>
                  <a:pt x="485" y="340"/>
                </a:lnTo>
                <a:lnTo>
                  <a:pt x="380" y="0"/>
                </a:lnTo>
              </a:path>
            </a:pathLst>
          </a:custGeom>
          <a:solidFill>
            <a:schemeClr val="tx2">
              <a:lumMod val="95000"/>
              <a:lumOff val="5000"/>
            </a:schemeClr>
          </a:solidFill>
          <a:ln>
            <a:noFill/>
          </a:ln>
          <a:effectLst/>
        </p:spPr>
        <p:txBody>
          <a:bodyPr wrap="none" anchor="ctr"/>
          <a:lstStyle/>
          <a:p>
            <a:endParaRPr lang="en-GB" sz="2450" dirty="0">
              <a:latin typeface="+mj-lt"/>
            </a:endParaRPr>
          </a:p>
        </p:txBody>
      </p:sp>
      <p:sp>
        <p:nvSpPr>
          <p:cNvPr id="41" name="Freeform 35">
            <a:extLst>
              <a:ext uri="{FF2B5EF4-FFF2-40B4-BE49-F238E27FC236}">
                <a16:creationId xmlns:a16="http://schemas.microsoft.com/office/drawing/2014/main" xmlns="" id="{60E0FF1D-C456-4E92-AB74-0806D40ACF45}"/>
              </a:ext>
            </a:extLst>
          </p:cNvPr>
          <p:cNvSpPr>
            <a:spLocks noChangeArrowheads="1"/>
          </p:cNvSpPr>
          <p:nvPr/>
        </p:nvSpPr>
        <p:spPr bwMode="auto">
          <a:xfrm>
            <a:off x="5078673" y="2609087"/>
            <a:ext cx="34751" cy="64537"/>
          </a:xfrm>
          <a:custGeom>
            <a:avLst/>
            <a:gdLst>
              <a:gd name="T0" fmla="*/ 0 w 122"/>
              <a:gd name="T1" fmla="*/ 0 h 230"/>
              <a:gd name="T2" fmla="*/ 121 w 122"/>
              <a:gd name="T3" fmla="*/ 67 h 230"/>
              <a:gd name="T4" fmla="*/ 86 w 122"/>
              <a:gd name="T5" fmla="*/ 229 h 230"/>
              <a:gd name="T6" fmla="*/ 0 w 122"/>
              <a:gd name="T7" fmla="*/ 0 h 230"/>
            </a:gdLst>
            <a:ahLst/>
            <a:cxnLst>
              <a:cxn ang="0">
                <a:pos x="T0" y="T1"/>
              </a:cxn>
              <a:cxn ang="0">
                <a:pos x="T2" y="T3"/>
              </a:cxn>
              <a:cxn ang="0">
                <a:pos x="T4" y="T5"/>
              </a:cxn>
              <a:cxn ang="0">
                <a:pos x="T6" y="T7"/>
              </a:cxn>
            </a:cxnLst>
            <a:rect l="0" t="0" r="r" b="b"/>
            <a:pathLst>
              <a:path w="122" h="230">
                <a:moveTo>
                  <a:pt x="0" y="0"/>
                </a:moveTo>
                <a:lnTo>
                  <a:pt x="121" y="67"/>
                </a:lnTo>
                <a:lnTo>
                  <a:pt x="86" y="229"/>
                </a:lnTo>
                <a:lnTo>
                  <a:pt x="0" y="0"/>
                </a:lnTo>
              </a:path>
            </a:pathLst>
          </a:custGeom>
          <a:solidFill>
            <a:schemeClr val="accent1"/>
          </a:solidFill>
          <a:ln>
            <a:noFill/>
          </a:ln>
          <a:effectLst/>
        </p:spPr>
        <p:txBody>
          <a:bodyPr wrap="none" anchor="ctr"/>
          <a:lstStyle/>
          <a:p>
            <a:endParaRPr lang="en-GB" sz="2450" dirty="0">
              <a:latin typeface="+mj-lt"/>
            </a:endParaRPr>
          </a:p>
        </p:txBody>
      </p:sp>
      <p:sp>
        <p:nvSpPr>
          <p:cNvPr id="42" name="Freeform 36">
            <a:extLst>
              <a:ext uri="{FF2B5EF4-FFF2-40B4-BE49-F238E27FC236}">
                <a16:creationId xmlns:a16="http://schemas.microsoft.com/office/drawing/2014/main" xmlns="" id="{7031CA6F-4238-407A-AABC-DF7A39E1344D}"/>
              </a:ext>
            </a:extLst>
          </p:cNvPr>
          <p:cNvSpPr>
            <a:spLocks noChangeArrowheads="1"/>
          </p:cNvSpPr>
          <p:nvPr/>
        </p:nvSpPr>
        <p:spPr bwMode="auto">
          <a:xfrm>
            <a:off x="5005447" y="2643838"/>
            <a:ext cx="96806" cy="335097"/>
          </a:xfrm>
          <a:custGeom>
            <a:avLst/>
            <a:gdLst>
              <a:gd name="T0" fmla="*/ 308 w 346"/>
              <a:gd name="T1" fmla="*/ 0 h 1190"/>
              <a:gd name="T2" fmla="*/ 0 w 346"/>
              <a:gd name="T3" fmla="*/ 935 h 1190"/>
              <a:gd name="T4" fmla="*/ 83 w 346"/>
              <a:gd name="T5" fmla="*/ 1189 h 1190"/>
              <a:gd name="T6" fmla="*/ 215 w 346"/>
              <a:gd name="T7" fmla="*/ 1076 h 1190"/>
              <a:gd name="T8" fmla="*/ 345 w 346"/>
              <a:gd name="T9" fmla="*/ 102 h 1190"/>
              <a:gd name="T10" fmla="*/ 308 w 346"/>
              <a:gd name="T11" fmla="*/ 0 h 1190"/>
            </a:gdLst>
            <a:ahLst/>
            <a:cxnLst>
              <a:cxn ang="0">
                <a:pos x="T0" y="T1"/>
              </a:cxn>
              <a:cxn ang="0">
                <a:pos x="T2" y="T3"/>
              </a:cxn>
              <a:cxn ang="0">
                <a:pos x="T4" y="T5"/>
              </a:cxn>
              <a:cxn ang="0">
                <a:pos x="T6" y="T7"/>
              </a:cxn>
              <a:cxn ang="0">
                <a:pos x="T8" y="T9"/>
              </a:cxn>
              <a:cxn ang="0">
                <a:pos x="T10" y="T11"/>
              </a:cxn>
            </a:cxnLst>
            <a:rect l="0" t="0" r="r" b="b"/>
            <a:pathLst>
              <a:path w="346" h="1190">
                <a:moveTo>
                  <a:pt x="308" y="0"/>
                </a:moveTo>
                <a:lnTo>
                  <a:pt x="0" y="935"/>
                </a:lnTo>
                <a:lnTo>
                  <a:pt x="83" y="1189"/>
                </a:lnTo>
                <a:lnTo>
                  <a:pt x="215" y="1076"/>
                </a:lnTo>
                <a:lnTo>
                  <a:pt x="345" y="102"/>
                </a:lnTo>
                <a:lnTo>
                  <a:pt x="308" y="0"/>
                </a:lnTo>
              </a:path>
            </a:pathLst>
          </a:custGeom>
          <a:solidFill>
            <a:schemeClr val="accent1"/>
          </a:solidFill>
          <a:ln>
            <a:noFill/>
          </a:ln>
          <a:effectLst/>
        </p:spPr>
        <p:txBody>
          <a:bodyPr wrap="none" anchor="ctr"/>
          <a:lstStyle/>
          <a:p>
            <a:endParaRPr lang="en-GB" sz="2450" dirty="0">
              <a:latin typeface="+mj-lt"/>
            </a:endParaRPr>
          </a:p>
        </p:txBody>
      </p:sp>
      <p:sp>
        <p:nvSpPr>
          <p:cNvPr id="43" name="Freeform 37">
            <a:extLst>
              <a:ext uri="{FF2B5EF4-FFF2-40B4-BE49-F238E27FC236}">
                <a16:creationId xmlns:a16="http://schemas.microsoft.com/office/drawing/2014/main" xmlns="" id="{E0A4E61F-6DB7-4A39-802B-6211DDF9A02C}"/>
              </a:ext>
            </a:extLst>
          </p:cNvPr>
          <p:cNvSpPr>
            <a:spLocks noChangeArrowheads="1"/>
          </p:cNvSpPr>
          <p:nvPr/>
        </p:nvSpPr>
        <p:spPr bwMode="auto">
          <a:xfrm>
            <a:off x="4480461" y="3197368"/>
            <a:ext cx="889870" cy="897315"/>
          </a:xfrm>
          <a:custGeom>
            <a:avLst/>
            <a:gdLst>
              <a:gd name="T0" fmla="*/ 118 w 3160"/>
              <a:gd name="T1" fmla="*/ 0 h 3189"/>
              <a:gd name="T2" fmla="*/ 118 w 3160"/>
              <a:gd name="T3" fmla="*/ 0 h 3189"/>
              <a:gd name="T4" fmla="*/ 209 w 3160"/>
              <a:gd name="T5" fmla="*/ 747 h 3189"/>
              <a:gd name="T6" fmla="*/ 209 w 3160"/>
              <a:gd name="T7" fmla="*/ 747 h 3189"/>
              <a:gd name="T8" fmla="*/ 2340 w 3160"/>
              <a:gd name="T9" fmla="*/ 853 h 3189"/>
              <a:gd name="T10" fmla="*/ 2340 w 3160"/>
              <a:gd name="T11" fmla="*/ 853 h 3189"/>
              <a:gd name="T12" fmla="*/ 2604 w 3160"/>
              <a:gd name="T13" fmla="*/ 3188 h 3189"/>
              <a:gd name="T14" fmla="*/ 3159 w 3160"/>
              <a:gd name="T15" fmla="*/ 3006 h 3189"/>
              <a:gd name="T16" fmla="*/ 3159 w 3160"/>
              <a:gd name="T17" fmla="*/ 3006 h 3189"/>
              <a:gd name="T18" fmla="*/ 2861 w 3160"/>
              <a:gd name="T19" fmla="*/ 101 h 3189"/>
              <a:gd name="T20" fmla="*/ 118 w 3160"/>
              <a:gd name="T21" fmla="*/ 0 h 3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60" h="3189">
                <a:moveTo>
                  <a:pt x="118" y="0"/>
                </a:moveTo>
                <a:lnTo>
                  <a:pt x="118" y="0"/>
                </a:lnTo>
                <a:cubicBezTo>
                  <a:pt x="0" y="240"/>
                  <a:pt x="13" y="553"/>
                  <a:pt x="209" y="747"/>
                </a:cubicBezTo>
                <a:lnTo>
                  <a:pt x="209" y="747"/>
                </a:lnTo>
                <a:cubicBezTo>
                  <a:pt x="496" y="1029"/>
                  <a:pt x="2340" y="853"/>
                  <a:pt x="2340" y="853"/>
                </a:cubicBezTo>
                <a:lnTo>
                  <a:pt x="2340" y="853"/>
                </a:lnTo>
                <a:cubicBezTo>
                  <a:pt x="2340" y="853"/>
                  <a:pt x="2455" y="2614"/>
                  <a:pt x="2604" y="3188"/>
                </a:cubicBezTo>
                <a:lnTo>
                  <a:pt x="3159" y="3006"/>
                </a:lnTo>
                <a:lnTo>
                  <a:pt x="3159" y="3006"/>
                </a:lnTo>
                <a:cubicBezTo>
                  <a:pt x="3159" y="3006"/>
                  <a:pt x="3068" y="234"/>
                  <a:pt x="2861" y="101"/>
                </a:cubicBezTo>
                <a:lnTo>
                  <a:pt x="118" y="0"/>
                </a:lnTo>
              </a:path>
            </a:pathLst>
          </a:custGeom>
          <a:solidFill>
            <a:schemeClr val="bg1">
              <a:lumMod val="65000"/>
            </a:schemeClr>
          </a:solidFill>
          <a:ln>
            <a:noFill/>
          </a:ln>
          <a:effectLst/>
        </p:spPr>
        <p:txBody>
          <a:bodyPr wrap="none" anchor="ctr"/>
          <a:lstStyle/>
          <a:p>
            <a:endParaRPr lang="en-GB" sz="2450" dirty="0">
              <a:latin typeface="+mj-lt"/>
            </a:endParaRPr>
          </a:p>
        </p:txBody>
      </p:sp>
      <p:grpSp>
        <p:nvGrpSpPr>
          <p:cNvPr id="44" name="Group 56">
            <a:extLst>
              <a:ext uri="{FF2B5EF4-FFF2-40B4-BE49-F238E27FC236}">
                <a16:creationId xmlns:a16="http://schemas.microsoft.com/office/drawing/2014/main" xmlns="" id="{FDD0CC84-0185-41BD-AF5D-85D1BF52840A}"/>
              </a:ext>
            </a:extLst>
          </p:cNvPr>
          <p:cNvGrpSpPr/>
          <p:nvPr/>
        </p:nvGrpSpPr>
        <p:grpSpPr>
          <a:xfrm>
            <a:off x="10104145" y="1981747"/>
            <a:ext cx="1212556" cy="1045006"/>
            <a:chOff x="17261039" y="3816403"/>
            <a:chExt cx="2814057" cy="2425214"/>
          </a:xfrm>
        </p:grpSpPr>
        <p:sp>
          <p:nvSpPr>
            <p:cNvPr id="45" name="Freeform 38">
              <a:extLst>
                <a:ext uri="{FF2B5EF4-FFF2-40B4-BE49-F238E27FC236}">
                  <a16:creationId xmlns:a16="http://schemas.microsoft.com/office/drawing/2014/main" xmlns="" id="{C6FD86D7-430A-4205-B95A-18F503C7476C}"/>
                </a:ext>
              </a:extLst>
            </p:cNvPr>
            <p:cNvSpPr>
              <a:spLocks noChangeArrowheads="1"/>
            </p:cNvSpPr>
            <p:nvPr/>
          </p:nvSpPr>
          <p:spPr bwMode="auto">
            <a:xfrm>
              <a:off x="18986342" y="3853845"/>
              <a:ext cx="1088754" cy="1244291"/>
            </a:xfrm>
            <a:custGeom>
              <a:avLst/>
              <a:gdLst>
                <a:gd name="T0" fmla="*/ 8 w 1666"/>
                <a:gd name="T1" fmla="*/ 1906 h 1907"/>
                <a:gd name="T2" fmla="*/ 8 w 1666"/>
                <a:gd name="T3" fmla="*/ 1906 h 1907"/>
                <a:gd name="T4" fmla="*/ 864 w 1666"/>
                <a:gd name="T5" fmla="*/ 1584 h 1907"/>
                <a:gd name="T6" fmla="*/ 864 w 1666"/>
                <a:gd name="T7" fmla="*/ 1584 h 1907"/>
                <a:gd name="T8" fmla="*/ 1665 w 1666"/>
                <a:gd name="T9" fmla="*/ 0 h 1907"/>
                <a:gd name="T10" fmla="*/ 568 w 1666"/>
                <a:gd name="T11" fmla="*/ 107 h 1907"/>
                <a:gd name="T12" fmla="*/ 568 w 1666"/>
                <a:gd name="T13" fmla="*/ 107 h 1907"/>
                <a:gd name="T14" fmla="*/ 679 w 1666"/>
                <a:gd name="T15" fmla="*/ 428 h 1907"/>
                <a:gd name="T16" fmla="*/ 679 w 1666"/>
                <a:gd name="T17" fmla="*/ 428 h 1907"/>
                <a:gd name="T18" fmla="*/ 796 w 1666"/>
                <a:gd name="T19" fmla="*/ 384 h 1907"/>
                <a:gd name="T20" fmla="*/ 796 w 1666"/>
                <a:gd name="T21" fmla="*/ 384 h 1907"/>
                <a:gd name="T22" fmla="*/ 762 w 1666"/>
                <a:gd name="T23" fmla="*/ 287 h 1907"/>
                <a:gd name="T24" fmla="*/ 762 w 1666"/>
                <a:gd name="T25" fmla="*/ 287 h 1907"/>
                <a:gd name="T26" fmla="*/ 722 w 1666"/>
                <a:gd name="T27" fmla="*/ 255 h 1907"/>
                <a:gd name="T28" fmla="*/ 1471 w 1666"/>
                <a:gd name="T29" fmla="*/ 181 h 1907"/>
                <a:gd name="T30" fmla="*/ 1471 w 1666"/>
                <a:gd name="T31" fmla="*/ 181 h 1907"/>
                <a:gd name="T32" fmla="*/ 1215 w 1666"/>
                <a:gd name="T33" fmla="*/ 895 h 1907"/>
                <a:gd name="T34" fmla="*/ 1215 w 1666"/>
                <a:gd name="T35" fmla="*/ 895 h 1907"/>
                <a:gd name="T36" fmla="*/ 0 w 1666"/>
                <a:gd name="T37" fmla="*/ 1744 h 1907"/>
                <a:gd name="T38" fmla="*/ 8 w 1666"/>
                <a:gd name="T39" fmla="*/ 190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66" h="1907">
                  <a:moveTo>
                    <a:pt x="8" y="1906"/>
                  </a:moveTo>
                  <a:lnTo>
                    <a:pt x="8" y="1906"/>
                  </a:lnTo>
                  <a:cubicBezTo>
                    <a:pt x="330" y="1888"/>
                    <a:pt x="619" y="1779"/>
                    <a:pt x="864" y="1584"/>
                  </a:cubicBezTo>
                  <a:lnTo>
                    <a:pt x="864" y="1584"/>
                  </a:lnTo>
                  <a:cubicBezTo>
                    <a:pt x="1323" y="1220"/>
                    <a:pt x="1583" y="589"/>
                    <a:pt x="1665" y="0"/>
                  </a:cubicBezTo>
                  <a:lnTo>
                    <a:pt x="568" y="107"/>
                  </a:lnTo>
                  <a:lnTo>
                    <a:pt x="568" y="107"/>
                  </a:lnTo>
                  <a:cubicBezTo>
                    <a:pt x="517" y="260"/>
                    <a:pt x="565" y="362"/>
                    <a:pt x="679" y="428"/>
                  </a:cubicBezTo>
                  <a:lnTo>
                    <a:pt x="679" y="428"/>
                  </a:lnTo>
                  <a:cubicBezTo>
                    <a:pt x="723" y="453"/>
                    <a:pt x="780" y="432"/>
                    <a:pt x="796" y="384"/>
                  </a:cubicBezTo>
                  <a:lnTo>
                    <a:pt x="796" y="384"/>
                  </a:lnTo>
                  <a:cubicBezTo>
                    <a:pt x="809" y="348"/>
                    <a:pt x="794" y="308"/>
                    <a:pt x="762" y="287"/>
                  </a:cubicBezTo>
                  <a:lnTo>
                    <a:pt x="762" y="287"/>
                  </a:lnTo>
                  <a:cubicBezTo>
                    <a:pt x="742" y="277"/>
                    <a:pt x="730" y="265"/>
                    <a:pt x="722" y="255"/>
                  </a:cubicBezTo>
                  <a:lnTo>
                    <a:pt x="1471" y="181"/>
                  </a:lnTo>
                  <a:lnTo>
                    <a:pt x="1471" y="181"/>
                  </a:lnTo>
                  <a:cubicBezTo>
                    <a:pt x="1440" y="328"/>
                    <a:pt x="1365" y="611"/>
                    <a:pt x="1215" y="895"/>
                  </a:cubicBezTo>
                  <a:lnTo>
                    <a:pt x="1215" y="895"/>
                  </a:lnTo>
                  <a:cubicBezTo>
                    <a:pt x="931" y="1428"/>
                    <a:pt x="522" y="1714"/>
                    <a:pt x="0" y="1744"/>
                  </a:cubicBezTo>
                  <a:lnTo>
                    <a:pt x="8" y="1906"/>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6" name="Freeform 39">
              <a:extLst>
                <a:ext uri="{FF2B5EF4-FFF2-40B4-BE49-F238E27FC236}">
                  <a16:creationId xmlns:a16="http://schemas.microsoft.com/office/drawing/2014/main" xmlns="" id="{4C22F661-E79A-47EE-92F5-6BBB6086F8EE}"/>
                </a:ext>
              </a:extLst>
            </p:cNvPr>
            <p:cNvSpPr>
              <a:spLocks noChangeArrowheads="1"/>
            </p:cNvSpPr>
            <p:nvPr/>
          </p:nvSpPr>
          <p:spPr bwMode="auto">
            <a:xfrm>
              <a:off x="17261039" y="3816403"/>
              <a:ext cx="1057072" cy="1275973"/>
            </a:xfrm>
            <a:custGeom>
              <a:avLst/>
              <a:gdLst>
                <a:gd name="T0" fmla="*/ 1602 w 1618"/>
                <a:gd name="T1" fmla="*/ 1951 h 1952"/>
                <a:gd name="T2" fmla="*/ 1602 w 1618"/>
                <a:gd name="T3" fmla="*/ 1951 h 1952"/>
                <a:gd name="T4" fmla="*/ 758 w 1618"/>
                <a:gd name="T5" fmla="*/ 1605 h 1952"/>
                <a:gd name="T6" fmla="*/ 758 w 1618"/>
                <a:gd name="T7" fmla="*/ 1605 h 1952"/>
                <a:gd name="T8" fmla="*/ 0 w 1618"/>
                <a:gd name="T9" fmla="*/ 0 h 1952"/>
                <a:gd name="T10" fmla="*/ 1092 w 1618"/>
                <a:gd name="T11" fmla="*/ 138 h 1952"/>
                <a:gd name="T12" fmla="*/ 1092 w 1618"/>
                <a:gd name="T13" fmla="*/ 138 h 1952"/>
                <a:gd name="T14" fmla="*/ 974 w 1618"/>
                <a:gd name="T15" fmla="*/ 454 h 1952"/>
                <a:gd name="T16" fmla="*/ 974 w 1618"/>
                <a:gd name="T17" fmla="*/ 454 h 1952"/>
                <a:gd name="T18" fmla="*/ 857 w 1618"/>
                <a:gd name="T19" fmla="*/ 407 h 1952"/>
                <a:gd name="T20" fmla="*/ 857 w 1618"/>
                <a:gd name="T21" fmla="*/ 407 h 1952"/>
                <a:gd name="T22" fmla="*/ 894 w 1618"/>
                <a:gd name="T23" fmla="*/ 312 h 1952"/>
                <a:gd name="T24" fmla="*/ 894 w 1618"/>
                <a:gd name="T25" fmla="*/ 312 h 1952"/>
                <a:gd name="T26" fmla="*/ 936 w 1618"/>
                <a:gd name="T27" fmla="*/ 280 h 1952"/>
                <a:gd name="T28" fmla="*/ 189 w 1618"/>
                <a:gd name="T29" fmla="*/ 186 h 1952"/>
                <a:gd name="T30" fmla="*/ 189 w 1618"/>
                <a:gd name="T31" fmla="*/ 186 h 1952"/>
                <a:gd name="T32" fmla="*/ 424 w 1618"/>
                <a:gd name="T33" fmla="*/ 905 h 1952"/>
                <a:gd name="T34" fmla="*/ 424 w 1618"/>
                <a:gd name="T35" fmla="*/ 905 h 1952"/>
                <a:gd name="T36" fmla="*/ 1617 w 1618"/>
                <a:gd name="T37" fmla="*/ 1789 h 1952"/>
                <a:gd name="T38" fmla="*/ 1602 w 1618"/>
                <a:gd name="T39" fmla="*/ 1951 h 1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8" h="1952">
                  <a:moveTo>
                    <a:pt x="1602" y="1951"/>
                  </a:moveTo>
                  <a:lnTo>
                    <a:pt x="1602" y="1951"/>
                  </a:lnTo>
                  <a:cubicBezTo>
                    <a:pt x="1282" y="1924"/>
                    <a:pt x="997" y="1807"/>
                    <a:pt x="758" y="1605"/>
                  </a:cubicBezTo>
                  <a:lnTo>
                    <a:pt x="758" y="1605"/>
                  </a:lnTo>
                  <a:cubicBezTo>
                    <a:pt x="308" y="1227"/>
                    <a:pt x="65" y="591"/>
                    <a:pt x="0" y="0"/>
                  </a:cubicBezTo>
                  <a:lnTo>
                    <a:pt x="1092" y="138"/>
                  </a:lnTo>
                  <a:lnTo>
                    <a:pt x="1092" y="138"/>
                  </a:lnTo>
                  <a:cubicBezTo>
                    <a:pt x="1141" y="292"/>
                    <a:pt x="1088" y="393"/>
                    <a:pt x="974" y="454"/>
                  </a:cubicBezTo>
                  <a:lnTo>
                    <a:pt x="974" y="454"/>
                  </a:lnTo>
                  <a:cubicBezTo>
                    <a:pt x="929" y="478"/>
                    <a:pt x="873" y="455"/>
                    <a:pt x="857" y="407"/>
                  </a:cubicBezTo>
                  <a:lnTo>
                    <a:pt x="857" y="407"/>
                  </a:lnTo>
                  <a:cubicBezTo>
                    <a:pt x="846" y="370"/>
                    <a:pt x="862" y="330"/>
                    <a:pt x="894" y="312"/>
                  </a:cubicBezTo>
                  <a:lnTo>
                    <a:pt x="894" y="312"/>
                  </a:lnTo>
                  <a:cubicBezTo>
                    <a:pt x="914" y="302"/>
                    <a:pt x="927" y="290"/>
                    <a:pt x="936" y="280"/>
                  </a:cubicBezTo>
                  <a:lnTo>
                    <a:pt x="189" y="186"/>
                  </a:lnTo>
                  <a:lnTo>
                    <a:pt x="189" y="186"/>
                  </a:lnTo>
                  <a:cubicBezTo>
                    <a:pt x="215" y="333"/>
                    <a:pt x="282" y="618"/>
                    <a:pt x="424" y="905"/>
                  </a:cubicBezTo>
                  <a:lnTo>
                    <a:pt x="424" y="905"/>
                  </a:lnTo>
                  <a:cubicBezTo>
                    <a:pt x="694" y="1447"/>
                    <a:pt x="1095" y="1744"/>
                    <a:pt x="1617" y="1789"/>
                  </a:cubicBezTo>
                  <a:lnTo>
                    <a:pt x="1602" y="1951"/>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7" name="Freeform 40">
              <a:extLst>
                <a:ext uri="{FF2B5EF4-FFF2-40B4-BE49-F238E27FC236}">
                  <a16:creationId xmlns:a16="http://schemas.microsoft.com/office/drawing/2014/main" xmlns="" id="{37848C73-B2AA-48F6-BB74-01F07CD2FBE2}"/>
                </a:ext>
              </a:extLst>
            </p:cNvPr>
            <p:cNvSpPr>
              <a:spLocks noChangeArrowheads="1"/>
            </p:cNvSpPr>
            <p:nvPr/>
          </p:nvSpPr>
          <p:spPr bwMode="auto">
            <a:xfrm>
              <a:off x="18418920" y="5201827"/>
              <a:ext cx="429166" cy="1036909"/>
            </a:xfrm>
            <a:custGeom>
              <a:avLst/>
              <a:gdLst>
                <a:gd name="T0" fmla="*/ 0 w 659"/>
                <a:gd name="T1" fmla="*/ 1577 h 1588"/>
                <a:gd name="T2" fmla="*/ 658 w 659"/>
                <a:gd name="T3" fmla="*/ 1587 h 1588"/>
                <a:gd name="T4" fmla="*/ 544 w 659"/>
                <a:gd name="T5" fmla="*/ 4 h 1588"/>
                <a:gd name="T6" fmla="*/ 156 w 659"/>
                <a:gd name="T7" fmla="*/ 0 h 1588"/>
                <a:gd name="T8" fmla="*/ 1 w 659"/>
                <a:gd name="T9" fmla="*/ 1575 h 1588"/>
                <a:gd name="T10" fmla="*/ 0 w 659"/>
                <a:gd name="T11" fmla="*/ 1577 h 1588"/>
              </a:gdLst>
              <a:ahLst/>
              <a:cxnLst>
                <a:cxn ang="0">
                  <a:pos x="T0" y="T1"/>
                </a:cxn>
                <a:cxn ang="0">
                  <a:pos x="T2" y="T3"/>
                </a:cxn>
                <a:cxn ang="0">
                  <a:pos x="T4" y="T5"/>
                </a:cxn>
                <a:cxn ang="0">
                  <a:pos x="T6" y="T7"/>
                </a:cxn>
                <a:cxn ang="0">
                  <a:pos x="T8" y="T9"/>
                </a:cxn>
                <a:cxn ang="0">
                  <a:pos x="T10" y="T11"/>
                </a:cxn>
              </a:cxnLst>
              <a:rect l="0" t="0" r="r" b="b"/>
              <a:pathLst>
                <a:path w="659" h="1588">
                  <a:moveTo>
                    <a:pt x="0" y="1577"/>
                  </a:moveTo>
                  <a:lnTo>
                    <a:pt x="658" y="1587"/>
                  </a:lnTo>
                  <a:lnTo>
                    <a:pt x="544" y="4"/>
                  </a:lnTo>
                  <a:lnTo>
                    <a:pt x="156" y="0"/>
                  </a:lnTo>
                  <a:lnTo>
                    <a:pt x="1" y="1575"/>
                  </a:lnTo>
                  <a:lnTo>
                    <a:pt x="0" y="1577"/>
                  </a:lnTo>
                </a:path>
              </a:pathLst>
            </a:custGeom>
            <a:solidFill>
              <a:srgbClr val="FCC20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8" name="Freeform 41">
              <a:extLst>
                <a:ext uri="{FF2B5EF4-FFF2-40B4-BE49-F238E27FC236}">
                  <a16:creationId xmlns:a16="http://schemas.microsoft.com/office/drawing/2014/main" xmlns="" id="{9CE261DA-CE59-4FB5-935F-B3974EB66649}"/>
                </a:ext>
              </a:extLst>
            </p:cNvPr>
            <p:cNvSpPr>
              <a:spLocks noChangeArrowheads="1"/>
            </p:cNvSpPr>
            <p:nvPr/>
          </p:nvSpPr>
          <p:spPr bwMode="auto">
            <a:xfrm>
              <a:off x="18418920" y="5201828"/>
              <a:ext cx="230424" cy="1031148"/>
            </a:xfrm>
            <a:custGeom>
              <a:avLst/>
              <a:gdLst>
                <a:gd name="T0" fmla="*/ 0 w 354"/>
                <a:gd name="T1" fmla="*/ 1575 h 1580"/>
                <a:gd name="T2" fmla="*/ 332 w 354"/>
                <a:gd name="T3" fmla="*/ 1579 h 1580"/>
                <a:gd name="T4" fmla="*/ 353 w 354"/>
                <a:gd name="T5" fmla="*/ 1 h 1580"/>
                <a:gd name="T6" fmla="*/ 156 w 354"/>
                <a:gd name="T7" fmla="*/ 0 h 1580"/>
                <a:gd name="T8" fmla="*/ 0 w 354"/>
                <a:gd name="T9" fmla="*/ 1575 h 1580"/>
              </a:gdLst>
              <a:ahLst/>
              <a:cxnLst>
                <a:cxn ang="0">
                  <a:pos x="T0" y="T1"/>
                </a:cxn>
                <a:cxn ang="0">
                  <a:pos x="T2" y="T3"/>
                </a:cxn>
                <a:cxn ang="0">
                  <a:pos x="T4" y="T5"/>
                </a:cxn>
                <a:cxn ang="0">
                  <a:pos x="T6" y="T7"/>
                </a:cxn>
                <a:cxn ang="0">
                  <a:pos x="T8" y="T9"/>
                </a:cxn>
              </a:cxnLst>
              <a:rect l="0" t="0" r="r" b="b"/>
              <a:pathLst>
                <a:path w="354" h="1580">
                  <a:moveTo>
                    <a:pt x="0" y="1575"/>
                  </a:moveTo>
                  <a:lnTo>
                    <a:pt x="332" y="1579"/>
                  </a:lnTo>
                  <a:lnTo>
                    <a:pt x="353" y="1"/>
                  </a:lnTo>
                  <a:lnTo>
                    <a:pt x="156" y="0"/>
                  </a:lnTo>
                  <a:lnTo>
                    <a:pt x="0" y="1575"/>
                  </a:lnTo>
                </a:path>
              </a:pathLst>
            </a:custGeom>
            <a:solidFill>
              <a:srgbClr val="FF97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9" name="Freeform 42">
              <a:extLst>
                <a:ext uri="{FF2B5EF4-FFF2-40B4-BE49-F238E27FC236}">
                  <a16:creationId xmlns:a16="http://schemas.microsoft.com/office/drawing/2014/main" xmlns="" id="{5B62F369-2164-4179-AD4E-9A78C2E8D4D0}"/>
                </a:ext>
              </a:extLst>
            </p:cNvPr>
            <p:cNvSpPr>
              <a:spLocks noChangeArrowheads="1"/>
            </p:cNvSpPr>
            <p:nvPr/>
          </p:nvSpPr>
          <p:spPr bwMode="auto">
            <a:xfrm>
              <a:off x="18280667" y="6103362"/>
              <a:ext cx="708554" cy="138255"/>
            </a:xfrm>
            <a:custGeom>
              <a:avLst/>
              <a:gdLst>
                <a:gd name="T0" fmla="*/ 97 w 1085"/>
                <a:gd name="T1" fmla="*/ 197 h 210"/>
                <a:gd name="T2" fmla="*/ 986 w 1085"/>
                <a:gd name="T3" fmla="*/ 208 h 210"/>
                <a:gd name="T4" fmla="*/ 986 w 1085"/>
                <a:gd name="T5" fmla="*/ 208 h 210"/>
                <a:gd name="T6" fmla="*/ 1084 w 1085"/>
                <a:gd name="T7" fmla="*/ 112 h 210"/>
                <a:gd name="T8" fmla="*/ 1084 w 1085"/>
                <a:gd name="T9" fmla="*/ 14 h 210"/>
                <a:gd name="T10" fmla="*/ 3 w 1085"/>
                <a:gd name="T11" fmla="*/ 0 h 210"/>
                <a:gd name="T12" fmla="*/ 1 w 1085"/>
                <a:gd name="T13" fmla="*/ 98 h 210"/>
                <a:gd name="T14" fmla="*/ 1 w 1085"/>
                <a:gd name="T15" fmla="*/ 98 h 210"/>
                <a:gd name="T16" fmla="*/ 97 w 1085"/>
                <a:gd name="T17" fmla="*/ 19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5" h="210">
                  <a:moveTo>
                    <a:pt x="97" y="197"/>
                  </a:moveTo>
                  <a:lnTo>
                    <a:pt x="986" y="208"/>
                  </a:lnTo>
                  <a:lnTo>
                    <a:pt x="986" y="208"/>
                  </a:lnTo>
                  <a:cubicBezTo>
                    <a:pt x="1040" y="209"/>
                    <a:pt x="1082" y="167"/>
                    <a:pt x="1084" y="112"/>
                  </a:cubicBezTo>
                  <a:lnTo>
                    <a:pt x="1084" y="14"/>
                  </a:lnTo>
                  <a:lnTo>
                    <a:pt x="3" y="0"/>
                  </a:lnTo>
                  <a:lnTo>
                    <a:pt x="1" y="98"/>
                  </a:lnTo>
                  <a:lnTo>
                    <a:pt x="1" y="98"/>
                  </a:lnTo>
                  <a:cubicBezTo>
                    <a:pt x="0" y="151"/>
                    <a:pt x="43" y="195"/>
                    <a:pt x="97" y="197"/>
                  </a:cubicBezTo>
                </a:path>
              </a:pathLst>
            </a:custGeom>
            <a:solidFill>
              <a:srgbClr val="F9A30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0" name="Freeform 43">
              <a:extLst>
                <a:ext uri="{FF2B5EF4-FFF2-40B4-BE49-F238E27FC236}">
                  <a16:creationId xmlns:a16="http://schemas.microsoft.com/office/drawing/2014/main" xmlns="" id="{75CB8879-F90B-47B3-A06E-58D87C750F8A}"/>
                </a:ext>
              </a:extLst>
            </p:cNvPr>
            <p:cNvSpPr>
              <a:spLocks noChangeArrowheads="1"/>
            </p:cNvSpPr>
            <p:nvPr/>
          </p:nvSpPr>
          <p:spPr bwMode="auto">
            <a:xfrm>
              <a:off x="18280665" y="5979510"/>
              <a:ext cx="705675" cy="132494"/>
            </a:xfrm>
            <a:custGeom>
              <a:avLst/>
              <a:gdLst>
                <a:gd name="T0" fmla="*/ 0 w 1082"/>
                <a:gd name="T1" fmla="*/ 189 h 204"/>
                <a:gd name="T2" fmla="*/ 1081 w 1082"/>
                <a:gd name="T3" fmla="*/ 203 h 204"/>
                <a:gd name="T4" fmla="*/ 829 w 1082"/>
                <a:gd name="T5" fmla="*/ 8 h 204"/>
                <a:gd name="T6" fmla="*/ 238 w 1082"/>
                <a:gd name="T7" fmla="*/ 0 h 204"/>
                <a:gd name="T8" fmla="*/ 0 w 1082"/>
                <a:gd name="T9" fmla="*/ 189 h 204"/>
              </a:gdLst>
              <a:ahLst/>
              <a:cxnLst>
                <a:cxn ang="0">
                  <a:pos x="T0" y="T1"/>
                </a:cxn>
                <a:cxn ang="0">
                  <a:pos x="T2" y="T3"/>
                </a:cxn>
                <a:cxn ang="0">
                  <a:pos x="T4" y="T5"/>
                </a:cxn>
                <a:cxn ang="0">
                  <a:pos x="T6" y="T7"/>
                </a:cxn>
                <a:cxn ang="0">
                  <a:pos x="T8" y="T9"/>
                </a:cxn>
              </a:cxnLst>
              <a:rect l="0" t="0" r="r" b="b"/>
              <a:pathLst>
                <a:path w="1082" h="204">
                  <a:moveTo>
                    <a:pt x="0" y="189"/>
                  </a:moveTo>
                  <a:lnTo>
                    <a:pt x="1081" y="203"/>
                  </a:lnTo>
                  <a:lnTo>
                    <a:pt x="829" y="8"/>
                  </a:lnTo>
                  <a:lnTo>
                    <a:pt x="238" y="0"/>
                  </a:lnTo>
                  <a:lnTo>
                    <a:pt x="0" y="189"/>
                  </a:lnTo>
                </a:path>
              </a:pathLst>
            </a:custGeom>
            <a:solidFill>
              <a:srgbClr val="F5E21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1" name="Freeform 44">
              <a:extLst>
                <a:ext uri="{FF2B5EF4-FFF2-40B4-BE49-F238E27FC236}">
                  <a16:creationId xmlns:a16="http://schemas.microsoft.com/office/drawing/2014/main" xmlns="" id="{842ED4F6-9AAF-4CAA-997B-961D8CEFAE67}"/>
                </a:ext>
              </a:extLst>
            </p:cNvPr>
            <p:cNvSpPr>
              <a:spLocks noChangeArrowheads="1"/>
            </p:cNvSpPr>
            <p:nvPr/>
          </p:nvSpPr>
          <p:spPr bwMode="auto">
            <a:xfrm>
              <a:off x="17906226" y="3819282"/>
              <a:ext cx="1520800" cy="288030"/>
            </a:xfrm>
            <a:custGeom>
              <a:avLst/>
              <a:gdLst>
                <a:gd name="T0" fmla="*/ 6 w 2327"/>
                <a:gd name="T1" fmla="*/ 0 h 443"/>
                <a:gd name="T2" fmla="*/ 2326 w 2327"/>
                <a:gd name="T3" fmla="*/ 32 h 443"/>
                <a:gd name="T4" fmla="*/ 2320 w 2327"/>
                <a:gd name="T5" fmla="*/ 442 h 443"/>
                <a:gd name="T6" fmla="*/ 0 w 2327"/>
                <a:gd name="T7" fmla="*/ 411 h 443"/>
                <a:gd name="T8" fmla="*/ 6 w 2327"/>
                <a:gd name="T9" fmla="*/ 0 h 443"/>
              </a:gdLst>
              <a:ahLst/>
              <a:cxnLst>
                <a:cxn ang="0">
                  <a:pos x="T0" y="T1"/>
                </a:cxn>
                <a:cxn ang="0">
                  <a:pos x="T2" y="T3"/>
                </a:cxn>
                <a:cxn ang="0">
                  <a:pos x="T4" y="T5"/>
                </a:cxn>
                <a:cxn ang="0">
                  <a:pos x="T6" y="T7"/>
                </a:cxn>
                <a:cxn ang="0">
                  <a:pos x="T8" y="T9"/>
                </a:cxn>
              </a:cxnLst>
              <a:rect l="0" t="0" r="r" b="b"/>
              <a:pathLst>
                <a:path w="2327" h="443">
                  <a:moveTo>
                    <a:pt x="6" y="0"/>
                  </a:moveTo>
                  <a:lnTo>
                    <a:pt x="2326" y="32"/>
                  </a:lnTo>
                  <a:lnTo>
                    <a:pt x="2320" y="442"/>
                  </a:lnTo>
                  <a:lnTo>
                    <a:pt x="0" y="411"/>
                  </a:lnTo>
                  <a:lnTo>
                    <a:pt x="6" y="0"/>
                  </a:lnTo>
                </a:path>
              </a:pathLst>
            </a:custGeom>
            <a:solidFill>
              <a:srgbClr val="FFC2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2" name="Freeform 45">
              <a:extLst>
                <a:ext uri="{FF2B5EF4-FFF2-40B4-BE49-F238E27FC236}">
                  <a16:creationId xmlns:a16="http://schemas.microsoft.com/office/drawing/2014/main" xmlns="" id="{2A250E1E-36B4-43F4-B75F-811DB5304763}"/>
                </a:ext>
              </a:extLst>
            </p:cNvPr>
            <p:cNvSpPr>
              <a:spLocks noChangeArrowheads="1"/>
            </p:cNvSpPr>
            <p:nvPr/>
          </p:nvSpPr>
          <p:spPr bwMode="auto">
            <a:xfrm>
              <a:off x="18678147" y="4098672"/>
              <a:ext cx="740239" cy="1080112"/>
            </a:xfrm>
            <a:custGeom>
              <a:avLst/>
              <a:gdLst>
                <a:gd name="T0" fmla="*/ 25 w 1135"/>
                <a:gd name="T1" fmla="*/ 0 h 1654"/>
                <a:gd name="T2" fmla="*/ 0 w 1135"/>
                <a:gd name="T3" fmla="*/ 1648 h 1654"/>
                <a:gd name="T4" fmla="*/ 351 w 1135"/>
                <a:gd name="T5" fmla="*/ 1653 h 1654"/>
                <a:gd name="T6" fmla="*/ 351 w 1135"/>
                <a:gd name="T7" fmla="*/ 1653 h 1654"/>
                <a:gd name="T8" fmla="*/ 1134 w 1135"/>
                <a:gd name="T9" fmla="*/ 14 h 1654"/>
                <a:gd name="T10" fmla="*/ 25 w 1135"/>
                <a:gd name="T11" fmla="*/ 0 h 1654"/>
              </a:gdLst>
              <a:ahLst/>
              <a:cxnLst>
                <a:cxn ang="0">
                  <a:pos x="T0" y="T1"/>
                </a:cxn>
                <a:cxn ang="0">
                  <a:pos x="T2" y="T3"/>
                </a:cxn>
                <a:cxn ang="0">
                  <a:pos x="T4" y="T5"/>
                </a:cxn>
                <a:cxn ang="0">
                  <a:pos x="T6" y="T7"/>
                </a:cxn>
                <a:cxn ang="0">
                  <a:pos x="T8" y="T9"/>
                </a:cxn>
                <a:cxn ang="0">
                  <a:pos x="T10" y="T11"/>
                </a:cxn>
              </a:cxnLst>
              <a:rect l="0" t="0" r="r" b="b"/>
              <a:pathLst>
                <a:path w="1135" h="1654">
                  <a:moveTo>
                    <a:pt x="25" y="0"/>
                  </a:moveTo>
                  <a:lnTo>
                    <a:pt x="0" y="1648"/>
                  </a:lnTo>
                  <a:lnTo>
                    <a:pt x="351" y="1653"/>
                  </a:lnTo>
                  <a:lnTo>
                    <a:pt x="351" y="1653"/>
                  </a:lnTo>
                  <a:cubicBezTo>
                    <a:pt x="774" y="1408"/>
                    <a:pt x="1090" y="776"/>
                    <a:pt x="1134" y="14"/>
                  </a:cubicBezTo>
                  <a:lnTo>
                    <a:pt x="25" y="0"/>
                  </a:lnTo>
                </a:path>
              </a:pathLst>
            </a:custGeom>
            <a:solidFill>
              <a:srgbClr val="FFC7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3" name="Freeform 46">
              <a:extLst>
                <a:ext uri="{FF2B5EF4-FFF2-40B4-BE49-F238E27FC236}">
                  <a16:creationId xmlns:a16="http://schemas.microsoft.com/office/drawing/2014/main" xmlns="" id="{7987F11C-9288-4484-A759-1A4CF301DF2E}"/>
                </a:ext>
              </a:extLst>
            </p:cNvPr>
            <p:cNvSpPr>
              <a:spLocks noChangeArrowheads="1"/>
            </p:cNvSpPr>
            <p:nvPr/>
          </p:nvSpPr>
          <p:spPr bwMode="auto">
            <a:xfrm>
              <a:off x="17906227" y="4087152"/>
              <a:ext cx="792084" cy="1088754"/>
            </a:xfrm>
            <a:custGeom>
              <a:avLst/>
              <a:gdLst>
                <a:gd name="T0" fmla="*/ 0 w 1212"/>
                <a:gd name="T1" fmla="*/ 0 h 1666"/>
                <a:gd name="T2" fmla="*/ 0 w 1212"/>
                <a:gd name="T3" fmla="*/ 0 h 1666"/>
                <a:gd name="T4" fmla="*/ 738 w 1212"/>
                <a:gd name="T5" fmla="*/ 1659 h 1666"/>
                <a:gd name="T6" fmla="*/ 1186 w 1212"/>
                <a:gd name="T7" fmla="*/ 1665 h 1666"/>
                <a:gd name="T8" fmla="*/ 1211 w 1212"/>
                <a:gd name="T9" fmla="*/ 17 h 1666"/>
                <a:gd name="T10" fmla="*/ 0 w 1212"/>
                <a:gd name="T11" fmla="*/ 0 h 1666"/>
              </a:gdLst>
              <a:ahLst/>
              <a:cxnLst>
                <a:cxn ang="0">
                  <a:pos x="T0" y="T1"/>
                </a:cxn>
                <a:cxn ang="0">
                  <a:pos x="T2" y="T3"/>
                </a:cxn>
                <a:cxn ang="0">
                  <a:pos x="T4" y="T5"/>
                </a:cxn>
                <a:cxn ang="0">
                  <a:pos x="T6" y="T7"/>
                </a:cxn>
                <a:cxn ang="0">
                  <a:pos x="T8" y="T9"/>
                </a:cxn>
                <a:cxn ang="0">
                  <a:pos x="T10" y="T11"/>
                </a:cxn>
              </a:cxnLst>
              <a:rect l="0" t="0" r="r" b="b"/>
              <a:pathLst>
                <a:path w="1212" h="1666">
                  <a:moveTo>
                    <a:pt x="0" y="0"/>
                  </a:moveTo>
                  <a:lnTo>
                    <a:pt x="0" y="0"/>
                  </a:lnTo>
                  <a:cubicBezTo>
                    <a:pt x="23" y="762"/>
                    <a:pt x="322" y="1402"/>
                    <a:pt x="738" y="1659"/>
                  </a:cubicBezTo>
                  <a:lnTo>
                    <a:pt x="1186" y="1665"/>
                  </a:lnTo>
                  <a:lnTo>
                    <a:pt x="1211" y="17"/>
                  </a:lnTo>
                  <a:lnTo>
                    <a:pt x="0" y="0"/>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4" name="Freeform 47">
              <a:extLst>
                <a:ext uri="{FF2B5EF4-FFF2-40B4-BE49-F238E27FC236}">
                  <a16:creationId xmlns:a16="http://schemas.microsoft.com/office/drawing/2014/main" xmlns="" id="{648DAD36-4851-465D-B664-1FDCE4591FB8}"/>
                </a:ext>
              </a:extLst>
            </p:cNvPr>
            <p:cNvSpPr>
              <a:spLocks noChangeArrowheads="1"/>
            </p:cNvSpPr>
            <p:nvPr/>
          </p:nvSpPr>
          <p:spPr bwMode="auto">
            <a:xfrm>
              <a:off x="19087150" y="4254209"/>
              <a:ext cx="129615" cy="132494"/>
            </a:xfrm>
            <a:custGeom>
              <a:avLst/>
              <a:gdLst>
                <a:gd name="T0" fmla="*/ 0 w 200"/>
                <a:gd name="T1" fmla="*/ 99 h 201"/>
                <a:gd name="T2" fmla="*/ 0 w 200"/>
                <a:gd name="T3" fmla="*/ 99 h 201"/>
                <a:gd name="T4" fmla="*/ 98 w 200"/>
                <a:gd name="T5" fmla="*/ 198 h 201"/>
                <a:gd name="T6" fmla="*/ 98 w 200"/>
                <a:gd name="T7" fmla="*/ 198 h 201"/>
                <a:gd name="T8" fmla="*/ 198 w 200"/>
                <a:gd name="T9" fmla="*/ 102 h 201"/>
                <a:gd name="T10" fmla="*/ 198 w 200"/>
                <a:gd name="T11" fmla="*/ 102 h 201"/>
                <a:gd name="T12" fmla="*/ 101 w 200"/>
                <a:gd name="T13" fmla="*/ 0 h 201"/>
                <a:gd name="T14" fmla="*/ 101 w 200"/>
                <a:gd name="T15" fmla="*/ 0 h 201"/>
                <a:gd name="T16" fmla="*/ 0 w 200"/>
                <a:gd name="T17" fmla="*/ 9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1">
                  <a:moveTo>
                    <a:pt x="0" y="99"/>
                  </a:moveTo>
                  <a:lnTo>
                    <a:pt x="0" y="99"/>
                  </a:lnTo>
                  <a:cubicBezTo>
                    <a:pt x="0" y="154"/>
                    <a:pt x="44" y="198"/>
                    <a:pt x="98" y="198"/>
                  </a:cubicBezTo>
                  <a:lnTo>
                    <a:pt x="98" y="198"/>
                  </a:lnTo>
                  <a:cubicBezTo>
                    <a:pt x="154" y="200"/>
                    <a:pt x="198" y="157"/>
                    <a:pt x="198" y="102"/>
                  </a:cubicBezTo>
                  <a:lnTo>
                    <a:pt x="198" y="102"/>
                  </a:lnTo>
                  <a:cubicBezTo>
                    <a:pt x="199" y="47"/>
                    <a:pt x="155" y="2"/>
                    <a:pt x="101" y="0"/>
                  </a:cubicBezTo>
                  <a:lnTo>
                    <a:pt x="101" y="0"/>
                  </a:lnTo>
                  <a:cubicBezTo>
                    <a:pt x="45" y="0"/>
                    <a:pt x="1" y="45"/>
                    <a:pt x="0" y="9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5" name="Freeform 48">
              <a:extLst>
                <a:ext uri="{FF2B5EF4-FFF2-40B4-BE49-F238E27FC236}">
                  <a16:creationId xmlns:a16="http://schemas.microsoft.com/office/drawing/2014/main" xmlns="" id="{F7A9FA18-8760-4126-9FE5-FA763E4BC2BC}"/>
                </a:ext>
              </a:extLst>
            </p:cNvPr>
            <p:cNvSpPr>
              <a:spLocks noChangeArrowheads="1"/>
            </p:cNvSpPr>
            <p:nvPr/>
          </p:nvSpPr>
          <p:spPr bwMode="auto">
            <a:xfrm>
              <a:off x="18269145" y="5170145"/>
              <a:ext cx="754639" cy="198740"/>
            </a:xfrm>
            <a:custGeom>
              <a:avLst/>
              <a:gdLst>
                <a:gd name="T0" fmla="*/ 1 w 1157"/>
                <a:gd name="T1" fmla="*/ 187 h 305"/>
                <a:gd name="T2" fmla="*/ 1 w 1157"/>
                <a:gd name="T3" fmla="*/ 187 h 305"/>
                <a:gd name="T4" fmla="*/ 101 w 1157"/>
                <a:gd name="T5" fmla="*/ 290 h 305"/>
                <a:gd name="T6" fmla="*/ 1051 w 1157"/>
                <a:gd name="T7" fmla="*/ 304 h 305"/>
                <a:gd name="T8" fmla="*/ 1051 w 1157"/>
                <a:gd name="T9" fmla="*/ 304 h 305"/>
                <a:gd name="T10" fmla="*/ 1155 w 1157"/>
                <a:gd name="T11" fmla="*/ 203 h 305"/>
                <a:gd name="T12" fmla="*/ 1156 w 1157"/>
                <a:gd name="T13" fmla="*/ 117 h 305"/>
                <a:gd name="T14" fmla="*/ 1156 w 1157"/>
                <a:gd name="T15" fmla="*/ 117 h 305"/>
                <a:gd name="T16" fmla="*/ 1055 w 1157"/>
                <a:gd name="T17" fmla="*/ 15 h 305"/>
                <a:gd name="T18" fmla="*/ 105 w 1157"/>
                <a:gd name="T19" fmla="*/ 2 h 305"/>
                <a:gd name="T20" fmla="*/ 105 w 1157"/>
                <a:gd name="T21" fmla="*/ 2 h 305"/>
                <a:gd name="T22" fmla="*/ 1 w 1157"/>
                <a:gd name="T23" fmla="*/ 102 h 305"/>
                <a:gd name="T24" fmla="*/ 1 w 1157"/>
                <a:gd name="T25" fmla="*/ 187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7" h="305">
                  <a:moveTo>
                    <a:pt x="1" y="187"/>
                  </a:moveTo>
                  <a:lnTo>
                    <a:pt x="1" y="187"/>
                  </a:lnTo>
                  <a:cubicBezTo>
                    <a:pt x="0" y="244"/>
                    <a:pt x="45" y="290"/>
                    <a:pt x="101" y="290"/>
                  </a:cubicBezTo>
                  <a:lnTo>
                    <a:pt x="1051" y="304"/>
                  </a:lnTo>
                  <a:lnTo>
                    <a:pt x="1051" y="304"/>
                  </a:lnTo>
                  <a:cubicBezTo>
                    <a:pt x="1108" y="304"/>
                    <a:pt x="1154" y="260"/>
                    <a:pt x="1155" y="203"/>
                  </a:cubicBezTo>
                  <a:lnTo>
                    <a:pt x="1156" y="117"/>
                  </a:lnTo>
                  <a:lnTo>
                    <a:pt x="1156" y="117"/>
                  </a:lnTo>
                  <a:cubicBezTo>
                    <a:pt x="1156" y="62"/>
                    <a:pt x="1111" y="15"/>
                    <a:pt x="1055" y="15"/>
                  </a:cubicBezTo>
                  <a:lnTo>
                    <a:pt x="105" y="2"/>
                  </a:lnTo>
                  <a:lnTo>
                    <a:pt x="105" y="2"/>
                  </a:lnTo>
                  <a:cubicBezTo>
                    <a:pt x="48" y="0"/>
                    <a:pt x="3" y="46"/>
                    <a:pt x="1" y="102"/>
                  </a:cubicBezTo>
                  <a:lnTo>
                    <a:pt x="1" y="187"/>
                  </a:lnTo>
                </a:path>
              </a:pathLst>
            </a:custGeom>
            <a:solidFill>
              <a:srgbClr val="FFC2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grpSp>
      <p:sp>
        <p:nvSpPr>
          <p:cNvPr id="56" name="Freeform 49">
            <a:extLst>
              <a:ext uri="{FF2B5EF4-FFF2-40B4-BE49-F238E27FC236}">
                <a16:creationId xmlns:a16="http://schemas.microsoft.com/office/drawing/2014/main" xmlns="" id="{79BBDD8D-0397-4FD9-9C81-0462E5BD6DFB}"/>
              </a:ext>
            </a:extLst>
          </p:cNvPr>
          <p:cNvSpPr>
            <a:spLocks noChangeArrowheads="1"/>
          </p:cNvSpPr>
          <p:nvPr/>
        </p:nvSpPr>
        <p:spPr bwMode="auto">
          <a:xfrm>
            <a:off x="8179631" y="2249826"/>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3"/>
          </a:solidFill>
          <a:ln>
            <a:noFill/>
          </a:ln>
          <a:effectLst/>
        </p:spPr>
        <p:txBody>
          <a:bodyPr wrap="none" anchor="ctr"/>
          <a:lstStyle/>
          <a:p>
            <a:endParaRPr lang="en-GB" sz="2450" dirty="0">
              <a:latin typeface="+mj-lt"/>
            </a:endParaRPr>
          </a:p>
        </p:txBody>
      </p:sp>
      <p:sp>
        <p:nvSpPr>
          <p:cNvPr id="57" name="Freeform 50">
            <a:extLst>
              <a:ext uri="{FF2B5EF4-FFF2-40B4-BE49-F238E27FC236}">
                <a16:creationId xmlns:a16="http://schemas.microsoft.com/office/drawing/2014/main" xmlns="" id="{F40AE6CA-518F-41EB-8602-8269273ABB21}"/>
              </a:ext>
            </a:extLst>
          </p:cNvPr>
          <p:cNvSpPr>
            <a:spLocks noChangeArrowheads="1"/>
          </p:cNvSpPr>
          <p:nvPr/>
        </p:nvSpPr>
        <p:spPr bwMode="auto">
          <a:xfrm>
            <a:off x="9117144" y="2249826"/>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4"/>
          </a:solidFill>
          <a:ln>
            <a:noFill/>
          </a:ln>
          <a:effectLst/>
        </p:spPr>
        <p:txBody>
          <a:bodyPr wrap="none" anchor="ctr"/>
          <a:lstStyle/>
          <a:p>
            <a:endParaRPr lang="en-GB" sz="2450" dirty="0">
              <a:latin typeface="+mj-lt"/>
            </a:endParaRPr>
          </a:p>
        </p:txBody>
      </p:sp>
      <p:sp>
        <p:nvSpPr>
          <p:cNvPr id="58" name="Freeform 51">
            <a:extLst>
              <a:ext uri="{FF2B5EF4-FFF2-40B4-BE49-F238E27FC236}">
                <a16:creationId xmlns:a16="http://schemas.microsoft.com/office/drawing/2014/main" xmlns="" id="{AD44149D-D4FA-4264-A2F9-C328946F230A}"/>
              </a:ext>
            </a:extLst>
          </p:cNvPr>
          <p:cNvSpPr>
            <a:spLocks noChangeArrowheads="1"/>
          </p:cNvSpPr>
          <p:nvPr/>
        </p:nvSpPr>
        <p:spPr bwMode="auto">
          <a:xfrm>
            <a:off x="7242118" y="2249826"/>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2"/>
          </a:solidFill>
          <a:ln>
            <a:noFill/>
          </a:ln>
          <a:effectLst/>
        </p:spPr>
        <p:txBody>
          <a:bodyPr wrap="none" anchor="ctr"/>
          <a:lstStyle/>
          <a:p>
            <a:endParaRPr lang="en-GB" sz="2450" dirty="0">
              <a:latin typeface="+mj-lt"/>
            </a:endParaRPr>
          </a:p>
        </p:txBody>
      </p:sp>
      <p:sp>
        <p:nvSpPr>
          <p:cNvPr id="59" name="Freeform 52">
            <a:extLst>
              <a:ext uri="{FF2B5EF4-FFF2-40B4-BE49-F238E27FC236}">
                <a16:creationId xmlns:a16="http://schemas.microsoft.com/office/drawing/2014/main" xmlns="" id="{F30410A3-6B13-465A-B39F-79BD0B16525A}"/>
              </a:ext>
            </a:extLst>
          </p:cNvPr>
          <p:cNvSpPr>
            <a:spLocks noChangeArrowheads="1"/>
          </p:cNvSpPr>
          <p:nvPr/>
        </p:nvSpPr>
        <p:spPr bwMode="auto">
          <a:xfrm>
            <a:off x="6304131" y="2249826"/>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1"/>
          </a:solidFill>
          <a:ln>
            <a:noFill/>
          </a:ln>
          <a:effectLst/>
        </p:spPr>
        <p:txBody>
          <a:bodyPr wrap="none" anchor="ctr"/>
          <a:lstStyle/>
          <a:p>
            <a:endParaRPr lang="en-GB" sz="2450" dirty="0">
              <a:latin typeface="+mj-lt"/>
            </a:endParaRPr>
          </a:p>
        </p:txBody>
      </p:sp>
      <p:sp>
        <p:nvSpPr>
          <p:cNvPr id="60" name="L-Shape 58">
            <a:extLst>
              <a:ext uri="{FF2B5EF4-FFF2-40B4-BE49-F238E27FC236}">
                <a16:creationId xmlns:a16="http://schemas.microsoft.com/office/drawing/2014/main" xmlns="" id="{42E68939-21E1-4830-B03F-2BE91543B9CF}"/>
              </a:ext>
            </a:extLst>
          </p:cNvPr>
          <p:cNvSpPr/>
          <p:nvPr/>
        </p:nvSpPr>
        <p:spPr>
          <a:xfrm rot="10800000" flipH="1">
            <a:off x="3423679" y="4546908"/>
            <a:ext cx="1471555" cy="858841"/>
          </a:xfrm>
          <a:prstGeom prst="corner">
            <a:avLst>
              <a:gd name="adj1" fmla="val 17009"/>
              <a:gd name="adj2" fmla="val 166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1" name="L-Shape 59">
            <a:extLst>
              <a:ext uri="{FF2B5EF4-FFF2-40B4-BE49-F238E27FC236}">
                <a16:creationId xmlns:a16="http://schemas.microsoft.com/office/drawing/2014/main" xmlns="" id="{E09D1C61-BFD0-4274-8D67-70FB5E983053}"/>
              </a:ext>
            </a:extLst>
          </p:cNvPr>
          <p:cNvSpPr/>
          <p:nvPr/>
        </p:nvSpPr>
        <p:spPr>
          <a:xfrm rot="10800000" flipH="1">
            <a:off x="5086672" y="4177717"/>
            <a:ext cx="1471555" cy="858841"/>
          </a:xfrm>
          <a:prstGeom prst="corner">
            <a:avLst>
              <a:gd name="adj1" fmla="val 17009"/>
              <a:gd name="adj2" fmla="val 166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2" name="Freeform 6">
            <a:extLst>
              <a:ext uri="{FF2B5EF4-FFF2-40B4-BE49-F238E27FC236}">
                <a16:creationId xmlns:a16="http://schemas.microsoft.com/office/drawing/2014/main" xmlns="" id="{294687EF-CC1D-4E02-8978-3A44E89645CC}"/>
              </a:ext>
            </a:extLst>
          </p:cNvPr>
          <p:cNvSpPr>
            <a:spLocks noChangeArrowheads="1"/>
          </p:cNvSpPr>
          <p:nvPr/>
        </p:nvSpPr>
        <p:spPr bwMode="auto">
          <a:xfrm>
            <a:off x="9588084" y="3127284"/>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4"/>
          </a:solidFill>
          <a:ln>
            <a:noFill/>
          </a:ln>
          <a:effectLst/>
        </p:spPr>
        <p:txBody>
          <a:bodyPr wrap="none" anchor="ctr"/>
          <a:lstStyle/>
          <a:p>
            <a:endParaRPr lang="en-GB" sz="2450" dirty="0">
              <a:latin typeface="+mj-lt"/>
            </a:endParaRPr>
          </a:p>
        </p:txBody>
      </p:sp>
      <p:sp>
        <p:nvSpPr>
          <p:cNvPr id="63" name="L-Shape 62">
            <a:extLst>
              <a:ext uri="{FF2B5EF4-FFF2-40B4-BE49-F238E27FC236}">
                <a16:creationId xmlns:a16="http://schemas.microsoft.com/office/drawing/2014/main" xmlns="" id="{400ABB2D-858C-44FF-860A-59E4B789BD87}"/>
              </a:ext>
            </a:extLst>
          </p:cNvPr>
          <p:cNvSpPr/>
          <p:nvPr/>
        </p:nvSpPr>
        <p:spPr>
          <a:xfrm rot="10800000" flipH="1">
            <a:off x="8332109" y="3452451"/>
            <a:ext cx="1471555" cy="858841"/>
          </a:xfrm>
          <a:prstGeom prst="corner">
            <a:avLst>
              <a:gd name="adj1" fmla="val 17009"/>
              <a:gd name="adj2" fmla="val 1663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4" name="L-Shape 63">
            <a:extLst>
              <a:ext uri="{FF2B5EF4-FFF2-40B4-BE49-F238E27FC236}">
                <a16:creationId xmlns:a16="http://schemas.microsoft.com/office/drawing/2014/main" xmlns="" id="{C7DC8BA1-D48C-48C6-B16E-6E4E6F3651B6}"/>
              </a:ext>
            </a:extLst>
          </p:cNvPr>
          <p:cNvSpPr/>
          <p:nvPr/>
        </p:nvSpPr>
        <p:spPr>
          <a:xfrm rot="10800000" flipH="1">
            <a:off x="9974646" y="3119059"/>
            <a:ext cx="1471555" cy="858841"/>
          </a:xfrm>
          <a:prstGeom prst="corner">
            <a:avLst>
              <a:gd name="adj1" fmla="val 17009"/>
              <a:gd name="adj2" fmla="val 1663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5" name="L-Shape 64">
            <a:extLst>
              <a:ext uri="{FF2B5EF4-FFF2-40B4-BE49-F238E27FC236}">
                <a16:creationId xmlns:a16="http://schemas.microsoft.com/office/drawing/2014/main" xmlns="" id="{C984EBDF-A273-46BC-B4DB-2068E7D310DD}"/>
              </a:ext>
            </a:extLst>
          </p:cNvPr>
          <p:cNvSpPr/>
          <p:nvPr/>
        </p:nvSpPr>
        <p:spPr>
          <a:xfrm rot="10800000" flipH="1">
            <a:off x="6717111" y="3834710"/>
            <a:ext cx="1471555" cy="858841"/>
          </a:xfrm>
          <a:prstGeom prst="corner">
            <a:avLst>
              <a:gd name="adj1" fmla="val 17009"/>
              <a:gd name="adj2" fmla="val 1663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6" name="Subtitle 2">
            <a:extLst>
              <a:ext uri="{FF2B5EF4-FFF2-40B4-BE49-F238E27FC236}">
                <a16:creationId xmlns:a16="http://schemas.microsoft.com/office/drawing/2014/main" xmlns="" id="{6DA36CAD-13BA-45F2-891E-9C1C0945FC60}"/>
              </a:ext>
            </a:extLst>
          </p:cNvPr>
          <p:cNvSpPr txBox="1">
            <a:spLocks/>
          </p:cNvSpPr>
          <p:nvPr/>
        </p:nvSpPr>
        <p:spPr>
          <a:xfrm>
            <a:off x="3653972" y="4693575"/>
            <a:ext cx="1403465"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Evaluaciones rápidas de la gestión empresarial (por ejemplo, utilizando ratios)</a:t>
            </a:r>
          </a:p>
        </p:txBody>
      </p:sp>
      <p:sp>
        <p:nvSpPr>
          <p:cNvPr id="67" name="Subtitle 2">
            <a:extLst>
              <a:ext uri="{FF2B5EF4-FFF2-40B4-BE49-F238E27FC236}">
                <a16:creationId xmlns:a16="http://schemas.microsoft.com/office/drawing/2014/main" xmlns="" id="{6C14AE31-B32D-4780-9EF1-F12354D0EEF1}"/>
              </a:ext>
            </a:extLst>
          </p:cNvPr>
          <p:cNvSpPr txBox="1">
            <a:spLocks/>
          </p:cNvSpPr>
          <p:nvPr/>
        </p:nvSpPr>
        <p:spPr>
          <a:xfrm>
            <a:off x="5262758" y="4370305"/>
            <a:ext cx="1403465"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Contabilidad de costes cualitativa (transparencia de las unidades de pérdidas y ganancias)</a:t>
            </a:r>
          </a:p>
        </p:txBody>
      </p:sp>
      <p:sp>
        <p:nvSpPr>
          <p:cNvPr id="68" name="Subtitle 2">
            <a:extLst>
              <a:ext uri="{FF2B5EF4-FFF2-40B4-BE49-F238E27FC236}">
                <a16:creationId xmlns:a16="http://schemas.microsoft.com/office/drawing/2014/main" xmlns="" id="{C08C58B0-EB71-41A8-AF9D-6E8742073E8E}"/>
              </a:ext>
            </a:extLst>
          </p:cNvPr>
          <p:cNvSpPr txBox="1">
            <a:spLocks/>
          </p:cNvSpPr>
          <p:nvPr/>
        </p:nvSpPr>
        <p:spPr>
          <a:xfrm>
            <a:off x="6884162" y="4028181"/>
            <a:ext cx="1463387" cy="27252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Planificación corporativa integrada (planificación de beneficios, del balance y de la liquidez). Planificación financiera detallada complementaria a corto plazo.</a:t>
            </a: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69" name="Subtitle 2">
            <a:extLst>
              <a:ext uri="{FF2B5EF4-FFF2-40B4-BE49-F238E27FC236}">
                <a16:creationId xmlns:a16="http://schemas.microsoft.com/office/drawing/2014/main" xmlns="" id="{141CCA65-AAB7-4DE3-A1BD-939C8411940A}"/>
              </a:ext>
            </a:extLst>
          </p:cNvPr>
          <p:cNvSpPr txBox="1">
            <a:spLocks/>
          </p:cNvSpPr>
          <p:nvPr/>
        </p:nvSpPr>
        <p:spPr>
          <a:xfrm>
            <a:off x="8504844" y="3647540"/>
            <a:ext cx="1266235" cy="28114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revisión rodante (adaptación constante de la planificación)</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lan en tiempo real: real/</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análisis de desviación</a:t>
            </a: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70" name="Subtitle 2">
            <a:extLst>
              <a:ext uri="{FF2B5EF4-FFF2-40B4-BE49-F238E27FC236}">
                <a16:creationId xmlns:a16="http://schemas.microsoft.com/office/drawing/2014/main" xmlns="" id="{70EC203E-2336-497F-8868-911BE45F9663}"/>
              </a:ext>
            </a:extLst>
          </p:cNvPr>
          <p:cNvSpPr txBox="1">
            <a:spLocks/>
          </p:cNvSpPr>
          <p:nvPr/>
        </p:nvSpPr>
        <p:spPr>
          <a:xfrm>
            <a:off x="10150733" y="3315458"/>
            <a:ext cx="1466450" cy="1265739"/>
          </a:xfrm>
          <a:prstGeom prst="rect">
            <a:avLst/>
          </a:prstGeom>
          <a:solidFill>
            <a:schemeClr val="accent4"/>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b="1" dirty="0">
                <a:solidFill>
                  <a:srgbClr val="245473"/>
                </a:solidFill>
                <a:latin typeface="+mj-lt"/>
                <a:ea typeface="Lato Light" panose="020F0502020204030203" pitchFamily="34" charset="0"/>
                <a:cs typeface="Mukta ExtraLight" panose="020B0000000000000000" pitchFamily="34" charset="77"/>
              </a:rPr>
              <a:t>Elaborar un concepto de reestructuración sostenible </a:t>
            </a:r>
          </a:p>
        </p:txBody>
      </p:sp>
      <p:sp>
        <p:nvSpPr>
          <p:cNvPr id="71" name="Freeform 18">
            <a:extLst>
              <a:ext uri="{FF2B5EF4-FFF2-40B4-BE49-F238E27FC236}">
                <a16:creationId xmlns:a16="http://schemas.microsoft.com/office/drawing/2014/main" xmlns="" id="{4B5C7710-F2E3-4BE5-B276-D245E909760F}"/>
              </a:ext>
            </a:extLst>
          </p:cNvPr>
          <p:cNvSpPr>
            <a:spLocks noChangeArrowheads="1"/>
          </p:cNvSpPr>
          <p:nvPr/>
        </p:nvSpPr>
        <p:spPr bwMode="auto">
          <a:xfrm>
            <a:off x="3917002" y="2985141"/>
            <a:ext cx="127834" cy="132797"/>
          </a:xfrm>
          <a:custGeom>
            <a:avLst/>
            <a:gdLst>
              <a:gd name="T0" fmla="*/ 248 w 453"/>
              <a:gd name="T1" fmla="*/ 462 h 471"/>
              <a:gd name="T2" fmla="*/ 248 w 453"/>
              <a:gd name="T3" fmla="*/ 462 h 471"/>
              <a:gd name="T4" fmla="*/ 215 w 453"/>
              <a:gd name="T5" fmla="*/ 457 h 471"/>
              <a:gd name="T6" fmla="*/ 9 w 453"/>
              <a:gd name="T7" fmla="*/ 188 h 471"/>
              <a:gd name="T8" fmla="*/ 9 w 453"/>
              <a:gd name="T9" fmla="*/ 188 h 471"/>
              <a:gd name="T10" fmla="*/ 13 w 453"/>
              <a:gd name="T11" fmla="*/ 155 h 471"/>
              <a:gd name="T12" fmla="*/ 204 w 453"/>
              <a:gd name="T13" fmla="*/ 9 h 471"/>
              <a:gd name="T14" fmla="*/ 204 w 453"/>
              <a:gd name="T15" fmla="*/ 9 h 471"/>
              <a:gd name="T16" fmla="*/ 237 w 453"/>
              <a:gd name="T17" fmla="*/ 13 h 471"/>
              <a:gd name="T18" fmla="*/ 443 w 453"/>
              <a:gd name="T19" fmla="*/ 282 h 471"/>
              <a:gd name="T20" fmla="*/ 443 w 453"/>
              <a:gd name="T21" fmla="*/ 282 h 471"/>
              <a:gd name="T22" fmla="*/ 439 w 453"/>
              <a:gd name="T23" fmla="*/ 315 h 471"/>
              <a:gd name="T24" fmla="*/ 248 w 453"/>
              <a:gd name="T25" fmla="*/ 46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3" h="471">
                <a:moveTo>
                  <a:pt x="248" y="462"/>
                </a:moveTo>
                <a:lnTo>
                  <a:pt x="248" y="462"/>
                </a:lnTo>
                <a:cubicBezTo>
                  <a:pt x="237" y="470"/>
                  <a:pt x="223" y="469"/>
                  <a:pt x="215" y="457"/>
                </a:cubicBezTo>
                <a:lnTo>
                  <a:pt x="9" y="188"/>
                </a:lnTo>
                <a:lnTo>
                  <a:pt x="9" y="188"/>
                </a:lnTo>
                <a:cubicBezTo>
                  <a:pt x="0" y="178"/>
                  <a:pt x="3" y="163"/>
                  <a:pt x="13" y="155"/>
                </a:cubicBezTo>
                <a:lnTo>
                  <a:pt x="204" y="9"/>
                </a:lnTo>
                <a:lnTo>
                  <a:pt x="204" y="9"/>
                </a:lnTo>
                <a:cubicBezTo>
                  <a:pt x="215" y="0"/>
                  <a:pt x="230" y="3"/>
                  <a:pt x="237" y="13"/>
                </a:cubicBezTo>
                <a:lnTo>
                  <a:pt x="443" y="282"/>
                </a:lnTo>
                <a:lnTo>
                  <a:pt x="443" y="282"/>
                </a:lnTo>
                <a:cubicBezTo>
                  <a:pt x="452" y="294"/>
                  <a:pt x="449" y="308"/>
                  <a:pt x="439" y="315"/>
                </a:cubicBezTo>
                <a:lnTo>
                  <a:pt x="248" y="462"/>
                </a:lnTo>
              </a:path>
            </a:pathLst>
          </a:custGeom>
          <a:solidFill>
            <a:schemeClr val="accent1">
              <a:lumMod val="40000"/>
              <a:lumOff val="60000"/>
            </a:schemeClr>
          </a:solidFill>
          <a:ln>
            <a:noFill/>
          </a:ln>
          <a:effectLst/>
        </p:spPr>
        <p:txBody>
          <a:bodyPr wrap="none" anchor="ctr"/>
          <a:lstStyle/>
          <a:p>
            <a:endParaRPr lang="en-GB" sz="2450" dirty="0">
              <a:latin typeface="+mj-lt"/>
            </a:endParaRPr>
          </a:p>
        </p:txBody>
      </p:sp>
    </p:spTree>
    <p:extLst>
      <p:ext uri="{BB962C8B-B14F-4D97-AF65-F5344CB8AC3E}">
        <p14:creationId xmlns:p14="http://schemas.microsoft.com/office/powerpoint/2010/main" val="38882025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a:xfrm>
            <a:off x="1447686" y="498466"/>
            <a:ext cx="8852375" cy="697353"/>
          </a:xfrm>
        </p:spPr>
        <p:txBody>
          <a:bodyPr>
            <a:normAutofit/>
          </a:bodyPr>
          <a:lstStyle/>
          <a:p>
            <a:r>
              <a:rPr lang="en-GB" dirty="0"/>
              <a:t>Reducción del impacto de la crisis - Mitigación</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284345" y="2142491"/>
            <a:ext cx="2541024" cy="377569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rgbClr val="245473"/>
                </a:solidFill>
                <a:latin typeface="+mj-lt"/>
                <a:ea typeface="Open Sans Light" panose="020B0306030504020204" pitchFamily="34" charset="0"/>
                <a:cs typeface="Open Sans Light" panose="020B0306030504020204" pitchFamily="34" charset="0"/>
              </a:rPr>
              <a:t>Para evitar consecuencias irreversibles, primero hay que evitar la preparación para la insolvencia y luego resolver definitivamente la crisis de liquidez.</a:t>
            </a:r>
            <a:endParaRPr lang="en-US" sz="2800" dirty="0">
              <a:solidFill>
                <a:srgbClr val="245473"/>
              </a:solidFill>
            </a:endParaRPr>
          </a:p>
        </p:txBody>
      </p:sp>
      <p:sp>
        <p:nvSpPr>
          <p:cNvPr id="24" name="Chevron 1">
            <a:extLst>
              <a:ext uri="{FF2B5EF4-FFF2-40B4-BE49-F238E27FC236}">
                <a16:creationId xmlns:a16="http://schemas.microsoft.com/office/drawing/2014/main" xmlns="" id="{FDD36281-1E25-4D30-9E84-C77A5C38F4BA}"/>
              </a:ext>
            </a:extLst>
          </p:cNvPr>
          <p:cNvSpPr/>
          <p:nvPr/>
        </p:nvSpPr>
        <p:spPr>
          <a:xfrm>
            <a:off x="3203910" y="1912112"/>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25" name="Chevron 2">
            <a:extLst>
              <a:ext uri="{FF2B5EF4-FFF2-40B4-BE49-F238E27FC236}">
                <a16:creationId xmlns:a16="http://schemas.microsoft.com/office/drawing/2014/main" xmlns="" id="{2E9833ED-FC99-42BC-8406-06A2341CC685}"/>
              </a:ext>
            </a:extLst>
          </p:cNvPr>
          <p:cNvSpPr/>
          <p:nvPr/>
        </p:nvSpPr>
        <p:spPr>
          <a:xfrm>
            <a:off x="4661389" y="1912112"/>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2" name="Chevron 3">
            <a:extLst>
              <a:ext uri="{FF2B5EF4-FFF2-40B4-BE49-F238E27FC236}">
                <a16:creationId xmlns:a16="http://schemas.microsoft.com/office/drawing/2014/main" xmlns="" id="{77F1EE87-03C2-4032-B6B5-6AF96811AA4D}"/>
              </a:ext>
            </a:extLst>
          </p:cNvPr>
          <p:cNvSpPr/>
          <p:nvPr/>
        </p:nvSpPr>
        <p:spPr>
          <a:xfrm>
            <a:off x="6118868" y="1912112"/>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3" name="Chevron 4">
            <a:extLst>
              <a:ext uri="{FF2B5EF4-FFF2-40B4-BE49-F238E27FC236}">
                <a16:creationId xmlns:a16="http://schemas.microsoft.com/office/drawing/2014/main" xmlns="" id="{6A6E61BE-128F-4FFC-A420-376B8A19C41B}"/>
              </a:ext>
            </a:extLst>
          </p:cNvPr>
          <p:cNvSpPr/>
          <p:nvPr/>
        </p:nvSpPr>
        <p:spPr>
          <a:xfrm>
            <a:off x="7576347" y="1912112"/>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4" name="Chevron 5">
            <a:extLst>
              <a:ext uri="{FF2B5EF4-FFF2-40B4-BE49-F238E27FC236}">
                <a16:creationId xmlns:a16="http://schemas.microsoft.com/office/drawing/2014/main" xmlns="" id="{A2DBF5D2-08FB-49B1-A1D4-845972FEE188}"/>
              </a:ext>
            </a:extLst>
          </p:cNvPr>
          <p:cNvSpPr/>
          <p:nvPr/>
        </p:nvSpPr>
        <p:spPr>
          <a:xfrm>
            <a:off x="9033826" y="1912112"/>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5" name="TextBox 14">
            <a:extLst>
              <a:ext uri="{FF2B5EF4-FFF2-40B4-BE49-F238E27FC236}">
                <a16:creationId xmlns:a16="http://schemas.microsoft.com/office/drawing/2014/main" xmlns="" id="{2138276A-9978-4B37-97EF-DF00BC9338D0}"/>
              </a:ext>
            </a:extLst>
          </p:cNvPr>
          <p:cNvSpPr txBox="1"/>
          <p:nvPr/>
        </p:nvSpPr>
        <p:spPr>
          <a:xfrm>
            <a:off x="3426881" y="1881151"/>
            <a:ext cx="1233279"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artes interesadas</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46" name="TextBox 15">
            <a:extLst>
              <a:ext uri="{FF2B5EF4-FFF2-40B4-BE49-F238E27FC236}">
                <a16:creationId xmlns:a16="http://schemas.microsoft.com/office/drawing/2014/main" xmlns="" id="{EF56AA4F-DA47-4B34-94BC-5272379460E7}"/>
              </a:ext>
            </a:extLst>
          </p:cNvPr>
          <p:cNvSpPr txBox="1"/>
          <p:nvPr/>
        </p:nvSpPr>
        <p:spPr>
          <a:xfrm>
            <a:off x="4711114" y="2004262"/>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strategia de crisis</a:t>
            </a:r>
          </a:p>
        </p:txBody>
      </p:sp>
      <p:sp>
        <p:nvSpPr>
          <p:cNvPr id="47" name="TextBox 16">
            <a:extLst>
              <a:ext uri="{FF2B5EF4-FFF2-40B4-BE49-F238E27FC236}">
                <a16:creationId xmlns:a16="http://schemas.microsoft.com/office/drawing/2014/main" xmlns="" id="{A026F4D4-E51E-4795-9850-E63F88879C21}"/>
              </a:ext>
            </a:extLst>
          </p:cNvPr>
          <p:cNvSpPr txBox="1"/>
          <p:nvPr/>
        </p:nvSpPr>
        <p:spPr>
          <a:xfrm>
            <a:off x="6294520" y="1881151"/>
            <a:ext cx="118401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o / Crisis de ventas</a:t>
            </a:r>
          </a:p>
        </p:txBody>
      </p:sp>
      <p:sp>
        <p:nvSpPr>
          <p:cNvPr id="48" name="TextBox 17">
            <a:extLst>
              <a:ext uri="{FF2B5EF4-FFF2-40B4-BE49-F238E27FC236}">
                <a16:creationId xmlns:a16="http://schemas.microsoft.com/office/drawing/2014/main" xmlns="" id="{879A0AA7-AF6A-41B6-A622-32C84FB394C9}"/>
              </a:ext>
            </a:extLst>
          </p:cNvPr>
          <p:cNvSpPr txBox="1"/>
          <p:nvPr/>
        </p:nvSpPr>
        <p:spPr>
          <a:xfrm>
            <a:off x="7900326" y="1881151"/>
            <a:ext cx="930791"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ingresos</a:t>
            </a:r>
          </a:p>
        </p:txBody>
      </p:sp>
      <p:sp>
        <p:nvSpPr>
          <p:cNvPr id="49" name="TextBox 18">
            <a:extLst>
              <a:ext uri="{FF2B5EF4-FFF2-40B4-BE49-F238E27FC236}">
                <a16:creationId xmlns:a16="http://schemas.microsoft.com/office/drawing/2014/main" xmlns="" id="{A65579BF-7149-497B-B238-F2458C229B2D}"/>
              </a:ext>
            </a:extLst>
          </p:cNvPr>
          <p:cNvSpPr txBox="1"/>
          <p:nvPr/>
        </p:nvSpPr>
        <p:spPr>
          <a:xfrm>
            <a:off x="9354543" y="1881151"/>
            <a:ext cx="93367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liquidez</a:t>
            </a:r>
          </a:p>
        </p:txBody>
      </p:sp>
      <p:sp>
        <p:nvSpPr>
          <p:cNvPr id="50" name="Chevron 5">
            <a:extLst>
              <a:ext uri="{FF2B5EF4-FFF2-40B4-BE49-F238E27FC236}">
                <a16:creationId xmlns:a16="http://schemas.microsoft.com/office/drawing/2014/main" xmlns="" id="{7433D156-64F4-4832-83C0-1E5C51EF5438}"/>
              </a:ext>
            </a:extLst>
          </p:cNvPr>
          <p:cNvSpPr/>
          <p:nvPr/>
        </p:nvSpPr>
        <p:spPr>
          <a:xfrm>
            <a:off x="10491305" y="1913980"/>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1" name="TextBox 18">
            <a:extLst>
              <a:ext uri="{FF2B5EF4-FFF2-40B4-BE49-F238E27FC236}">
                <a16:creationId xmlns:a16="http://schemas.microsoft.com/office/drawing/2014/main" xmlns="" id="{BEC1024D-362E-448E-97D1-715729F45C6F}"/>
              </a:ext>
            </a:extLst>
          </p:cNvPr>
          <p:cNvSpPr txBox="1"/>
          <p:nvPr/>
        </p:nvSpPr>
        <p:spPr>
          <a:xfrm>
            <a:off x="10710953" y="2004261"/>
            <a:ext cx="1106422"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ia</a:t>
            </a:r>
          </a:p>
        </p:txBody>
      </p:sp>
      <p:grpSp>
        <p:nvGrpSpPr>
          <p:cNvPr id="3" name="Gruppieren 2">
            <a:extLst>
              <a:ext uri="{FF2B5EF4-FFF2-40B4-BE49-F238E27FC236}">
                <a16:creationId xmlns:a16="http://schemas.microsoft.com/office/drawing/2014/main" xmlns="" id="{7B74D334-0DAF-4000-AACA-609675FF0363}"/>
              </a:ext>
            </a:extLst>
          </p:cNvPr>
          <p:cNvGrpSpPr/>
          <p:nvPr/>
        </p:nvGrpSpPr>
        <p:grpSpPr>
          <a:xfrm rot="5400000">
            <a:off x="7109926" y="2554271"/>
            <a:ext cx="779420" cy="884886"/>
            <a:chOff x="2524558" y="1670769"/>
            <a:chExt cx="1575015" cy="1606818"/>
          </a:xfrm>
        </p:grpSpPr>
        <p:sp>
          <p:nvSpPr>
            <p:cNvPr id="28" name="Rounded Rectangle 60">
              <a:extLst>
                <a:ext uri="{FF2B5EF4-FFF2-40B4-BE49-F238E27FC236}">
                  <a16:creationId xmlns:a16="http://schemas.microsoft.com/office/drawing/2014/main" xmlns="" id="{A59B24D1-0AF7-4998-BDA2-DCF4321D59E1}"/>
                </a:ext>
              </a:extLst>
            </p:cNvPr>
            <p:cNvSpPr/>
            <p:nvPr/>
          </p:nvSpPr>
          <p:spPr>
            <a:xfrm>
              <a:off x="2524558" y="2247459"/>
              <a:ext cx="1575015" cy="456996"/>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29" name="Rounded Rectangle 63">
              <a:extLst>
                <a:ext uri="{FF2B5EF4-FFF2-40B4-BE49-F238E27FC236}">
                  <a16:creationId xmlns:a16="http://schemas.microsoft.com/office/drawing/2014/main" xmlns="" id="{C1D69A23-7280-475E-89FB-2E1CFE036B65}"/>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0" name="Rounded Rectangle 62">
              <a:extLst>
                <a:ext uri="{FF2B5EF4-FFF2-40B4-BE49-F238E27FC236}">
                  <a16:creationId xmlns:a16="http://schemas.microsoft.com/office/drawing/2014/main" xmlns="" id="{6CC106A5-E79A-410B-97CB-D5FD8BBF736B}"/>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sp>
        <p:nvSpPr>
          <p:cNvPr id="32" name="TextBox 106">
            <a:extLst>
              <a:ext uri="{FF2B5EF4-FFF2-40B4-BE49-F238E27FC236}">
                <a16:creationId xmlns:a16="http://schemas.microsoft.com/office/drawing/2014/main" xmlns="" id="{3A6765D1-A0A5-423D-9195-8762C6239F1C}"/>
              </a:ext>
            </a:extLst>
          </p:cNvPr>
          <p:cNvSpPr txBox="1"/>
          <p:nvPr/>
        </p:nvSpPr>
        <p:spPr>
          <a:xfrm>
            <a:off x="7835947" y="2444411"/>
            <a:ext cx="4131346" cy="1077218"/>
          </a:xfrm>
          <a:prstGeom prst="rect">
            <a:avLst/>
          </a:prstGeom>
          <a:noFill/>
        </p:spPr>
        <p:txBody>
          <a:bodyPr wrap="square" lIns="91440" tIns="45720" rIns="91440" bIns="45720" rtlCol="0" anchor="b" anchorCtr="0">
            <a:spAutoFit/>
          </a:bodyPr>
          <a:lstStyle/>
          <a:p>
            <a:r>
              <a:rPr lang="en-GB" sz="1600" b="1" dirty="0">
                <a:solidFill>
                  <a:srgbClr val="245473"/>
                </a:solidFill>
                <a:latin typeface="+mj-lt"/>
                <a:ea typeface="League Spartan" charset="0"/>
                <a:cs typeface="Poppins" pitchFamily="2" charset="77"/>
              </a:rPr>
              <a:t>El procedimiento de gestión de crisis sigue la</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estructura opuesta a las fases de la crisis</a:t>
            </a:r>
            <a:br>
              <a:rPr lang="en-GB" sz="1600" b="1" dirty="0">
                <a:solidFill>
                  <a:srgbClr val="245473"/>
                </a:solidFill>
                <a:latin typeface="+mj-lt"/>
                <a:ea typeface="League Spartan" charset="0"/>
                <a:cs typeface="Poppins" pitchFamily="2" charset="77"/>
              </a:rPr>
            </a:br>
            <a:r>
              <a:rPr lang="en-GB" sz="1600" dirty="0">
                <a:solidFill>
                  <a:srgbClr val="245473"/>
                </a:solidFill>
                <a:latin typeface="+mj-lt"/>
                <a:ea typeface="League Spartan" charset="0"/>
                <a:cs typeface="Poppins" pitchFamily="2" charset="77"/>
              </a:rPr>
              <a:t>(lo que no significa que no se inicien a tiempo algunos procesos de las fases de mitigación posteriores)</a:t>
            </a:r>
            <a:endParaRPr lang="en-GB" sz="1600" b="1" dirty="0">
              <a:solidFill>
                <a:srgbClr val="245473"/>
              </a:solidFill>
              <a:latin typeface="+mj-lt"/>
              <a:ea typeface="League Spartan" charset="0"/>
              <a:cs typeface="Poppins" pitchFamily="2" charset="77"/>
            </a:endParaRPr>
          </a:p>
        </p:txBody>
      </p:sp>
      <p:sp>
        <p:nvSpPr>
          <p:cNvPr id="62" name="Chevron 5">
            <a:extLst>
              <a:ext uri="{FF2B5EF4-FFF2-40B4-BE49-F238E27FC236}">
                <a16:creationId xmlns:a16="http://schemas.microsoft.com/office/drawing/2014/main" xmlns="" id="{4F60DCE7-049F-41CC-9A40-D907D267BB8D}"/>
              </a:ext>
            </a:extLst>
          </p:cNvPr>
          <p:cNvSpPr/>
          <p:nvPr/>
        </p:nvSpPr>
        <p:spPr>
          <a:xfrm>
            <a:off x="3203910" y="3938710"/>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3" name="TextBox 18">
            <a:extLst>
              <a:ext uri="{FF2B5EF4-FFF2-40B4-BE49-F238E27FC236}">
                <a16:creationId xmlns:a16="http://schemas.microsoft.com/office/drawing/2014/main" xmlns="" id="{F41A124D-CFE4-44DF-A466-4F6D87E92A4F}"/>
              </a:ext>
            </a:extLst>
          </p:cNvPr>
          <p:cNvSpPr txBox="1"/>
          <p:nvPr/>
        </p:nvSpPr>
        <p:spPr>
          <a:xfrm>
            <a:off x="3428672" y="4028991"/>
            <a:ext cx="1106422"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ia</a:t>
            </a:r>
          </a:p>
        </p:txBody>
      </p:sp>
      <p:sp>
        <p:nvSpPr>
          <p:cNvPr id="64" name="Chevron 5">
            <a:extLst>
              <a:ext uri="{FF2B5EF4-FFF2-40B4-BE49-F238E27FC236}">
                <a16:creationId xmlns:a16="http://schemas.microsoft.com/office/drawing/2014/main" xmlns="" id="{2AD642B4-CD5B-410D-8D4A-A7BFA8047881}"/>
              </a:ext>
            </a:extLst>
          </p:cNvPr>
          <p:cNvSpPr/>
          <p:nvPr/>
        </p:nvSpPr>
        <p:spPr>
          <a:xfrm>
            <a:off x="4661389" y="3948896"/>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5" name="TextBox 18">
            <a:extLst>
              <a:ext uri="{FF2B5EF4-FFF2-40B4-BE49-F238E27FC236}">
                <a16:creationId xmlns:a16="http://schemas.microsoft.com/office/drawing/2014/main" xmlns="" id="{D4ECC176-5179-4EE2-91CE-0506CDD697EF}"/>
              </a:ext>
            </a:extLst>
          </p:cNvPr>
          <p:cNvSpPr txBox="1"/>
          <p:nvPr/>
        </p:nvSpPr>
        <p:spPr>
          <a:xfrm>
            <a:off x="4982106" y="3912821"/>
            <a:ext cx="969468"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liquidez</a:t>
            </a:r>
          </a:p>
        </p:txBody>
      </p:sp>
      <p:sp>
        <p:nvSpPr>
          <p:cNvPr id="66" name="Chevron 4">
            <a:extLst>
              <a:ext uri="{FF2B5EF4-FFF2-40B4-BE49-F238E27FC236}">
                <a16:creationId xmlns:a16="http://schemas.microsoft.com/office/drawing/2014/main" xmlns="" id="{29F97140-A136-4A51-ADA6-6F6E8A2FC5EC}"/>
              </a:ext>
            </a:extLst>
          </p:cNvPr>
          <p:cNvSpPr/>
          <p:nvPr/>
        </p:nvSpPr>
        <p:spPr>
          <a:xfrm>
            <a:off x="6128736" y="3938710"/>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7" name="TextBox 17">
            <a:extLst>
              <a:ext uri="{FF2B5EF4-FFF2-40B4-BE49-F238E27FC236}">
                <a16:creationId xmlns:a16="http://schemas.microsoft.com/office/drawing/2014/main" xmlns="" id="{A13B9F6E-4DA7-48AE-A5CA-DE072B3450E8}"/>
              </a:ext>
            </a:extLst>
          </p:cNvPr>
          <p:cNvSpPr txBox="1"/>
          <p:nvPr/>
        </p:nvSpPr>
        <p:spPr>
          <a:xfrm>
            <a:off x="6452715" y="3907749"/>
            <a:ext cx="925677"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ingresos</a:t>
            </a:r>
          </a:p>
        </p:txBody>
      </p:sp>
      <p:sp>
        <p:nvSpPr>
          <p:cNvPr id="68" name="Chevron 3">
            <a:extLst>
              <a:ext uri="{FF2B5EF4-FFF2-40B4-BE49-F238E27FC236}">
                <a16:creationId xmlns:a16="http://schemas.microsoft.com/office/drawing/2014/main" xmlns="" id="{06469C4B-44E5-4FC0-8F4A-70688C97D6B9}"/>
              </a:ext>
            </a:extLst>
          </p:cNvPr>
          <p:cNvSpPr/>
          <p:nvPr/>
        </p:nvSpPr>
        <p:spPr>
          <a:xfrm>
            <a:off x="7581281" y="3936107"/>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9" name="TextBox 16">
            <a:extLst>
              <a:ext uri="{FF2B5EF4-FFF2-40B4-BE49-F238E27FC236}">
                <a16:creationId xmlns:a16="http://schemas.microsoft.com/office/drawing/2014/main" xmlns="" id="{71C192AE-3451-4B69-8025-48699E07C90A}"/>
              </a:ext>
            </a:extLst>
          </p:cNvPr>
          <p:cNvSpPr txBox="1"/>
          <p:nvPr/>
        </p:nvSpPr>
        <p:spPr>
          <a:xfrm>
            <a:off x="7756933" y="3905146"/>
            <a:ext cx="118401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o / Crisis de ventas</a:t>
            </a:r>
          </a:p>
        </p:txBody>
      </p:sp>
      <p:sp>
        <p:nvSpPr>
          <p:cNvPr id="70" name="Chevron 2">
            <a:extLst>
              <a:ext uri="{FF2B5EF4-FFF2-40B4-BE49-F238E27FC236}">
                <a16:creationId xmlns:a16="http://schemas.microsoft.com/office/drawing/2014/main" xmlns="" id="{2EAE1888-B893-48F9-A72D-84A72FCCDBC2}"/>
              </a:ext>
            </a:extLst>
          </p:cNvPr>
          <p:cNvSpPr/>
          <p:nvPr/>
        </p:nvSpPr>
        <p:spPr>
          <a:xfrm>
            <a:off x="9033826" y="3937409"/>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71" name="TextBox 15">
            <a:extLst>
              <a:ext uri="{FF2B5EF4-FFF2-40B4-BE49-F238E27FC236}">
                <a16:creationId xmlns:a16="http://schemas.microsoft.com/office/drawing/2014/main" xmlns="" id="{26EF84C7-47F3-4E7E-B7A4-EEC79B30DE24}"/>
              </a:ext>
            </a:extLst>
          </p:cNvPr>
          <p:cNvSpPr txBox="1"/>
          <p:nvPr/>
        </p:nvSpPr>
        <p:spPr>
          <a:xfrm>
            <a:off x="9083551" y="4029559"/>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strategia de crisis</a:t>
            </a:r>
          </a:p>
        </p:txBody>
      </p:sp>
      <p:sp>
        <p:nvSpPr>
          <p:cNvPr id="72" name="Chevron 1">
            <a:extLst>
              <a:ext uri="{FF2B5EF4-FFF2-40B4-BE49-F238E27FC236}">
                <a16:creationId xmlns:a16="http://schemas.microsoft.com/office/drawing/2014/main" xmlns="" id="{A29364BA-B985-41E7-BDE5-FD1A40B12EAB}"/>
              </a:ext>
            </a:extLst>
          </p:cNvPr>
          <p:cNvSpPr/>
          <p:nvPr/>
        </p:nvSpPr>
        <p:spPr>
          <a:xfrm>
            <a:off x="10492213" y="3936833"/>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73" name="TextBox 14">
            <a:extLst>
              <a:ext uri="{FF2B5EF4-FFF2-40B4-BE49-F238E27FC236}">
                <a16:creationId xmlns:a16="http://schemas.microsoft.com/office/drawing/2014/main" xmlns="" id="{577AC415-139B-40B9-98B1-E49AF12CB957}"/>
              </a:ext>
            </a:extLst>
          </p:cNvPr>
          <p:cNvSpPr txBox="1"/>
          <p:nvPr/>
        </p:nvSpPr>
        <p:spPr>
          <a:xfrm>
            <a:off x="10710070" y="3905872"/>
            <a:ext cx="130487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artes interesadas</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74" name="Subtitle 2">
            <a:extLst>
              <a:ext uri="{FF2B5EF4-FFF2-40B4-BE49-F238E27FC236}">
                <a16:creationId xmlns:a16="http://schemas.microsoft.com/office/drawing/2014/main" xmlns="" id="{CF4E32C1-8144-49D5-9524-894A03EF7574}"/>
              </a:ext>
            </a:extLst>
          </p:cNvPr>
          <p:cNvSpPr txBox="1">
            <a:spLocks/>
          </p:cNvSpPr>
          <p:nvPr/>
        </p:nvSpPr>
        <p:spPr>
          <a:xfrm>
            <a:off x="3250959" y="4559154"/>
            <a:ext cx="1266235"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Prevención del riesgo de insolvencia</a:t>
            </a:r>
          </a:p>
        </p:txBody>
      </p:sp>
      <p:sp>
        <p:nvSpPr>
          <p:cNvPr id="75" name="Subtitle 2">
            <a:extLst>
              <a:ext uri="{FF2B5EF4-FFF2-40B4-BE49-F238E27FC236}">
                <a16:creationId xmlns:a16="http://schemas.microsoft.com/office/drawing/2014/main" xmlns="" id="{0BF9A7EC-FF91-47AB-A2B8-23FAF0DFEDE3}"/>
              </a:ext>
            </a:extLst>
          </p:cNvPr>
          <p:cNvSpPr txBox="1">
            <a:spLocks/>
          </p:cNvSpPr>
          <p:nvPr/>
        </p:nvSpPr>
        <p:spPr>
          <a:xfrm>
            <a:off x="4686700" y="4559154"/>
            <a:ext cx="1266235"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Superar la crisis de liquidez</a:t>
            </a:r>
          </a:p>
        </p:txBody>
      </p:sp>
      <p:sp>
        <p:nvSpPr>
          <p:cNvPr id="76" name="Subtitle 2">
            <a:extLst>
              <a:ext uri="{FF2B5EF4-FFF2-40B4-BE49-F238E27FC236}">
                <a16:creationId xmlns:a16="http://schemas.microsoft.com/office/drawing/2014/main" xmlns="" id="{1246D6E5-672A-4DF5-8EA4-2B8372329F11}"/>
              </a:ext>
            </a:extLst>
          </p:cNvPr>
          <p:cNvSpPr txBox="1">
            <a:spLocks/>
          </p:cNvSpPr>
          <p:nvPr/>
        </p:nvSpPr>
        <p:spPr>
          <a:xfrm>
            <a:off x="6128736" y="4559154"/>
            <a:ext cx="1266235"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Superar la crisis de los ingresos</a:t>
            </a:r>
          </a:p>
        </p:txBody>
      </p:sp>
      <p:sp>
        <p:nvSpPr>
          <p:cNvPr id="77" name="Subtitle 2">
            <a:extLst>
              <a:ext uri="{FF2B5EF4-FFF2-40B4-BE49-F238E27FC236}">
                <a16:creationId xmlns:a16="http://schemas.microsoft.com/office/drawing/2014/main" xmlns="" id="{7B589B73-B1BC-4591-8BE9-6F7D895211AC}"/>
              </a:ext>
            </a:extLst>
          </p:cNvPr>
          <p:cNvSpPr txBox="1">
            <a:spLocks/>
          </p:cNvSpPr>
          <p:nvPr/>
        </p:nvSpPr>
        <p:spPr>
          <a:xfrm>
            <a:off x="7639185" y="4559154"/>
            <a:ext cx="1266235" cy="104061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Optimización y desarrollo de la cartera de productos y clientes</a:t>
            </a:r>
          </a:p>
        </p:txBody>
      </p:sp>
      <p:sp>
        <p:nvSpPr>
          <p:cNvPr id="78" name="Subtitle 2">
            <a:extLst>
              <a:ext uri="{FF2B5EF4-FFF2-40B4-BE49-F238E27FC236}">
                <a16:creationId xmlns:a16="http://schemas.microsoft.com/office/drawing/2014/main" xmlns="" id="{F66BADD7-012B-4648-8AA4-4E4B6F766915}"/>
              </a:ext>
            </a:extLst>
          </p:cNvPr>
          <p:cNvSpPr txBox="1">
            <a:spLocks/>
          </p:cNvSpPr>
          <p:nvPr/>
        </p:nvSpPr>
        <p:spPr>
          <a:xfrm>
            <a:off x="9033826" y="4559154"/>
            <a:ext cx="1266235"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Definición de la misión y estrategia rigurosa</a:t>
            </a:r>
          </a:p>
        </p:txBody>
      </p:sp>
      <p:sp>
        <p:nvSpPr>
          <p:cNvPr id="79" name="Subtitle 2">
            <a:extLst>
              <a:ext uri="{FF2B5EF4-FFF2-40B4-BE49-F238E27FC236}">
                <a16:creationId xmlns:a16="http://schemas.microsoft.com/office/drawing/2014/main" xmlns="" id="{6D46C763-CCBE-4AAC-B27D-7E1C0FDF532E}"/>
              </a:ext>
            </a:extLst>
          </p:cNvPr>
          <p:cNvSpPr txBox="1">
            <a:spLocks/>
          </p:cNvSpPr>
          <p:nvPr/>
        </p:nvSpPr>
        <p:spPr>
          <a:xfrm>
            <a:off x="10486903" y="4567407"/>
            <a:ext cx="1266235" cy="10473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Resolver la crisis de las partes interesadas y poner en marcha nuevas estructuras</a:t>
            </a:r>
          </a:p>
        </p:txBody>
      </p:sp>
      <p:sp>
        <p:nvSpPr>
          <p:cNvPr id="80" name="TextBox 106">
            <a:extLst>
              <a:ext uri="{FF2B5EF4-FFF2-40B4-BE49-F238E27FC236}">
                <a16:creationId xmlns:a16="http://schemas.microsoft.com/office/drawing/2014/main" xmlns="" id="{08D91F0E-1861-465F-8E0A-8C42F8EAB4D7}"/>
              </a:ext>
            </a:extLst>
          </p:cNvPr>
          <p:cNvSpPr txBox="1"/>
          <p:nvPr/>
        </p:nvSpPr>
        <p:spPr>
          <a:xfrm>
            <a:off x="3203910" y="3526805"/>
            <a:ext cx="4990856" cy="338554"/>
          </a:xfrm>
          <a:prstGeom prst="rect">
            <a:avLst/>
          </a:prstGeom>
          <a:solidFill>
            <a:srgbClr val="E53292">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Utilización de los recursos existentes</a:t>
            </a:r>
          </a:p>
        </p:txBody>
      </p:sp>
      <p:sp>
        <p:nvSpPr>
          <p:cNvPr id="82" name="TextBox 106">
            <a:extLst>
              <a:ext uri="{FF2B5EF4-FFF2-40B4-BE49-F238E27FC236}">
                <a16:creationId xmlns:a16="http://schemas.microsoft.com/office/drawing/2014/main" xmlns="" id="{0353F053-5A17-4C67-8709-E324FC32E88C}"/>
              </a:ext>
            </a:extLst>
          </p:cNvPr>
          <p:cNvSpPr txBox="1"/>
          <p:nvPr/>
        </p:nvSpPr>
        <p:spPr>
          <a:xfrm>
            <a:off x="7144379" y="3526805"/>
            <a:ext cx="4751529" cy="338554"/>
          </a:xfrm>
          <a:prstGeom prst="rect">
            <a:avLst/>
          </a:prstGeom>
          <a:solidFill>
            <a:srgbClr val="8FAADC">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Construir nuevos potenciales</a:t>
            </a:r>
          </a:p>
        </p:txBody>
      </p:sp>
      <p:sp>
        <p:nvSpPr>
          <p:cNvPr id="83" name="TextBox 106">
            <a:extLst>
              <a:ext uri="{FF2B5EF4-FFF2-40B4-BE49-F238E27FC236}">
                <a16:creationId xmlns:a16="http://schemas.microsoft.com/office/drawing/2014/main" xmlns="" id="{56CC06DD-A12D-4A5F-9C2C-4B2081253CE6}"/>
              </a:ext>
            </a:extLst>
          </p:cNvPr>
          <p:cNvSpPr txBox="1"/>
          <p:nvPr/>
        </p:nvSpPr>
        <p:spPr>
          <a:xfrm>
            <a:off x="3191674" y="5260333"/>
            <a:ext cx="2202847" cy="400110"/>
          </a:xfrm>
          <a:prstGeom prst="rect">
            <a:avLst/>
          </a:prstGeom>
          <a:noFill/>
        </p:spPr>
        <p:txBody>
          <a:bodyPr wrap="none" rtlCol="0" anchor="b" anchorCtr="0">
            <a:spAutoFit/>
          </a:bodyPr>
          <a:lstStyle/>
          <a:p>
            <a:r>
              <a:rPr lang="en-GB" sz="2000" b="1" dirty="0">
                <a:solidFill>
                  <a:schemeClr val="tx2"/>
                </a:solidFill>
                <a:latin typeface="+mj-lt"/>
                <a:ea typeface="League Spartan" charset="0"/>
                <a:cs typeface="Poppins" pitchFamily="2" charset="77"/>
              </a:rPr>
              <a:t>Posibles medidas:</a:t>
            </a:r>
          </a:p>
        </p:txBody>
      </p:sp>
      <p:sp>
        <p:nvSpPr>
          <p:cNvPr id="84" name="TextBox 106">
            <a:extLst>
              <a:ext uri="{FF2B5EF4-FFF2-40B4-BE49-F238E27FC236}">
                <a16:creationId xmlns:a16="http://schemas.microsoft.com/office/drawing/2014/main" xmlns="" id="{6BD15A6E-A6AF-4BB9-A44A-521B206A187B}"/>
              </a:ext>
            </a:extLst>
          </p:cNvPr>
          <p:cNvSpPr txBox="1"/>
          <p:nvPr/>
        </p:nvSpPr>
        <p:spPr>
          <a:xfrm>
            <a:off x="3207761" y="5736963"/>
            <a:ext cx="4373520" cy="584775"/>
          </a:xfrm>
          <a:prstGeom prst="rect">
            <a:avLst/>
          </a:prstGeom>
          <a:solidFill>
            <a:srgbClr val="E53292">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Gestión del capital circulante, reducción de costes, reducción del personal, etc.</a:t>
            </a:r>
          </a:p>
        </p:txBody>
      </p:sp>
      <p:sp>
        <p:nvSpPr>
          <p:cNvPr id="86" name="TextBox 106">
            <a:extLst>
              <a:ext uri="{FF2B5EF4-FFF2-40B4-BE49-F238E27FC236}">
                <a16:creationId xmlns:a16="http://schemas.microsoft.com/office/drawing/2014/main" xmlns="" id="{B68201F5-C7C4-456A-81AB-5D8C56CA5C0A}"/>
              </a:ext>
            </a:extLst>
          </p:cNvPr>
          <p:cNvSpPr txBox="1"/>
          <p:nvPr/>
        </p:nvSpPr>
        <p:spPr>
          <a:xfrm>
            <a:off x="7581281" y="5736963"/>
            <a:ext cx="4314627" cy="584775"/>
          </a:xfrm>
          <a:prstGeom prst="rect">
            <a:avLst/>
          </a:prstGeom>
          <a:solidFill>
            <a:srgbClr val="8FAADC">
              <a:alpha val="69804"/>
            </a:srgbClr>
          </a:solidFill>
        </p:spPr>
        <p:txBody>
          <a:bodyPr wrap="square" rtlCol="0" anchor="b" anchorCtr="0">
            <a:spAutoFit/>
          </a:bodyPr>
          <a:lstStyle/>
          <a:p>
            <a:pPr algn="ctr"/>
            <a:r>
              <a:rPr lang="en-GB" sz="1600" b="1">
                <a:solidFill>
                  <a:schemeClr val="tx2"/>
                </a:solidFill>
                <a:latin typeface="+mj-lt"/>
                <a:ea typeface="League Spartan" charset="0"/>
                <a:cs typeface="Poppins" pitchFamily="2" charset="77"/>
              </a:rPr>
              <a:t>Nueva estrategia, ajuste de la cartera, nuevas partes interesadas, gestión de la innovación, etc.</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40924731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28965" y="367064"/>
            <a:ext cx="8852375" cy="697353"/>
          </a:xfrm>
        </p:spPr>
        <p:txBody>
          <a:bodyPr>
            <a:normAutofit/>
          </a:bodyPr>
          <a:lstStyle/>
          <a:p>
            <a:r>
              <a:rPr lang="en-GB" dirty="0"/>
              <a:t>Concepto de reestructuración: Medid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5352" y="1835809"/>
            <a:ext cx="3712018" cy="526841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El equilibrio adecuado entre una perspectiva a corto y a largo plazo es crucial para la sostenibilidad de una empresa de éxito. Sin embargo, hay muchas pruebas, entre ellas la reciente crisis financiera, que demuestran que los objetivos a largo plazo se han descuidado a menudo por concentrarse demasiado en los objetivos a corto plazo.</a:t>
            </a:r>
          </a:p>
          <a:p>
            <a:pPr marL="285750" indent="-285750" algn="l">
              <a:lnSpc>
                <a:spcPct val="100000"/>
              </a:lnSpc>
              <a:spcBef>
                <a:spcPts val="600"/>
              </a:spcBef>
              <a:buFont typeface="Wingdings" panose="05000000000000000000" pitchFamily="2" charset="2"/>
              <a:buChar char="à"/>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s medidas a corto plazo son cruciales para reaccionar ante la crisis y superar la crisis de liquidez</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ero aún así es importante encontrar el equilibrio adecuado entre la reacción a corto plazo y los objetivos sostenibles a largo plazo</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537F1DEE-C0B9-4FC3-A588-BF40D94BD60E}"/>
              </a:ext>
            </a:extLst>
          </p:cNvPr>
          <p:cNvGrpSpPr/>
          <p:nvPr/>
        </p:nvGrpSpPr>
        <p:grpSpPr>
          <a:xfrm>
            <a:off x="3909992" y="1957074"/>
            <a:ext cx="8282008" cy="4900926"/>
            <a:chOff x="4646106" y="1957074"/>
            <a:chExt cx="7545894" cy="4283334"/>
          </a:xfrm>
        </p:grpSpPr>
        <p:sp>
          <p:nvSpPr>
            <p:cNvPr id="5" name="Freeform 6">
              <a:extLst>
                <a:ext uri="{FF2B5EF4-FFF2-40B4-BE49-F238E27FC236}">
                  <a16:creationId xmlns:a16="http://schemas.microsoft.com/office/drawing/2014/main" xmlns="" id="{4945F0C8-9CD1-4301-A12B-53F4ECDED75F}"/>
                </a:ext>
              </a:extLst>
            </p:cNvPr>
            <p:cNvSpPr>
              <a:spLocks noChangeArrowheads="1"/>
            </p:cNvSpPr>
            <p:nvPr/>
          </p:nvSpPr>
          <p:spPr bwMode="auto">
            <a:xfrm>
              <a:off x="4934414" y="1978621"/>
              <a:ext cx="7257586" cy="4261787"/>
            </a:xfrm>
            <a:custGeom>
              <a:avLst/>
              <a:gdLst>
                <a:gd name="connsiteX0" fmla="*/ 19348523 w 19348523"/>
                <a:gd name="connsiteY0" fmla="*/ 0 h 11361807"/>
                <a:gd name="connsiteX1" fmla="*/ 19348523 w 19348523"/>
                <a:gd name="connsiteY1" fmla="*/ 218962 h 11361807"/>
                <a:gd name="connsiteX2" fmla="*/ 19303173 w 19348523"/>
                <a:gd name="connsiteY2" fmla="*/ 224482 h 11361807"/>
                <a:gd name="connsiteX3" fmla="*/ 17812153 w 19348523"/>
                <a:gd name="connsiteY3" fmla="*/ 424309 h 11361807"/>
                <a:gd name="connsiteX4" fmla="*/ 13923887 w 19348523"/>
                <a:gd name="connsiteY4" fmla="*/ 1169809 h 11361807"/>
                <a:gd name="connsiteX5" fmla="*/ 12563385 w 19348523"/>
                <a:gd name="connsiteY5" fmla="*/ 1675078 h 11361807"/>
                <a:gd name="connsiteX6" fmla="*/ 12183437 w 19348523"/>
                <a:gd name="connsiteY6" fmla="*/ 2226044 h 11361807"/>
                <a:gd name="connsiteX7" fmla="*/ 12905469 w 19348523"/>
                <a:gd name="connsiteY7" fmla="*/ 2906264 h 11361807"/>
                <a:gd name="connsiteX8" fmla="*/ 13825961 w 19348523"/>
                <a:gd name="connsiteY8" fmla="*/ 3740545 h 11361807"/>
                <a:gd name="connsiteX9" fmla="*/ 12951167 w 19348523"/>
                <a:gd name="connsiteY9" fmla="*/ 4581356 h 11361807"/>
                <a:gd name="connsiteX10" fmla="*/ 10762875 w 19348523"/>
                <a:gd name="connsiteY10" fmla="*/ 4785030 h 11361807"/>
                <a:gd name="connsiteX11" fmla="*/ 8239027 w 19348523"/>
                <a:gd name="connsiteY11" fmla="*/ 5321634 h 11361807"/>
                <a:gd name="connsiteX12" fmla="*/ 8368289 w 19348523"/>
                <a:gd name="connsiteY12" fmla="*/ 5499196 h 11361807"/>
                <a:gd name="connsiteX13" fmla="*/ 8851384 w 19348523"/>
                <a:gd name="connsiteY13" fmla="*/ 5901322 h 11361807"/>
                <a:gd name="connsiteX14" fmla="*/ 10281085 w 19348523"/>
                <a:gd name="connsiteY14" fmla="*/ 7759198 h 11361807"/>
                <a:gd name="connsiteX15" fmla="*/ 9880246 w 19348523"/>
                <a:gd name="connsiteY15" fmla="*/ 8774959 h 11361807"/>
                <a:gd name="connsiteX16" fmla="*/ 8783489 w 19348523"/>
                <a:gd name="connsiteY16" fmla="*/ 9551794 h 11361807"/>
                <a:gd name="connsiteX17" fmla="*/ 5627700 w 19348523"/>
                <a:gd name="connsiteY17" fmla="*/ 10704643 h 11361807"/>
                <a:gd name="connsiteX18" fmla="*/ 3922769 w 19348523"/>
                <a:gd name="connsiteY18" fmla="*/ 11257016 h 11361807"/>
                <a:gd name="connsiteX19" fmla="*/ 3637608 w 19348523"/>
                <a:gd name="connsiteY19" fmla="*/ 11361807 h 11361807"/>
                <a:gd name="connsiteX20" fmla="*/ 0 w 19348523"/>
                <a:gd name="connsiteY20" fmla="*/ 11361807 h 11361807"/>
                <a:gd name="connsiteX21" fmla="*/ 69573 w 19348523"/>
                <a:gd name="connsiteY21" fmla="*/ 11313341 h 11361807"/>
                <a:gd name="connsiteX22" fmla="*/ 1614091 w 19348523"/>
                <a:gd name="connsiteY22" fmla="*/ 10485302 h 11361807"/>
                <a:gd name="connsiteX23" fmla="*/ 5310424 w 19348523"/>
                <a:gd name="connsiteY23" fmla="*/ 9252810 h 11361807"/>
                <a:gd name="connsiteX24" fmla="*/ 7893026 w 19348523"/>
                <a:gd name="connsiteY24" fmla="*/ 8414612 h 11361807"/>
                <a:gd name="connsiteX25" fmla="*/ 8658145 w 19348523"/>
                <a:gd name="connsiteY25" fmla="*/ 7759198 h 11361807"/>
                <a:gd name="connsiteX26" fmla="*/ 7686732 w 19348523"/>
                <a:gd name="connsiteY26" fmla="*/ 6427481 h 11361807"/>
                <a:gd name="connsiteX27" fmla="*/ 6935975 w 19348523"/>
                <a:gd name="connsiteY27" fmla="*/ 5321634 h 11361807"/>
                <a:gd name="connsiteX28" fmla="*/ 8449239 w 19348523"/>
                <a:gd name="connsiteY28" fmla="*/ 4362014 h 11361807"/>
                <a:gd name="connsiteX29" fmla="*/ 10565720 w 19348523"/>
                <a:gd name="connsiteY29" fmla="*/ 4179229 h 11361807"/>
                <a:gd name="connsiteX30" fmla="*/ 12730509 w 19348523"/>
                <a:gd name="connsiteY30" fmla="*/ 3740545 h 11361807"/>
                <a:gd name="connsiteX31" fmla="*/ 12101181 w 19348523"/>
                <a:gd name="connsiteY31" fmla="*/ 3104717 h 11361807"/>
                <a:gd name="connsiteX32" fmla="*/ 11283835 w 19348523"/>
                <a:gd name="connsiteY32" fmla="*/ 2226044 h 11361807"/>
                <a:gd name="connsiteX33" fmla="*/ 11851797 w 19348523"/>
                <a:gd name="connsiteY33" fmla="*/ 1493599 h 11361807"/>
                <a:gd name="connsiteX34" fmla="*/ 13372897 w 19348523"/>
                <a:gd name="connsiteY34" fmla="*/ 967440 h 11361807"/>
                <a:gd name="connsiteX35" fmla="*/ 17338197 w 19348523"/>
                <a:gd name="connsiteY35" fmla="*/ 249358 h 11361807"/>
                <a:gd name="connsiteX36" fmla="*/ 19283963 w 19348523"/>
                <a:gd name="connsiteY36" fmla="*/ 7168 h 11361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48523" h="11361807">
                  <a:moveTo>
                    <a:pt x="19348523" y="0"/>
                  </a:moveTo>
                  <a:lnTo>
                    <a:pt x="19348523" y="218962"/>
                  </a:lnTo>
                  <a:lnTo>
                    <a:pt x="19303173" y="224482"/>
                  </a:lnTo>
                  <a:cubicBezTo>
                    <a:pt x="18827877" y="283609"/>
                    <a:pt x="18323319" y="350379"/>
                    <a:pt x="17812153" y="424309"/>
                  </a:cubicBezTo>
                  <a:cubicBezTo>
                    <a:pt x="16216631" y="654095"/>
                    <a:pt x="14892689" y="904771"/>
                    <a:pt x="13923887" y="1169809"/>
                  </a:cubicBezTo>
                  <a:cubicBezTo>
                    <a:pt x="13324587" y="1334315"/>
                    <a:pt x="12862381" y="1504044"/>
                    <a:pt x="12563385" y="1675078"/>
                  </a:cubicBezTo>
                  <a:cubicBezTo>
                    <a:pt x="12240885" y="1857864"/>
                    <a:pt x="12107709" y="2043260"/>
                    <a:pt x="12183437" y="2226044"/>
                  </a:cubicBezTo>
                  <a:cubicBezTo>
                    <a:pt x="12325753" y="2568113"/>
                    <a:pt x="12599945" y="2727396"/>
                    <a:pt x="12905469" y="2906264"/>
                  </a:cubicBezTo>
                  <a:cubicBezTo>
                    <a:pt x="13218829" y="3089049"/>
                    <a:pt x="13594859" y="3308391"/>
                    <a:pt x="13825961" y="3740545"/>
                  </a:cubicBezTo>
                  <a:cubicBezTo>
                    <a:pt x="13965669" y="3999055"/>
                    <a:pt x="13940861" y="4371153"/>
                    <a:pt x="12951167" y="4581356"/>
                  </a:cubicBezTo>
                  <a:cubicBezTo>
                    <a:pt x="12353173" y="4709305"/>
                    <a:pt x="11547579" y="4748473"/>
                    <a:pt x="10762875" y="4785030"/>
                  </a:cubicBezTo>
                  <a:cubicBezTo>
                    <a:pt x="9022425" y="4868589"/>
                    <a:pt x="8279503" y="4959981"/>
                    <a:pt x="8239027" y="5321634"/>
                  </a:cubicBezTo>
                  <a:cubicBezTo>
                    <a:pt x="8239027" y="5324245"/>
                    <a:pt x="8239027" y="5369941"/>
                    <a:pt x="8368289" y="5499196"/>
                  </a:cubicBezTo>
                  <a:cubicBezTo>
                    <a:pt x="8484492" y="5615395"/>
                    <a:pt x="8660757" y="5752483"/>
                    <a:pt x="8851384" y="5901322"/>
                  </a:cubicBezTo>
                  <a:cubicBezTo>
                    <a:pt x="9428487" y="6351755"/>
                    <a:pt x="10219719" y="6969307"/>
                    <a:pt x="10281085" y="7759198"/>
                  </a:cubicBezTo>
                  <a:cubicBezTo>
                    <a:pt x="10307198" y="8106489"/>
                    <a:pt x="10176632" y="8449863"/>
                    <a:pt x="9880246" y="8774959"/>
                  </a:cubicBezTo>
                  <a:cubicBezTo>
                    <a:pt x="9632170" y="9046525"/>
                    <a:pt x="9275724" y="9301118"/>
                    <a:pt x="8783489" y="9551794"/>
                  </a:cubicBezTo>
                  <a:cubicBezTo>
                    <a:pt x="7929585" y="9985255"/>
                    <a:pt x="6787129" y="10341685"/>
                    <a:pt x="5627700" y="10704643"/>
                  </a:cubicBezTo>
                  <a:cubicBezTo>
                    <a:pt x="5067244" y="10879921"/>
                    <a:pt x="4487938" y="11061073"/>
                    <a:pt x="3922769" y="11257016"/>
                  </a:cubicBezTo>
                  <a:lnTo>
                    <a:pt x="3637608" y="11361807"/>
                  </a:lnTo>
                  <a:lnTo>
                    <a:pt x="0" y="11361807"/>
                  </a:lnTo>
                  <a:lnTo>
                    <a:pt x="69573" y="11313341"/>
                  </a:lnTo>
                  <a:cubicBezTo>
                    <a:pt x="536674" y="11008686"/>
                    <a:pt x="1047106" y="10735978"/>
                    <a:pt x="1614091" y="10485302"/>
                  </a:cubicBezTo>
                  <a:cubicBezTo>
                    <a:pt x="2807467" y="9956532"/>
                    <a:pt x="4110519" y="9589656"/>
                    <a:pt x="5310424" y="9252810"/>
                  </a:cubicBezTo>
                  <a:cubicBezTo>
                    <a:pt x="6324924" y="8966883"/>
                    <a:pt x="7246723" y="8708373"/>
                    <a:pt x="7893026" y="8414612"/>
                  </a:cubicBezTo>
                  <a:cubicBezTo>
                    <a:pt x="8641173" y="8076460"/>
                    <a:pt x="8654228" y="7844063"/>
                    <a:pt x="8658145" y="7759198"/>
                  </a:cubicBezTo>
                  <a:cubicBezTo>
                    <a:pt x="8681647" y="7319209"/>
                    <a:pt x="8134574" y="6826996"/>
                    <a:pt x="7686732" y="6427481"/>
                  </a:cubicBezTo>
                  <a:cubicBezTo>
                    <a:pt x="7242806" y="6027966"/>
                    <a:pt x="6851107" y="5676758"/>
                    <a:pt x="6935975" y="5321634"/>
                  </a:cubicBezTo>
                  <a:cubicBezTo>
                    <a:pt x="7015622" y="4986093"/>
                    <a:pt x="7344648" y="4566994"/>
                    <a:pt x="8449239" y="4362014"/>
                  </a:cubicBezTo>
                  <a:cubicBezTo>
                    <a:pt x="9069429" y="4245815"/>
                    <a:pt x="9833243" y="4211869"/>
                    <a:pt x="10565720" y="4179229"/>
                  </a:cubicBezTo>
                  <a:cubicBezTo>
                    <a:pt x="12193881" y="4106116"/>
                    <a:pt x="12846713" y="4027779"/>
                    <a:pt x="12730509" y="3740545"/>
                  </a:cubicBezTo>
                  <a:cubicBezTo>
                    <a:pt x="12601249" y="3423284"/>
                    <a:pt x="12375369" y="3279667"/>
                    <a:pt x="12101181" y="3104717"/>
                  </a:cubicBezTo>
                  <a:cubicBezTo>
                    <a:pt x="11766929" y="2891903"/>
                    <a:pt x="11409179" y="2663421"/>
                    <a:pt x="11283835" y="2226044"/>
                  </a:cubicBezTo>
                  <a:cubicBezTo>
                    <a:pt x="11210718" y="1967534"/>
                    <a:pt x="11411790" y="1722080"/>
                    <a:pt x="11851797" y="1493599"/>
                  </a:cubicBezTo>
                  <a:cubicBezTo>
                    <a:pt x="12203021" y="1310814"/>
                    <a:pt x="12720065" y="1134558"/>
                    <a:pt x="13372897" y="967440"/>
                  </a:cubicBezTo>
                  <a:cubicBezTo>
                    <a:pt x="14378257" y="710236"/>
                    <a:pt x="15727009" y="468699"/>
                    <a:pt x="17338197" y="249358"/>
                  </a:cubicBezTo>
                  <a:cubicBezTo>
                    <a:pt x="18018449" y="156007"/>
                    <a:pt x="18684337" y="75059"/>
                    <a:pt x="19283963" y="7168"/>
                  </a:cubicBezTo>
                  <a:close/>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sp>
          <p:nvSpPr>
            <p:cNvPr id="6" name="Freeform 8">
              <a:extLst>
                <a:ext uri="{FF2B5EF4-FFF2-40B4-BE49-F238E27FC236}">
                  <a16:creationId xmlns:a16="http://schemas.microsoft.com/office/drawing/2014/main" xmlns="" id="{AE4D87CC-6064-472B-A7CE-7CD87B49E51C}"/>
                </a:ext>
              </a:extLst>
            </p:cNvPr>
            <p:cNvSpPr>
              <a:spLocks noChangeArrowheads="1"/>
            </p:cNvSpPr>
            <p:nvPr/>
          </p:nvSpPr>
          <p:spPr bwMode="auto">
            <a:xfrm>
              <a:off x="4806335" y="1957075"/>
              <a:ext cx="7385664" cy="4283333"/>
            </a:xfrm>
            <a:custGeom>
              <a:avLst/>
              <a:gdLst>
                <a:gd name="connsiteX0" fmla="*/ 19689976 w 19689976"/>
                <a:gd name="connsiteY0" fmla="*/ 0 h 11419247"/>
                <a:gd name="connsiteX1" fmla="*/ 19689976 w 19689976"/>
                <a:gd name="connsiteY1" fmla="*/ 215360 h 11419247"/>
                <a:gd name="connsiteX2" fmla="*/ 19640824 w 19689976"/>
                <a:gd name="connsiteY2" fmla="*/ 221250 h 11419247"/>
                <a:gd name="connsiteX3" fmla="*/ 18150068 w 19689976"/>
                <a:gd name="connsiteY3" fmla="*/ 418216 h 11419247"/>
                <a:gd name="connsiteX4" fmla="*/ 14262486 w 19689976"/>
                <a:gd name="connsiteY4" fmla="*/ 1151996 h 11419247"/>
                <a:gd name="connsiteX5" fmla="*/ 12902224 w 19689976"/>
                <a:gd name="connsiteY5" fmla="*/ 1649452 h 11419247"/>
                <a:gd name="connsiteX6" fmla="*/ 12522342 w 19689976"/>
                <a:gd name="connsiteY6" fmla="*/ 2191301 h 11419247"/>
                <a:gd name="connsiteX7" fmla="*/ 13244246 w 19689976"/>
                <a:gd name="connsiteY7" fmla="*/ 2861105 h 11419247"/>
                <a:gd name="connsiteX8" fmla="*/ 14164578 w 19689976"/>
                <a:gd name="connsiteY8" fmla="*/ 3682364 h 11419247"/>
                <a:gd name="connsiteX9" fmla="*/ 13289938 w 19689976"/>
                <a:gd name="connsiteY9" fmla="*/ 4510152 h 11419247"/>
                <a:gd name="connsiteX10" fmla="*/ 11102031 w 19689976"/>
                <a:gd name="connsiteY10" fmla="*/ 4711224 h 11419247"/>
                <a:gd name="connsiteX11" fmla="*/ 8578627 w 19689976"/>
                <a:gd name="connsiteY11" fmla="*/ 5240016 h 11419247"/>
                <a:gd name="connsiteX12" fmla="*/ 8707865 w 19689976"/>
                <a:gd name="connsiteY12" fmla="*/ 5413668 h 11419247"/>
                <a:gd name="connsiteX13" fmla="*/ 9190877 w 19689976"/>
                <a:gd name="connsiteY13" fmla="*/ 5809283 h 11419247"/>
                <a:gd name="connsiteX14" fmla="*/ 10620326 w 19689976"/>
                <a:gd name="connsiteY14" fmla="*/ 7638511 h 11419247"/>
                <a:gd name="connsiteX15" fmla="*/ 10219558 w 19689976"/>
                <a:gd name="connsiteY15" fmla="*/ 8637341 h 11419247"/>
                <a:gd name="connsiteX16" fmla="*/ 9122993 w 19689976"/>
                <a:gd name="connsiteY16" fmla="*/ 9402458 h 11419247"/>
                <a:gd name="connsiteX17" fmla="*/ 5967761 w 19689976"/>
                <a:gd name="connsiteY17" fmla="*/ 10538381 h 11419247"/>
                <a:gd name="connsiteX18" fmla="*/ 3430250 w 19689976"/>
                <a:gd name="connsiteY18" fmla="*/ 11382727 h 11419247"/>
                <a:gd name="connsiteX19" fmla="*/ 3339249 w 19689976"/>
                <a:gd name="connsiteY19" fmla="*/ 11419247 h 11419247"/>
                <a:gd name="connsiteX20" fmla="*/ 0 w 19689976"/>
                <a:gd name="connsiteY20" fmla="*/ 11419247 h 11419247"/>
                <a:gd name="connsiteX21" fmla="*/ 410611 w 19689976"/>
                <a:gd name="connsiteY21" fmla="*/ 11137047 h 11419247"/>
                <a:gd name="connsiteX22" fmla="*/ 1954857 w 19689976"/>
                <a:gd name="connsiteY22" fmla="*/ 10321642 h 11419247"/>
                <a:gd name="connsiteX23" fmla="*/ 5650540 w 19689976"/>
                <a:gd name="connsiteY23" fmla="*/ 9108684 h 11419247"/>
                <a:gd name="connsiteX24" fmla="*/ 8232687 w 19689976"/>
                <a:gd name="connsiteY24" fmla="*/ 8284813 h 11419247"/>
                <a:gd name="connsiteX25" fmla="*/ 8997672 w 19689976"/>
                <a:gd name="connsiteY25" fmla="*/ 7638511 h 11419247"/>
                <a:gd name="connsiteX26" fmla="*/ 8026430 w 19689976"/>
                <a:gd name="connsiteY26" fmla="*/ 6327629 h 11419247"/>
                <a:gd name="connsiteX27" fmla="*/ 7275805 w 19689976"/>
                <a:gd name="connsiteY27" fmla="*/ 5240016 h 11419247"/>
                <a:gd name="connsiteX28" fmla="*/ 8788802 w 19689976"/>
                <a:gd name="connsiteY28" fmla="*/ 4293413 h 11419247"/>
                <a:gd name="connsiteX29" fmla="*/ 10904910 w 19689976"/>
                <a:gd name="connsiteY29" fmla="*/ 4113232 h 11419247"/>
                <a:gd name="connsiteX30" fmla="*/ 13069318 w 19689976"/>
                <a:gd name="connsiteY30" fmla="*/ 3682364 h 11419247"/>
                <a:gd name="connsiteX31" fmla="*/ 12440100 w 19689976"/>
                <a:gd name="connsiteY31" fmla="*/ 3055648 h 11419247"/>
                <a:gd name="connsiteX32" fmla="*/ 11622899 w 19689976"/>
                <a:gd name="connsiteY32" fmla="*/ 2191301 h 11419247"/>
                <a:gd name="connsiteX33" fmla="*/ 12190762 w 19689976"/>
                <a:gd name="connsiteY33" fmla="*/ 1470577 h 11419247"/>
                <a:gd name="connsiteX34" fmla="*/ 13711594 w 19689976"/>
                <a:gd name="connsiteY34" fmla="*/ 952230 h 11419247"/>
                <a:gd name="connsiteX35" fmla="*/ 17676196 w 19689976"/>
                <a:gd name="connsiteY35" fmla="*/ 244563 h 11419247"/>
                <a:gd name="connsiteX36" fmla="*/ 19621618 w 19689976"/>
                <a:gd name="connsiteY36" fmla="*/ 7423 h 114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689976" h="11419247">
                  <a:moveTo>
                    <a:pt x="19689976" y="0"/>
                  </a:moveTo>
                  <a:lnTo>
                    <a:pt x="19689976" y="215360"/>
                  </a:lnTo>
                  <a:lnTo>
                    <a:pt x="19640824" y="221250"/>
                  </a:lnTo>
                  <a:cubicBezTo>
                    <a:pt x="19165614" y="279469"/>
                    <a:pt x="18661146" y="345262"/>
                    <a:pt x="18150068" y="418216"/>
                  </a:cubicBezTo>
                  <a:cubicBezTo>
                    <a:pt x="16554828" y="644095"/>
                    <a:pt x="15231118" y="890864"/>
                    <a:pt x="14262486" y="1151996"/>
                  </a:cubicBezTo>
                  <a:cubicBezTo>
                    <a:pt x="13663292" y="1312592"/>
                    <a:pt x="13201168" y="1479717"/>
                    <a:pt x="12902224" y="1649452"/>
                  </a:cubicBezTo>
                  <a:cubicBezTo>
                    <a:pt x="12579782" y="1829634"/>
                    <a:pt x="12446626" y="2012426"/>
                    <a:pt x="12522342" y="2191301"/>
                  </a:cubicBezTo>
                  <a:cubicBezTo>
                    <a:pt x="12664634" y="2528161"/>
                    <a:pt x="12938776" y="2686147"/>
                    <a:pt x="13244246" y="2861105"/>
                  </a:cubicBezTo>
                  <a:cubicBezTo>
                    <a:pt x="13557552" y="3041286"/>
                    <a:pt x="13933518" y="3256720"/>
                    <a:pt x="14164578" y="3682364"/>
                  </a:cubicBezTo>
                  <a:cubicBezTo>
                    <a:pt x="14304260" y="3936968"/>
                    <a:pt x="14279456" y="4303858"/>
                    <a:pt x="13289938" y="4510152"/>
                  </a:cubicBezTo>
                  <a:cubicBezTo>
                    <a:pt x="12692050" y="4635495"/>
                    <a:pt x="11886596" y="4673360"/>
                    <a:pt x="11102031" y="4711224"/>
                  </a:cubicBezTo>
                  <a:cubicBezTo>
                    <a:pt x="9361888" y="4793481"/>
                    <a:pt x="8619096" y="4882265"/>
                    <a:pt x="8578627" y="5240016"/>
                  </a:cubicBezTo>
                  <a:cubicBezTo>
                    <a:pt x="8578627" y="5241321"/>
                    <a:pt x="8578627" y="5287020"/>
                    <a:pt x="8707865" y="5413668"/>
                  </a:cubicBezTo>
                  <a:cubicBezTo>
                    <a:pt x="8824050" y="5527261"/>
                    <a:pt x="9000283" y="5663049"/>
                    <a:pt x="9190877" y="5809283"/>
                  </a:cubicBezTo>
                  <a:cubicBezTo>
                    <a:pt x="9767877" y="6253207"/>
                    <a:pt x="10558970" y="6860339"/>
                    <a:pt x="10620326" y="7638511"/>
                  </a:cubicBezTo>
                  <a:cubicBezTo>
                    <a:pt x="10646434" y="7980595"/>
                    <a:pt x="10515891" y="8317455"/>
                    <a:pt x="10219558" y="8637341"/>
                  </a:cubicBezTo>
                  <a:cubicBezTo>
                    <a:pt x="9971525" y="8905001"/>
                    <a:pt x="9615142" y="9155688"/>
                    <a:pt x="9122993" y="9402458"/>
                  </a:cubicBezTo>
                  <a:cubicBezTo>
                    <a:pt x="8269240" y="9829408"/>
                    <a:pt x="7126985" y="10180631"/>
                    <a:pt x="5967761" y="10538381"/>
                  </a:cubicBezTo>
                  <a:cubicBezTo>
                    <a:pt x="5127224" y="10796901"/>
                    <a:pt x="4244282" y="11068458"/>
                    <a:pt x="3430250" y="11382727"/>
                  </a:cubicBezTo>
                  <a:lnTo>
                    <a:pt x="3339249" y="11419247"/>
                  </a:lnTo>
                  <a:lnTo>
                    <a:pt x="0" y="11419247"/>
                  </a:lnTo>
                  <a:lnTo>
                    <a:pt x="410611" y="11137047"/>
                  </a:lnTo>
                  <a:cubicBezTo>
                    <a:pt x="877630" y="10836969"/>
                    <a:pt x="1387973" y="10569391"/>
                    <a:pt x="1954857" y="10321642"/>
                  </a:cubicBezTo>
                  <a:cubicBezTo>
                    <a:pt x="3148024" y="9800684"/>
                    <a:pt x="4450846" y="9440322"/>
                    <a:pt x="5650540" y="9108684"/>
                  </a:cubicBezTo>
                  <a:cubicBezTo>
                    <a:pt x="6664861" y="8826662"/>
                    <a:pt x="7586498" y="8572058"/>
                    <a:pt x="8232687" y="8284813"/>
                  </a:cubicBezTo>
                  <a:cubicBezTo>
                    <a:pt x="8980701" y="7949259"/>
                    <a:pt x="8993755" y="7722074"/>
                    <a:pt x="8997672" y="7638511"/>
                  </a:cubicBezTo>
                  <a:cubicBezTo>
                    <a:pt x="9021170" y="7205033"/>
                    <a:pt x="8474193" y="6723245"/>
                    <a:pt x="8026430" y="6327629"/>
                  </a:cubicBezTo>
                  <a:cubicBezTo>
                    <a:pt x="7582582" y="5934627"/>
                    <a:pt x="7190951" y="5588627"/>
                    <a:pt x="7275805" y="5240016"/>
                  </a:cubicBezTo>
                  <a:cubicBezTo>
                    <a:pt x="7355436" y="4908378"/>
                    <a:pt x="7684405" y="4497096"/>
                    <a:pt x="8788802" y="4293413"/>
                  </a:cubicBezTo>
                  <a:cubicBezTo>
                    <a:pt x="9408883" y="4179821"/>
                    <a:pt x="10172562" y="4145874"/>
                    <a:pt x="10904910" y="4113232"/>
                  </a:cubicBezTo>
                  <a:cubicBezTo>
                    <a:pt x="12532786" y="4042727"/>
                    <a:pt x="13185502" y="3964386"/>
                    <a:pt x="13069318" y="3682364"/>
                  </a:cubicBezTo>
                  <a:cubicBezTo>
                    <a:pt x="12940082" y="3370311"/>
                    <a:pt x="12714242" y="3229300"/>
                    <a:pt x="12440100" y="3055648"/>
                  </a:cubicBezTo>
                  <a:cubicBezTo>
                    <a:pt x="12105910" y="2845437"/>
                    <a:pt x="11748220" y="2622169"/>
                    <a:pt x="11622899" y="2191301"/>
                  </a:cubicBezTo>
                  <a:cubicBezTo>
                    <a:pt x="11549795" y="1938004"/>
                    <a:pt x="11750831" y="1695151"/>
                    <a:pt x="12190762" y="1470577"/>
                  </a:cubicBezTo>
                  <a:cubicBezTo>
                    <a:pt x="12541924" y="1290396"/>
                    <a:pt x="13058876" y="1116743"/>
                    <a:pt x="13711594" y="952230"/>
                  </a:cubicBezTo>
                  <a:cubicBezTo>
                    <a:pt x="14716778" y="698932"/>
                    <a:pt x="16065290" y="461302"/>
                    <a:pt x="17676196" y="244563"/>
                  </a:cubicBezTo>
                  <a:cubicBezTo>
                    <a:pt x="18356326" y="153167"/>
                    <a:pt x="19022098" y="73848"/>
                    <a:pt x="19621618" y="7423"/>
                  </a:cubicBezTo>
                  <a:close/>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sp>
          <p:nvSpPr>
            <p:cNvPr id="7" name="Freeform 10">
              <a:extLst>
                <a:ext uri="{FF2B5EF4-FFF2-40B4-BE49-F238E27FC236}">
                  <a16:creationId xmlns:a16="http://schemas.microsoft.com/office/drawing/2014/main" xmlns="" id="{CED0B4E3-A1BD-4A63-B899-9D7882B128C5}"/>
                </a:ext>
              </a:extLst>
            </p:cNvPr>
            <p:cNvSpPr>
              <a:spLocks noChangeArrowheads="1"/>
            </p:cNvSpPr>
            <p:nvPr/>
          </p:nvSpPr>
          <p:spPr bwMode="auto">
            <a:xfrm>
              <a:off x="5317858" y="1993973"/>
              <a:ext cx="6874142" cy="4246434"/>
            </a:xfrm>
            <a:custGeom>
              <a:avLst/>
              <a:gdLst>
                <a:gd name="connsiteX0" fmla="*/ 18326271 w 18326271"/>
                <a:gd name="connsiteY0" fmla="*/ 0 h 11320874"/>
                <a:gd name="connsiteX1" fmla="*/ 18326271 w 18326271"/>
                <a:gd name="connsiteY1" fmla="*/ 9721 h 11320874"/>
                <a:gd name="connsiteX2" fmla="*/ 18075965 w 18326271"/>
                <a:gd name="connsiteY2" fmla="*/ 38759 h 11320874"/>
                <a:gd name="connsiteX3" fmla="*/ 16586433 w 18326271"/>
                <a:gd name="connsiteY3" fmla="*/ 228947 h 11320874"/>
                <a:gd name="connsiteX4" fmla="*/ 12646293 w 18326271"/>
                <a:gd name="connsiteY4" fmla="*/ 950776 h 11320874"/>
                <a:gd name="connsiteX5" fmla="*/ 10732361 w 18326271"/>
                <a:gd name="connsiteY5" fmla="*/ 2090301 h 11320874"/>
                <a:gd name="connsiteX6" fmla="*/ 11503939 w 18326271"/>
                <a:gd name="connsiteY6" fmla="*/ 2851288 h 11320874"/>
                <a:gd name="connsiteX7" fmla="*/ 12280739 w 18326271"/>
                <a:gd name="connsiteY7" fmla="*/ 3580950 h 11320874"/>
                <a:gd name="connsiteX8" fmla="*/ 11624049 w 18326271"/>
                <a:gd name="connsiteY8" fmla="*/ 4143533 h 11320874"/>
                <a:gd name="connsiteX9" fmla="*/ 9643535 w 18326271"/>
                <a:gd name="connsiteY9" fmla="*/ 4314526 h 11320874"/>
                <a:gd name="connsiteX10" fmla="*/ 7623854 w 18326271"/>
                <a:gd name="connsiteY10" fmla="*/ 4486826 h 11320874"/>
                <a:gd name="connsiteX11" fmla="*/ 6595083 w 18326271"/>
                <a:gd name="connsiteY11" fmla="*/ 5138168 h 11320874"/>
                <a:gd name="connsiteX12" fmla="*/ 7288328 w 18326271"/>
                <a:gd name="connsiteY12" fmla="*/ 5948758 h 11320874"/>
                <a:gd name="connsiteX13" fmla="*/ 8484209 w 18326271"/>
                <a:gd name="connsiteY13" fmla="*/ 7535998 h 11320874"/>
                <a:gd name="connsiteX14" fmla="*/ 7317051 w 18326271"/>
                <a:gd name="connsiteY14" fmla="*/ 8742092 h 11320874"/>
                <a:gd name="connsiteX15" fmla="*/ 4447459 w 18326271"/>
                <a:gd name="connsiteY15" fmla="*/ 9715844 h 11320874"/>
                <a:gd name="connsiteX16" fmla="*/ 285001 w 18326271"/>
                <a:gd name="connsiteY16" fmla="*/ 11239536 h 11320874"/>
                <a:gd name="connsiteX17" fmla="*/ 142245 w 18326271"/>
                <a:gd name="connsiteY17" fmla="*/ 11320874 h 11320874"/>
                <a:gd name="connsiteX18" fmla="*/ 0 w 18326271"/>
                <a:gd name="connsiteY18" fmla="*/ 11320874 h 11320874"/>
                <a:gd name="connsiteX19" fmla="*/ 227877 w 18326271"/>
                <a:gd name="connsiteY19" fmla="*/ 11190623 h 11320874"/>
                <a:gd name="connsiteX20" fmla="*/ 4433097 w 18326271"/>
                <a:gd name="connsiteY20" fmla="*/ 9653190 h 11320874"/>
                <a:gd name="connsiteX21" fmla="*/ 8412404 w 18326271"/>
                <a:gd name="connsiteY21" fmla="*/ 7535998 h 11320874"/>
                <a:gd name="connsiteX22" fmla="*/ 7236106 w 18326271"/>
                <a:gd name="connsiteY22" fmla="*/ 5972253 h 11320874"/>
                <a:gd name="connsiteX23" fmla="*/ 6537639 w 18326271"/>
                <a:gd name="connsiteY23" fmla="*/ 5138168 h 11320874"/>
                <a:gd name="connsiteX24" fmla="*/ 7605576 w 18326271"/>
                <a:gd name="connsiteY24" fmla="*/ 4460719 h 11320874"/>
                <a:gd name="connsiteX25" fmla="*/ 9635701 w 18326271"/>
                <a:gd name="connsiteY25" fmla="*/ 4287115 h 11320874"/>
                <a:gd name="connsiteX26" fmla="*/ 11596633 w 18326271"/>
                <a:gd name="connsiteY26" fmla="*/ 4118731 h 11320874"/>
                <a:gd name="connsiteX27" fmla="*/ 12232433 w 18326271"/>
                <a:gd name="connsiteY27" fmla="*/ 3580950 h 11320874"/>
                <a:gd name="connsiteX28" fmla="*/ 11468689 w 18326271"/>
                <a:gd name="connsiteY28" fmla="*/ 2860425 h 11320874"/>
                <a:gd name="connsiteX29" fmla="*/ 10691889 w 18326271"/>
                <a:gd name="connsiteY29" fmla="*/ 2090301 h 11320874"/>
                <a:gd name="connsiteX30" fmla="*/ 11167109 w 18326271"/>
                <a:gd name="connsiteY30" fmla="*/ 1452010 h 11320874"/>
                <a:gd name="connsiteX31" fmla="*/ 12620181 w 18326271"/>
                <a:gd name="connsiteY31" fmla="*/ 942944 h 11320874"/>
                <a:gd name="connsiteX32" fmla="*/ 16564239 w 18326271"/>
                <a:gd name="connsiteY32" fmla="*/ 222420 h 11320874"/>
                <a:gd name="connsiteX33" fmla="*/ 18052371 w 18326271"/>
                <a:gd name="connsiteY33" fmla="*/ 31888 h 1132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326271" h="11320874">
                  <a:moveTo>
                    <a:pt x="18326271" y="0"/>
                  </a:moveTo>
                  <a:lnTo>
                    <a:pt x="18326271" y="9721"/>
                  </a:lnTo>
                  <a:lnTo>
                    <a:pt x="18075965" y="38759"/>
                  </a:lnTo>
                  <a:cubicBezTo>
                    <a:pt x="17601945" y="94950"/>
                    <a:pt x="17098043" y="158461"/>
                    <a:pt x="16586433" y="228947"/>
                  </a:cubicBezTo>
                  <a:cubicBezTo>
                    <a:pt x="14977999" y="452153"/>
                    <a:pt x="13635897" y="693633"/>
                    <a:pt x="12646293" y="950776"/>
                  </a:cubicBezTo>
                  <a:cubicBezTo>
                    <a:pt x="11280689" y="1305817"/>
                    <a:pt x="10588750" y="1689574"/>
                    <a:pt x="10732361" y="2090301"/>
                  </a:cubicBezTo>
                  <a:cubicBezTo>
                    <a:pt x="10869443" y="2472753"/>
                    <a:pt x="11184081" y="2659410"/>
                    <a:pt x="11503939" y="2851288"/>
                  </a:cubicBezTo>
                  <a:cubicBezTo>
                    <a:pt x="11805521" y="3031419"/>
                    <a:pt x="12101879" y="3210246"/>
                    <a:pt x="12280739" y="3580950"/>
                  </a:cubicBezTo>
                  <a:cubicBezTo>
                    <a:pt x="12407377" y="3840704"/>
                    <a:pt x="12197185" y="4027361"/>
                    <a:pt x="11624049" y="4143533"/>
                  </a:cubicBezTo>
                  <a:cubicBezTo>
                    <a:pt x="11108357" y="4247956"/>
                    <a:pt x="10366807" y="4281894"/>
                    <a:pt x="9643535" y="4314526"/>
                  </a:cubicBezTo>
                  <a:cubicBezTo>
                    <a:pt x="8928095" y="4347158"/>
                    <a:pt x="8181322" y="4381096"/>
                    <a:pt x="7623854" y="4486826"/>
                  </a:cubicBezTo>
                  <a:cubicBezTo>
                    <a:pt x="6981525" y="4609524"/>
                    <a:pt x="6652527" y="4811845"/>
                    <a:pt x="6595083" y="5138168"/>
                  </a:cubicBezTo>
                  <a:cubicBezTo>
                    <a:pt x="6558527" y="5350932"/>
                    <a:pt x="6901886" y="5632876"/>
                    <a:pt x="7288328" y="5948758"/>
                  </a:cubicBezTo>
                  <a:cubicBezTo>
                    <a:pt x="7818381" y="6383421"/>
                    <a:pt x="8475070" y="6919898"/>
                    <a:pt x="8484209" y="7535998"/>
                  </a:cubicBezTo>
                  <a:cubicBezTo>
                    <a:pt x="8490737" y="7965441"/>
                    <a:pt x="8119961" y="8363556"/>
                    <a:pt x="7317051" y="8742092"/>
                  </a:cubicBezTo>
                  <a:cubicBezTo>
                    <a:pt x="6566362" y="9097133"/>
                    <a:pt x="5559784" y="9390825"/>
                    <a:pt x="4447459" y="9715844"/>
                  </a:cubicBezTo>
                  <a:cubicBezTo>
                    <a:pt x="3055094" y="10122607"/>
                    <a:pt x="1548717" y="10562823"/>
                    <a:pt x="285001" y="11239536"/>
                  </a:cubicBezTo>
                  <a:lnTo>
                    <a:pt x="142245" y="11320874"/>
                  </a:lnTo>
                  <a:lnTo>
                    <a:pt x="0" y="11320874"/>
                  </a:lnTo>
                  <a:lnTo>
                    <a:pt x="227877" y="11190623"/>
                  </a:lnTo>
                  <a:cubicBezTo>
                    <a:pt x="1509204" y="10502464"/>
                    <a:pt x="3028982" y="10060687"/>
                    <a:pt x="4433097" y="9653190"/>
                  </a:cubicBezTo>
                  <a:cubicBezTo>
                    <a:pt x="6567666" y="9031868"/>
                    <a:pt x="8420237" y="8492781"/>
                    <a:pt x="8412404" y="7535998"/>
                  </a:cubicBezTo>
                  <a:cubicBezTo>
                    <a:pt x="8405876" y="6935562"/>
                    <a:pt x="7759631" y="6403000"/>
                    <a:pt x="7236106" y="5972253"/>
                  </a:cubicBezTo>
                  <a:cubicBezTo>
                    <a:pt x="6828776" y="5635486"/>
                    <a:pt x="6495861" y="5362680"/>
                    <a:pt x="6537639" y="5138168"/>
                  </a:cubicBezTo>
                  <a:cubicBezTo>
                    <a:pt x="6597694" y="4802707"/>
                    <a:pt x="6950193" y="4586028"/>
                    <a:pt x="7605576" y="4460719"/>
                  </a:cubicBezTo>
                  <a:cubicBezTo>
                    <a:pt x="8169572" y="4353685"/>
                    <a:pt x="8917651" y="4321052"/>
                    <a:pt x="9635701" y="4287115"/>
                  </a:cubicBezTo>
                  <a:cubicBezTo>
                    <a:pt x="10352446" y="4255788"/>
                    <a:pt x="11087469" y="4221850"/>
                    <a:pt x="11596633" y="4118731"/>
                  </a:cubicBezTo>
                  <a:cubicBezTo>
                    <a:pt x="12155407" y="4006476"/>
                    <a:pt x="12352545" y="3832872"/>
                    <a:pt x="12232433" y="3580950"/>
                  </a:cubicBezTo>
                  <a:cubicBezTo>
                    <a:pt x="12057491" y="3215466"/>
                    <a:pt x="11765049" y="3039252"/>
                    <a:pt x="11468689" y="2860425"/>
                  </a:cubicBezTo>
                  <a:cubicBezTo>
                    <a:pt x="11146219" y="2667241"/>
                    <a:pt x="10828971" y="2475363"/>
                    <a:pt x="10691889" y="2090301"/>
                  </a:cubicBezTo>
                  <a:cubicBezTo>
                    <a:pt x="10614861" y="1871010"/>
                    <a:pt x="10781971" y="1656942"/>
                    <a:pt x="11167109" y="1452010"/>
                  </a:cubicBezTo>
                  <a:cubicBezTo>
                    <a:pt x="11494801" y="1277100"/>
                    <a:pt x="11989601" y="1106106"/>
                    <a:pt x="12620181" y="942944"/>
                  </a:cubicBezTo>
                  <a:cubicBezTo>
                    <a:pt x="13611091" y="685801"/>
                    <a:pt x="14954499" y="443016"/>
                    <a:pt x="16564239" y="222420"/>
                  </a:cubicBezTo>
                  <a:cubicBezTo>
                    <a:pt x="17075361" y="151934"/>
                    <a:pt x="17578771" y="88240"/>
                    <a:pt x="18052371" y="31888"/>
                  </a:cubicBezTo>
                  <a:close/>
                </a:path>
              </a:pathLst>
            </a:custGeom>
            <a:solidFill>
              <a:srgbClr val="E8E8E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grpSp>
          <p:nvGrpSpPr>
            <p:cNvPr id="8" name="Group 13">
              <a:extLst>
                <a:ext uri="{FF2B5EF4-FFF2-40B4-BE49-F238E27FC236}">
                  <a16:creationId xmlns:a16="http://schemas.microsoft.com/office/drawing/2014/main" xmlns="" id="{C419A44C-80E4-4302-AC3A-1844E99A8FFF}"/>
                </a:ext>
              </a:extLst>
            </p:cNvPr>
            <p:cNvGrpSpPr/>
            <p:nvPr/>
          </p:nvGrpSpPr>
          <p:grpSpPr>
            <a:xfrm>
              <a:off x="5214445" y="4998549"/>
              <a:ext cx="686905" cy="686905"/>
              <a:chOff x="6203917" y="6068451"/>
              <a:chExt cx="2527366" cy="2527366"/>
            </a:xfrm>
          </p:grpSpPr>
          <p:sp>
            <p:nvSpPr>
              <p:cNvPr id="9" name="Teardrop 14">
                <a:extLst>
                  <a:ext uri="{FF2B5EF4-FFF2-40B4-BE49-F238E27FC236}">
                    <a16:creationId xmlns:a16="http://schemas.microsoft.com/office/drawing/2014/main" xmlns="" id="{3BCD7A1B-EB0C-4E11-8D7B-DD3AE3FFE6CD}"/>
                  </a:ext>
                </a:extLst>
              </p:cNvPr>
              <p:cNvSpPr/>
              <p:nvPr/>
            </p:nvSpPr>
            <p:spPr>
              <a:xfrm rot="8100000">
                <a:off x="6203917" y="6068451"/>
                <a:ext cx="2527366" cy="2527366"/>
              </a:xfrm>
              <a:prstGeom prst="teardrop">
                <a:avLst>
                  <a:gd name="adj" fmla="val 1183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0" name="Oval 15">
                <a:extLst>
                  <a:ext uri="{FF2B5EF4-FFF2-40B4-BE49-F238E27FC236}">
                    <a16:creationId xmlns:a16="http://schemas.microsoft.com/office/drawing/2014/main" xmlns="" id="{2E731937-7840-4916-930B-5659480156CE}"/>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12" name="Group 17">
              <a:extLst>
                <a:ext uri="{FF2B5EF4-FFF2-40B4-BE49-F238E27FC236}">
                  <a16:creationId xmlns:a16="http://schemas.microsoft.com/office/drawing/2014/main" xmlns="" id="{5A46975B-F6B0-403D-9E29-644134494278}"/>
                </a:ext>
              </a:extLst>
            </p:cNvPr>
            <p:cNvGrpSpPr/>
            <p:nvPr/>
          </p:nvGrpSpPr>
          <p:grpSpPr>
            <a:xfrm>
              <a:off x="7975987" y="4417373"/>
              <a:ext cx="686905" cy="686905"/>
              <a:chOff x="6203917" y="6068451"/>
              <a:chExt cx="2527366" cy="2527366"/>
            </a:xfrm>
          </p:grpSpPr>
          <p:sp>
            <p:nvSpPr>
              <p:cNvPr id="13" name="Teardrop 18">
                <a:extLst>
                  <a:ext uri="{FF2B5EF4-FFF2-40B4-BE49-F238E27FC236}">
                    <a16:creationId xmlns:a16="http://schemas.microsoft.com/office/drawing/2014/main" xmlns="" id="{D51FCC84-3915-4D59-83C3-E9E6FDE8D5B4}"/>
                  </a:ext>
                </a:extLst>
              </p:cNvPr>
              <p:cNvSpPr/>
              <p:nvPr/>
            </p:nvSpPr>
            <p:spPr>
              <a:xfrm rot="8100000">
                <a:off x="6203917" y="6068451"/>
                <a:ext cx="2527366" cy="2527366"/>
              </a:xfrm>
              <a:prstGeom prst="teardrop">
                <a:avLst>
                  <a:gd name="adj" fmla="val 11836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4" name="Oval 19">
                <a:extLst>
                  <a:ext uri="{FF2B5EF4-FFF2-40B4-BE49-F238E27FC236}">
                    <a16:creationId xmlns:a16="http://schemas.microsoft.com/office/drawing/2014/main" xmlns="" id="{82A4564A-D99D-4240-8E84-6A88228A262E}"/>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16" name="Group 21">
              <a:extLst>
                <a:ext uri="{FF2B5EF4-FFF2-40B4-BE49-F238E27FC236}">
                  <a16:creationId xmlns:a16="http://schemas.microsoft.com/office/drawing/2014/main" xmlns="" id="{A342CC78-1410-46A7-AD38-859644D75909}"/>
                </a:ext>
              </a:extLst>
            </p:cNvPr>
            <p:cNvGrpSpPr/>
            <p:nvPr/>
          </p:nvGrpSpPr>
          <p:grpSpPr>
            <a:xfrm>
              <a:off x="7443876" y="2981083"/>
              <a:ext cx="686905" cy="686905"/>
              <a:chOff x="6203917" y="6068451"/>
              <a:chExt cx="2527366" cy="2527366"/>
            </a:xfrm>
          </p:grpSpPr>
          <p:sp>
            <p:nvSpPr>
              <p:cNvPr id="17" name="Teardrop 22">
                <a:extLst>
                  <a:ext uri="{FF2B5EF4-FFF2-40B4-BE49-F238E27FC236}">
                    <a16:creationId xmlns:a16="http://schemas.microsoft.com/office/drawing/2014/main" xmlns="" id="{2BD3622F-070F-48BC-9FFF-A14CD0F1880E}"/>
                  </a:ext>
                </a:extLst>
              </p:cNvPr>
              <p:cNvSpPr/>
              <p:nvPr/>
            </p:nvSpPr>
            <p:spPr>
              <a:xfrm rot="8100000">
                <a:off x="6203917" y="6068451"/>
                <a:ext cx="2527366" cy="2527366"/>
              </a:xfrm>
              <a:prstGeom prst="teardrop">
                <a:avLst>
                  <a:gd name="adj" fmla="val 1183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8" name="Oval 23">
                <a:extLst>
                  <a:ext uri="{FF2B5EF4-FFF2-40B4-BE49-F238E27FC236}">
                    <a16:creationId xmlns:a16="http://schemas.microsoft.com/office/drawing/2014/main" xmlns="" id="{F4123B4C-F416-4E2C-8BD8-036456052114}"/>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20" name="Group 25">
              <a:extLst>
                <a:ext uri="{FF2B5EF4-FFF2-40B4-BE49-F238E27FC236}">
                  <a16:creationId xmlns:a16="http://schemas.microsoft.com/office/drawing/2014/main" xmlns="" id="{687073AB-686D-41E2-9C2C-51410A88DC16}"/>
                </a:ext>
              </a:extLst>
            </p:cNvPr>
            <p:cNvGrpSpPr/>
            <p:nvPr/>
          </p:nvGrpSpPr>
          <p:grpSpPr>
            <a:xfrm>
              <a:off x="9618681" y="2533291"/>
              <a:ext cx="686905" cy="686905"/>
              <a:chOff x="6203917" y="6068451"/>
              <a:chExt cx="2527366" cy="2527366"/>
            </a:xfrm>
          </p:grpSpPr>
          <p:sp>
            <p:nvSpPr>
              <p:cNvPr id="21" name="Teardrop 26">
                <a:extLst>
                  <a:ext uri="{FF2B5EF4-FFF2-40B4-BE49-F238E27FC236}">
                    <a16:creationId xmlns:a16="http://schemas.microsoft.com/office/drawing/2014/main" xmlns="" id="{C675F6D4-A66A-484E-A309-8DF43A49319F}"/>
                  </a:ext>
                </a:extLst>
              </p:cNvPr>
              <p:cNvSpPr/>
              <p:nvPr/>
            </p:nvSpPr>
            <p:spPr>
              <a:xfrm rot="8100000">
                <a:off x="6203917" y="6068451"/>
                <a:ext cx="2527366" cy="2527366"/>
              </a:xfrm>
              <a:prstGeom prst="teardrop">
                <a:avLst>
                  <a:gd name="adj" fmla="val 11836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22" name="Oval 27">
                <a:extLst>
                  <a:ext uri="{FF2B5EF4-FFF2-40B4-BE49-F238E27FC236}">
                    <a16:creationId xmlns:a16="http://schemas.microsoft.com/office/drawing/2014/main" xmlns="" id="{CAC09260-1CF7-4454-BB97-BFC964F3AEB3}"/>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sp>
          <p:nvSpPr>
            <p:cNvPr id="25" name="Subtitle 2">
              <a:extLst>
                <a:ext uri="{FF2B5EF4-FFF2-40B4-BE49-F238E27FC236}">
                  <a16:creationId xmlns:a16="http://schemas.microsoft.com/office/drawing/2014/main" xmlns="" id="{FC7025B7-E5BE-43F0-8BCE-47C7C29514E7}"/>
                </a:ext>
              </a:extLst>
            </p:cNvPr>
            <p:cNvSpPr txBox="1">
              <a:spLocks/>
            </p:cNvSpPr>
            <p:nvPr/>
          </p:nvSpPr>
          <p:spPr>
            <a:xfrm>
              <a:off x="4646106" y="3226349"/>
              <a:ext cx="1174038" cy="17249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No basta con definir únicamente medidas a corto y medio plazo</a:t>
              </a:r>
            </a:p>
          </p:txBody>
        </p:sp>
        <p:sp>
          <p:nvSpPr>
            <p:cNvPr id="27" name="Subtitle 2">
              <a:extLst>
                <a:ext uri="{FF2B5EF4-FFF2-40B4-BE49-F238E27FC236}">
                  <a16:creationId xmlns:a16="http://schemas.microsoft.com/office/drawing/2014/main" xmlns="" id="{A3F83685-4145-4166-BE15-DD0C2D05726E}"/>
                </a:ext>
              </a:extLst>
            </p:cNvPr>
            <p:cNvSpPr txBox="1">
              <a:spLocks/>
            </p:cNvSpPr>
            <p:nvPr/>
          </p:nvSpPr>
          <p:spPr>
            <a:xfrm>
              <a:off x="8852753" y="3812979"/>
              <a:ext cx="1286199" cy="196701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El cumplimiento de los requisitos temporales y financieros es necesario para el éxito de la renovación</a:t>
              </a:r>
            </a:p>
          </p:txBody>
        </p:sp>
        <p:sp>
          <p:nvSpPr>
            <p:cNvPr id="29" name="Subtitle 2">
              <a:extLst>
                <a:ext uri="{FF2B5EF4-FFF2-40B4-BE49-F238E27FC236}">
                  <a16:creationId xmlns:a16="http://schemas.microsoft.com/office/drawing/2014/main" xmlns="" id="{8D1038B9-D6FC-4DC0-B291-0FD9090B65BE}"/>
                </a:ext>
              </a:extLst>
            </p:cNvPr>
            <p:cNvSpPr txBox="1">
              <a:spLocks/>
            </p:cNvSpPr>
            <p:nvPr/>
          </p:nvSpPr>
          <p:spPr>
            <a:xfrm>
              <a:off x="10383571" y="2685655"/>
              <a:ext cx="1653982" cy="293538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Si la crisis de la empresa ya está muy avanzada, también debe examinarse un posible procedimiento de insolvencia como estrategia de reestructuración de la empresa. Evaluar y comparar ambos escenarios</a:t>
              </a:r>
            </a:p>
          </p:txBody>
        </p:sp>
        <p:sp>
          <p:nvSpPr>
            <p:cNvPr id="31" name="Subtitle 2">
              <a:extLst>
                <a:ext uri="{FF2B5EF4-FFF2-40B4-BE49-F238E27FC236}">
                  <a16:creationId xmlns:a16="http://schemas.microsoft.com/office/drawing/2014/main" xmlns="" id="{2AF1BC7B-374A-463D-A5B4-C6B8C5D86541}"/>
                </a:ext>
              </a:extLst>
            </p:cNvPr>
            <p:cNvSpPr txBox="1">
              <a:spLocks/>
            </p:cNvSpPr>
            <p:nvPr/>
          </p:nvSpPr>
          <p:spPr>
            <a:xfrm>
              <a:off x="6136504" y="1957074"/>
              <a:ext cx="1286199" cy="269328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Además, todas las causas de las crisis, es decir, también las causas de las etapas precedentes o paralelas de las crisis, deben ser eliminadas de forma sostenible</a:t>
              </a:r>
            </a:p>
          </p:txBody>
        </p:sp>
      </p:grpSp>
      <p:sp>
        <p:nvSpPr>
          <p:cNvPr id="34" name="TextBox 29">
            <a:extLst>
              <a:ext uri="{FF2B5EF4-FFF2-40B4-BE49-F238E27FC236}">
                <a16:creationId xmlns:a16="http://schemas.microsoft.com/office/drawing/2014/main" xmlns="" id="{17656A79-123A-4980-9EDB-D243057F1C0A}"/>
              </a:ext>
            </a:extLst>
          </p:cNvPr>
          <p:cNvSpPr txBox="1"/>
          <p:nvPr/>
        </p:nvSpPr>
        <p:spPr>
          <a:xfrm>
            <a:off x="1028964" y="810890"/>
            <a:ext cx="8735521" cy="523220"/>
          </a:xfrm>
          <a:prstGeom prst="rect">
            <a:avLst/>
          </a:prstGeom>
          <a:noFill/>
        </p:spPr>
        <p:txBody>
          <a:bodyPr wrap="square" rtlCol="0" anchor="b" anchorCtr="0">
            <a:spAutoFit/>
          </a:bodyPr>
          <a:lstStyle/>
          <a:p>
            <a:r>
              <a:rPr lang="en-GB" sz="2800" b="1" dirty="0">
                <a:solidFill>
                  <a:schemeClr val="tx2"/>
                </a:solidFill>
                <a:latin typeface="+mj-lt"/>
                <a:ea typeface="League Spartan" charset="0"/>
                <a:cs typeface="Poppins" pitchFamily="2" charset="77"/>
              </a:rPr>
              <a:t>Condiciones para el éxito de las medidas de reestructuración</a:t>
            </a:r>
          </a:p>
        </p:txBody>
      </p:sp>
    </p:spTree>
    <p:extLst>
      <p:ext uri="{BB962C8B-B14F-4D97-AF65-F5344CB8AC3E}">
        <p14:creationId xmlns:p14="http://schemas.microsoft.com/office/powerpoint/2010/main" val="13293462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5096" y="524626"/>
            <a:ext cx="8852375" cy="697353"/>
          </a:xfrm>
        </p:spPr>
        <p:txBody>
          <a:bodyPr>
            <a:normAutofit/>
          </a:bodyPr>
          <a:lstStyle/>
          <a:p>
            <a:r>
              <a:rPr lang="en-GB" dirty="0"/>
              <a:t>Concepto de reestructuración: Conozca los hech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7176" y="1738478"/>
            <a:ext cx="2871709" cy="482213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odo buen concepto se basa en hechos concretos. Aunque se disponga de poco tiempo, hay que concentrarse primero en realizar un análisis sólido. Sin embargo, debe concentrarse primero en los hechos que son especialmente relevantes para la reestructuración y basarse en los datos que ya están disponibles en la empresa. </a:t>
            </a:r>
            <a:endParaRPr lang="en-US" dirty="0">
              <a:solidFill>
                <a:srgbClr val="245473"/>
              </a:solidFill>
            </a:endParaRPr>
          </a:p>
        </p:txBody>
      </p:sp>
      <p:graphicFrame>
        <p:nvGraphicFramePr>
          <p:cNvPr id="72" name="object 15">
            <a:extLst>
              <a:ext uri="{FF2B5EF4-FFF2-40B4-BE49-F238E27FC236}">
                <a16:creationId xmlns:a16="http://schemas.microsoft.com/office/drawing/2014/main" xmlns="" id="{377308A6-0CD9-4575-8764-110B9EB55692}"/>
              </a:ext>
            </a:extLst>
          </p:cNvPr>
          <p:cNvGraphicFramePr>
            <a:graphicFrameLocks noGrp="1"/>
          </p:cNvGraphicFramePr>
          <p:nvPr>
            <p:extLst>
              <p:ext uri="{D42A27DB-BD31-4B8C-83A1-F6EECF244321}">
                <p14:modId xmlns:p14="http://schemas.microsoft.com/office/powerpoint/2010/main" val="303934601"/>
              </p:ext>
            </p:extLst>
          </p:nvPr>
        </p:nvGraphicFramePr>
        <p:xfrm>
          <a:off x="3513643" y="1911639"/>
          <a:ext cx="8229600" cy="4118555"/>
        </p:xfrm>
        <a:graphic>
          <a:graphicData uri="http://schemas.openxmlformats.org/drawingml/2006/table">
            <a:tbl>
              <a:tblPr firstRow="1" bandRow="1">
                <a:tableStyleId>{69012ECD-51FC-41F1-AA8D-1B2483CD663E}</a:tableStyleId>
              </a:tblPr>
              <a:tblGrid>
                <a:gridCol w="8229600">
                  <a:extLst>
                    <a:ext uri="{9D8B030D-6E8A-4147-A177-3AD203B41FA5}">
                      <a16:colId xmlns:a16="http://schemas.microsoft.com/office/drawing/2014/main" xmlns="" val="20000"/>
                    </a:ext>
                  </a:extLst>
                </a:gridCol>
              </a:tblGrid>
              <a:tr h="423490">
                <a:tc>
                  <a:txBody>
                    <a:bodyPr/>
                    <a:lstStyle/>
                    <a:p>
                      <a:pPr marL="91440">
                        <a:lnSpc>
                          <a:spcPct val="100000"/>
                        </a:lnSpc>
                        <a:spcBef>
                          <a:spcPts val="715"/>
                        </a:spcBef>
                      </a:pPr>
                      <a:r>
                        <a:rPr lang="en-GB" sz="2000" spc="-5" dirty="0">
                          <a:latin typeface="+mj-lt"/>
                        </a:rPr>
                        <a:t>Visión general de la situación de la empresa</a:t>
                      </a:r>
                      <a:endParaRPr lang="en-GB" sz="2000" b="1" spc="-5" dirty="0">
                        <a:solidFill>
                          <a:srgbClr val="FFFFFF"/>
                        </a:solidFill>
                        <a:latin typeface="+mj-lt"/>
                        <a:cs typeface="Arial"/>
                      </a:endParaRPr>
                    </a:p>
                  </a:txBody>
                  <a:tcPr marL="0" marR="0" marT="90805" marB="0"/>
                </a:tc>
                <a:extLst>
                  <a:ext uri="{0D108BD9-81ED-4DB2-BD59-A6C34878D82A}">
                    <a16:rowId xmlns:a16="http://schemas.microsoft.com/office/drawing/2014/main" xmlns="" val="10000"/>
                  </a:ext>
                </a:extLst>
              </a:tr>
              <a:tr h="744697">
                <a:tc>
                  <a:txBody>
                    <a:bodyPr/>
                    <a:lstStyle/>
                    <a:p>
                      <a:pPr marL="551180" marR="490220" indent="-285115">
                        <a:lnSpc>
                          <a:spcPct val="100000"/>
                        </a:lnSpc>
                        <a:spcBef>
                          <a:spcPts val="320"/>
                        </a:spcBef>
                        <a:buFont typeface="Wingdings"/>
                        <a:buChar char=""/>
                        <a:tabLst>
                          <a:tab pos="551180" algn="l"/>
                          <a:tab pos="551815" algn="l"/>
                        </a:tabLst>
                      </a:pPr>
                      <a:r>
                        <a:rPr lang="en-GB" sz="2000" spc="-5" dirty="0">
                          <a:solidFill>
                            <a:srgbClr val="245473"/>
                          </a:solidFill>
                          <a:latin typeface="+mj-lt"/>
                        </a:rPr>
                        <a:t>Los resultados del análisis permiten determinar el marco de actuación necesario como base para definir la misión de la empresa reestructurada y las medidas necesarias para su aplicación</a:t>
                      </a:r>
                      <a:endParaRPr lang="en-GB" sz="2000" dirty="0">
                        <a:solidFill>
                          <a:srgbClr val="245473"/>
                        </a:solidFill>
                        <a:latin typeface="+mj-lt"/>
                        <a:cs typeface="Arial"/>
                      </a:endParaRPr>
                    </a:p>
                  </a:txBody>
                  <a:tcPr marL="0" marR="0" marT="40640" marB="0"/>
                </a:tc>
                <a:extLst>
                  <a:ext uri="{0D108BD9-81ED-4DB2-BD59-A6C34878D82A}">
                    <a16:rowId xmlns:a16="http://schemas.microsoft.com/office/drawing/2014/main" xmlns="" val="10001"/>
                  </a:ext>
                </a:extLst>
              </a:tr>
              <a:tr h="721648">
                <a:tc>
                  <a:txBody>
                    <a:bodyPr/>
                    <a:lstStyle/>
                    <a:p>
                      <a:pPr marL="556260" indent="-285750">
                        <a:lnSpc>
                          <a:spcPct val="100000"/>
                        </a:lnSpc>
                        <a:spcBef>
                          <a:spcPts val="325"/>
                        </a:spcBef>
                        <a:buFont typeface="Wingdings"/>
                        <a:buChar char=""/>
                        <a:tabLst>
                          <a:tab pos="556260" algn="l"/>
                          <a:tab pos="556895" algn="l"/>
                        </a:tabLst>
                      </a:pPr>
                      <a:r>
                        <a:rPr lang="en-GB" sz="2000" spc="-5" dirty="0">
                          <a:solidFill>
                            <a:srgbClr val="245473"/>
                          </a:solidFill>
                          <a:latin typeface="+mj-lt"/>
                        </a:rPr>
                        <a:t>Los siguientes métodos pueden utilizarse para realizar el primer análisis:</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Análisis de la cartera</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Análisis DAFO</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Análisis de la cadena de valor</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cs typeface="Arial"/>
                        </a:rPr>
                        <a:t>Análisis de la industria</a:t>
                      </a:r>
                      <a:endParaRPr lang="en-GB" sz="2000" b="0" dirty="0">
                        <a:solidFill>
                          <a:srgbClr val="245473"/>
                        </a:solidFill>
                        <a:latin typeface="+mj-lt"/>
                        <a:cs typeface="Arial"/>
                      </a:endParaRPr>
                    </a:p>
                  </a:txBody>
                  <a:tcPr marL="0" marR="0" marT="41275" marB="0"/>
                </a:tc>
                <a:extLst>
                  <a:ext uri="{0D108BD9-81ED-4DB2-BD59-A6C34878D82A}">
                    <a16:rowId xmlns:a16="http://schemas.microsoft.com/office/drawing/2014/main" xmlns="" val="10002"/>
                  </a:ext>
                </a:extLst>
              </a:tr>
              <a:tr h="423489">
                <a:tc>
                  <a:txBody>
                    <a:bodyPr/>
                    <a:lstStyle/>
                    <a:p>
                      <a:pPr marL="556260" indent="-285750">
                        <a:lnSpc>
                          <a:spcPct val="100000"/>
                        </a:lnSpc>
                        <a:spcBef>
                          <a:spcPts val="850"/>
                        </a:spcBef>
                        <a:buFont typeface="Wingdings"/>
                        <a:buChar char=""/>
                        <a:tabLst>
                          <a:tab pos="556260" algn="l"/>
                          <a:tab pos="556895" algn="l"/>
                        </a:tabLst>
                      </a:pPr>
                      <a:r>
                        <a:rPr lang="en-GB" sz="2000" spc="-10" dirty="0">
                          <a:solidFill>
                            <a:srgbClr val="245473"/>
                          </a:solidFill>
                          <a:latin typeface="+mj-lt"/>
                        </a:rPr>
                        <a:t>El método que utilice depende de la presión de la crisis (tiempo disponible) y de la fecha disponible.</a:t>
                      </a:r>
                      <a:endParaRPr lang="en-GB" sz="2000" dirty="0">
                        <a:solidFill>
                          <a:srgbClr val="245473"/>
                        </a:solidFill>
                        <a:latin typeface="+mj-lt"/>
                        <a:cs typeface="Arial"/>
                      </a:endParaRPr>
                    </a:p>
                  </a:txBody>
                  <a:tcPr marL="0" marR="0" marT="107950" marB="0"/>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0760971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3783" y="589391"/>
            <a:ext cx="8852375" cy="697353"/>
          </a:xfrm>
        </p:spPr>
        <p:txBody>
          <a:bodyPr>
            <a:normAutofit/>
          </a:bodyPr>
          <a:lstStyle/>
          <a:p>
            <a:r>
              <a:rPr lang="en-GB" dirty="0"/>
              <a:t>Concepto de reestructuración: Análisis DAF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01158" y="2107261"/>
            <a:ext cx="2749858"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análisis DAFO (o matriz DAFO) es una técnica de planificación estratégica utilizada para ayudar a una persona u organización a identificar los puntos fuertes, los puntos débiles, las oportunidades y las amenazas relacionadas con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con la competencia empresarial o la planificación de proyectos.</a:t>
            </a:r>
            <a:endParaRPr lang="en-US" dirty="0">
              <a:solidFill>
                <a:srgbClr val="245473"/>
              </a:solidFill>
            </a:endParaRPr>
          </a:p>
        </p:txBody>
      </p:sp>
      <p:cxnSp>
        <p:nvCxnSpPr>
          <p:cNvPr id="5" name="Straight Connector 41">
            <a:extLst>
              <a:ext uri="{FF2B5EF4-FFF2-40B4-BE49-F238E27FC236}">
                <a16:creationId xmlns:a16="http://schemas.microsoft.com/office/drawing/2014/main" xmlns="" id="{DF5F0568-047F-4F71-80D6-1A2738A7C2F1}"/>
              </a:ext>
            </a:extLst>
          </p:cNvPr>
          <p:cNvCxnSpPr>
            <a:cxnSpLocks/>
          </p:cNvCxnSpPr>
          <p:nvPr/>
        </p:nvCxnSpPr>
        <p:spPr bwMode="auto">
          <a:xfrm>
            <a:off x="9696542" y="3161474"/>
            <a:ext cx="0" cy="17689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42">
            <a:extLst>
              <a:ext uri="{FF2B5EF4-FFF2-40B4-BE49-F238E27FC236}">
                <a16:creationId xmlns:a16="http://schemas.microsoft.com/office/drawing/2014/main" xmlns="" id="{26BA192B-4564-4BC8-A4EF-811B0FE6FD25}"/>
              </a:ext>
            </a:extLst>
          </p:cNvPr>
          <p:cNvCxnSpPr>
            <a:cxnSpLocks/>
          </p:cNvCxnSpPr>
          <p:nvPr/>
        </p:nvCxnSpPr>
        <p:spPr bwMode="auto">
          <a:xfrm>
            <a:off x="8701181" y="3338366"/>
            <a:ext cx="1976437"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 name="Straight Connector 39">
            <a:extLst>
              <a:ext uri="{FF2B5EF4-FFF2-40B4-BE49-F238E27FC236}">
                <a16:creationId xmlns:a16="http://schemas.microsoft.com/office/drawing/2014/main" xmlns="" id="{1471F38A-E0C8-47EA-8A1F-1B05D9C7C670}"/>
              </a:ext>
            </a:extLst>
          </p:cNvPr>
          <p:cNvCxnSpPr>
            <a:cxnSpLocks/>
          </p:cNvCxnSpPr>
          <p:nvPr/>
        </p:nvCxnSpPr>
        <p:spPr bwMode="auto">
          <a:xfrm>
            <a:off x="8701180" y="3334794"/>
            <a:ext cx="0" cy="17740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 name="Straight Connector 40">
            <a:extLst>
              <a:ext uri="{FF2B5EF4-FFF2-40B4-BE49-F238E27FC236}">
                <a16:creationId xmlns:a16="http://schemas.microsoft.com/office/drawing/2014/main" xmlns="" id="{B2116C94-9CAD-42F5-AD45-FD645175CB02}"/>
              </a:ext>
            </a:extLst>
          </p:cNvPr>
          <p:cNvCxnSpPr>
            <a:cxnSpLocks/>
            <a:endCxn id="26" idx="0"/>
          </p:cNvCxnSpPr>
          <p:nvPr/>
        </p:nvCxnSpPr>
        <p:spPr bwMode="auto">
          <a:xfrm>
            <a:off x="10677617" y="3334796"/>
            <a:ext cx="9701" cy="18097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29">
            <a:extLst>
              <a:ext uri="{FF2B5EF4-FFF2-40B4-BE49-F238E27FC236}">
                <a16:creationId xmlns:a16="http://schemas.microsoft.com/office/drawing/2014/main" xmlns="" id="{F2E29EB8-853C-489E-B795-A6D9F7B0328A}"/>
              </a:ext>
            </a:extLst>
          </p:cNvPr>
          <p:cNvCxnSpPr/>
          <p:nvPr/>
        </p:nvCxnSpPr>
        <p:spPr bwMode="auto">
          <a:xfrm>
            <a:off x="7555798" y="2396583"/>
            <a:ext cx="0" cy="17502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30">
            <a:extLst>
              <a:ext uri="{FF2B5EF4-FFF2-40B4-BE49-F238E27FC236}">
                <a16:creationId xmlns:a16="http://schemas.microsoft.com/office/drawing/2014/main" xmlns="" id="{553BFCAE-9F3A-476B-BF0C-29510F0FA84E}"/>
              </a:ext>
            </a:extLst>
          </p:cNvPr>
          <p:cNvCxnSpPr>
            <a:cxnSpLocks/>
          </p:cNvCxnSpPr>
          <p:nvPr/>
        </p:nvCxnSpPr>
        <p:spPr bwMode="auto">
          <a:xfrm>
            <a:off x="5431724" y="2575176"/>
            <a:ext cx="42600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27">
            <a:extLst>
              <a:ext uri="{FF2B5EF4-FFF2-40B4-BE49-F238E27FC236}">
                <a16:creationId xmlns:a16="http://schemas.microsoft.com/office/drawing/2014/main" xmlns="" id="{C947F689-9AA4-445A-894C-237897C351BC}"/>
              </a:ext>
            </a:extLst>
          </p:cNvPr>
          <p:cNvCxnSpPr>
            <a:cxnSpLocks/>
          </p:cNvCxnSpPr>
          <p:nvPr/>
        </p:nvCxnSpPr>
        <p:spPr bwMode="auto">
          <a:xfrm>
            <a:off x="5431724" y="2575177"/>
            <a:ext cx="0" cy="19645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28">
            <a:extLst>
              <a:ext uri="{FF2B5EF4-FFF2-40B4-BE49-F238E27FC236}">
                <a16:creationId xmlns:a16="http://schemas.microsoft.com/office/drawing/2014/main" xmlns="" id="{5DCC6894-1A49-4575-8419-54AC3B305CFC}"/>
              </a:ext>
            </a:extLst>
          </p:cNvPr>
          <p:cNvCxnSpPr>
            <a:cxnSpLocks/>
            <a:endCxn id="18" idx="0"/>
          </p:cNvCxnSpPr>
          <p:nvPr/>
        </p:nvCxnSpPr>
        <p:spPr bwMode="auto">
          <a:xfrm flipH="1">
            <a:off x="9691184" y="2571605"/>
            <a:ext cx="596" cy="203596"/>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Rectangle 2">
            <a:extLst>
              <a:ext uri="{FF2B5EF4-FFF2-40B4-BE49-F238E27FC236}">
                <a16:creationId xmlns:a16="http://schemas.microsoft.com/office/drawing/2014/main" xmlns="" id="{341F2D68-F9A2-441B-9F8B-32EC8D11A4DA}"/>
              </a:ext>
            </a:extLst>
          </p:cNvPr>
          <p:cNvSpPr/>
          <p:nvPr/>
        </p:nvSpPr>
        <p:spPr bwMode="auto">
          <a:xfrm>
            <a:off x="5313851" y="2000105"/>
            <a:ext cx="4495800" cy="39647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4" name="Rectangle 3">
            <a:extLst>
              <a:ext uri="{FF2B5EF4-FFF2-40B4-BE49-F238E27FC236}">
                <a16:creationId xmlns:a16="http://schemas.microsoft.com/office/drawing/2014/main" xmlns="" id="{88C69BB0-557F-41DC-B0E4-27149C5415C5}"/>
              </a:ext>
            </a:extLst>
          </p:cNvPr>
          <p:cNvSpPr/>
          <p:nvPr/>
        </p:nvSpPr>
        <p:spPr bwMode="auto">
          <a:xfrm>
            <a:off x="5313851" y="1878661"/>
            <a:ext cx="4495800" cy="45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5" name="Rectangle 6">
            <a:extLst>
              <a:ext uri="{FF2B5EF4-FFF2-40B4-BE49-F238E27FC236}">
                <a16:creationId xmlns:a16="http://schemas.microsoft.com/office/drawing/2014/main" xmlns="" id="{CA431A96-4FBA-40B7-A2ED-5AFB587B8025}"/>
              </a:ext>
            </a:extLst>
          </p:cNvPr>
          <p:cNvSpPr/>
          <p:nvPr/>
        </p:nvSpPr>
        <p:spPr bwMode="auto">
          <a:xfrm>
            <a:off x="3518389" y="2864499"/>
            <a:ext cx="3827860" cy="30360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6" name="Rectangle 7">
            <a:extLst>
              <a:ext uri="{FF2B5EF4-FFF2-40B4-BE49-F238E27FC236}">
                <a16:creationId xmlns:a16="http://schemas.microsoft.com/office/drawing/2014/main" xmlns="" id="{E5B43FFB-474C-49C8-9AE0-C063BC0CC599}"/>
              </a:ext>
            </a:extLst>
          </p:cNvPr>
          <p:cNvSpPr/>
          <p:nvPr/>
        </p:nvSpPr>
        <p:spPr bwMode="auto">
          <a:xfrm>
            <a:off x="3518389" y="2775201"/>
            <a:ext cx="3827860" cy="3500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7" name="Rectangle 9">
            <a:extLst>
              <a:ext uri="{FF2B5EF4-FFF2-40B4-BE49-F238E27FC236}">
                <a16:creationId xmlns:a16="http://schemas.microsoft.com/office/drawing/2014/main" xmlns="" id="{1492E3C0-5ACF-43BF-AE37-7CA575BBB091}"/>
              </a:ext>
            </a:extLst>
          </p:cNvPr>
          <p:cNvSpPr/>
          <p:nvPr/>
        </p:nvSpPr>
        <p:spPr bwMode="auto">
          <a:xfrm>
            <a:off x="7777255" y="2864499"/>
            <a:ext cx="3827859" cy="30360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8" name="Rectangle 10">
            <a:extLst>
              <a:ext uri="{FF2B5EF4-FFF2-40B4-BE49-F238E27FC236}">
                <a16:creationId xmlns:a16="http://schemas.microsoft.com/office/drawing/2014/main" xmlns="" id="{2F88F7B4-1A6C-4AFC-BF7D-EB5B8041D69A}"/>
              </a:ext>
            </a:extLst>
          </p:cNvPr>
          <p:cNvSpPr/>
          <p:nvPr/>
        </p:nvSpPr>
        <p:spPr bwMode="auto">
          <a:xfrm>
            <a:off x="7777255" y="2775201"/>
            <a:ext cx="3827859" cy="3500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9" name="Rectangle 13">
            <a:extLst>
              <a:ext uri="{FF2B5EF4-FFF2-40B4-BE49-F238E27FC236}">
                <a16:creationId xmlns:a16="http://schemas.microsoft.com/office/drawing/2014/main" xmlns="" id="{D8F91DBF-31E8-40C3-AFEE-26350902926F}"/>
              </a:ext>
            </a:extLst>
          </p:cNvPr>
          <p:cNvSpPr/>
          <p:nvPr/>
        </p:nvSpPr>
        <p:spPr>
          <a:xfrm>
            <a:off x="3518389" y="3516854"/>
            <a:ext cx="1840706" cy="282308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0" name="Rectangle 14">
            <a:extLst>
              <a:ext uri="{FF2B5EF4-FFF2-40B4-BE49-F238E27FC236}">
                <a16:creationId xmlns:a16="http://schemas.microsoft.com/office/drawing/2014/main" xmlns="" id="{80A14867-CD20-48FD-A373-DA0BF8F2A66D}"/>
              </a:ext>
            </a:extLst>
          </p:cNvPr>
          <p:cNvSpPr/>
          <p:nvPr/>
        </p:nvSpPr>
        <p:spPr>
          <a:xfrm>
            <a:off x="3518389" y="3515770"/>
            <a:ext cx="1845820" cy="3512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1" name="Rectangle 15">
            <a:extLst>
              <a:ext uri="{FF2B5EF4-FFF2-40B4-BE49-F238E27FC236}">
                <a16:creationId xmlns:a16="http://schemas.microsoft.com/office/drawing/2014/main" xmlns="" id="{3ECD1910-13C8-4425-96BC-6990C516FFFE}"/>
              </a:ext>
            </a:extLst>
          </p:cNvPr>
          <p:cNvSpPr/>
          <p:nvPr/>
        </p:nvSpPr>
        <p:spPr>
          <a:xfrm>
            <a:off x="5493637" y="3649821"/>
            <a:ext cx="1847011" cy="269012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2" name="Rectangle 16">
            <a:extLst>
              <a:ext uri="{FF2B5EF4-FFF2-40B4-BE49-F238E27FC236}">
                <a16:creationId xmlns:a16="http://schemas.microsoft.com/office/drawing/2014/main" xmlns="" id="{E0645C7F-C00D-4F08-BCF8-ECDD08034137}"/>
              </a:ext>
            </a:extLst>
          </p:cNvPr>
          <p:cNvSpPr/>
          <p:nvPr/>
        </p:nvSpPr>
        <p:spPr>
          <a:xfrm>
            <a:off x="5493637" y="3515770"/>
            <a:ext cx="1847011" cy="3512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3" name="Rectangle 19">
            <a:extLst>
              <a:ext uri="{FF2B5EF4-FFF2-40B4-BE49-F238E27FC236}">
                <a16:creationId xmlns:a16="http://schemas.microsoft.com/office/drawing/2014/main" xmlns="" id="{24F5F4B2-899F-4627-8D85-5B54F2610EA5}"/>
              </a:ext>
            </a:extLst>
          </p:cNvPr>
          <p:cNvSpPr/>
          <p:nvPr/>
        </p:nvSpPr>
        <p:spPr>
          <a:xfrm>
            <a:off x="7777743" y="3657454"/>
            <a:ext cx="1852125" cy="268324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4" name="Rectangle 20">
            <a:extLst>
              <a:ext uri="{FF2B5EF4-FFF2-40B4-BE49-F238E27FC236}">
                <a16:creationId xmlns:a16="http://schemas.microsoft.com/office/drawing/2014/main" xmlns="" id="{4AEA2723-209D-4AFE-AE0E-97BDD42DAF08}"/>
              </a:ext>
            </a:extLst>
          </p:cNvPr>
          <p:cNvSpPr/>
          <p:nvPr/>
        </p:nvSpPr>
        <p:spPr>
          <a:xfrm>
            <a:off x="7777743" y="3536226"/>
            <a:ext cx="1847011" cy="3512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5" name="Rectangle 21">
            <a:extLst>
              <a:ext uri="{FF2B5EF4-FFF2-40B4-BE49-F238E27FC236}">
                <a16:creationId xmlns:a16="http://schemas.microsoft.com/office/drawing/2014/main" xmlns="" id="{5490B377-415B-434B-B71C-EACAA60F2FD9}"/>
              </a:ext>
            </a:extLst>
          </p:cNvPr>
          <p:cNvSpPr/>
          <p:nvPr/>
        </p:nvSpPr>
        <p:spPr>
          <a:xfrm>
            <a:off x="9764408" y="3657454"/>
            <a:ext cx="1840706" cy="268324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6" name="Rectangle 22">
            <a:extLst>
              <a:ext uri="{FF2B5EF4-FFF2-40B4-BE49-F238E27FC236}">
                <a16:creationId xmlns:a16="http://schemas.microsoft.com/office/drawing/2014/main" xmlns="" id="{73A2F6EF-0E95-4BF3-AEAE-1051D490598D}"/>
              </a:ext>
            </a:extLst>
          </p:cNvPr>
          <p:cNvSpPr/>
          <p:nvPr/>
        </p:nvSpPr>
        <p:spPr>
          <a:xfrm>
            <a:off x="9764408" y="3515770"/>
            <a:ext cx="1845820" cy="3512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cxnSp>
        <p:nvCxnSpPr>
          <p:cNvPr id="27" name="Straight Connector 35">
            <a:extLst>
              <a:ext uri="{FF2B5EF4-FFF2-40B4-BE49-F238E27FC236}">
                <a16:creationId xmlns:a16="http://schemas.microsoft.com/office/drawing/2014/main" xmlns="" id="{C20E747C-2B58-41DE-B21F-DD37218E7ACA}"/>
              </a:ext>
            </a:extLst>
          </p:cNvPr>
          <p:cNvCxnSpPr>
            <a:cxnSpLocks/>
            <a:stCxn id="15" idx="2"/>
          </p:cNvCxnSpPr>
          <p:nvPr/>
        </p:nvCxnSpPr>
        <p:spPr bwMode="auto">
          <a:xfrm>
            <a:off x="5432320" y="3168108"/>
            <a:ext cx="1785" cy="166687"/>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36">
            <a:extLst>
              <a:ext uri="{FF2B5EF4-FFF2-40B4-BE49-F238E27FC236}">
                <a16:creationId xmlns:a16="http://schemas.microsoft.com/office/drawing/2014/main" xmlns="" id="{75A2ACBA-3EA0-4B0C-9537-BF8E53AAA5CD}"/>
              </a:ext>
            </a:extLst>
          </p:cNvPr>
          <p:cNvCxnSpPr>
            <a:cxnSpLocks/>
          </p:cNvCxnSpPr>
          <p:nvPr/>
        </p:nvCxnSpPr>
        <p:spPr bwMode="auto">
          <a:xfrm>
            <a:off x="4438743" y="3338366"/>
            <a:ext cx="1976437"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33">
            <a:extLst>
              <a:ext uri="{FF2B5EF4-FFF2-40B4-BE49-F238E27FC236}">
                <a16:creationId xmlns:a16="http://schemas.microsoft.com/office/drawing/2014/main" xmlns="" id="{7CC217E5-1D07-4626-ACC2-DC4E20DED28E}"/>
              </a:ext>
            </a:extLst>
          </p:cNvPr>
          <p:cNvCxnSpPr>
            <a:cxnSpLocks/>
          </p:cNvCxnSpPr>
          <p:nvPr/>
        </p:nvCxnSpPr>
        <p:spPr bwMode="auto">
          <a:xfrm>
            <a:off x="4438742" y="3338366"/>
            <a:ext cx="0" cy="173832"/>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34">
            <a:extLst>
              <a:ext uri="{FF2B5EF4-FFF2-40B4-BE49-F238E27FC236}">
                <a16:creationId xmlns:a16="http://schemas.microsoft.com/office/drawing/2014/main" xmlns="" id="{142494D4-2A11-4244-9809-BCC4BAD9381E}"/>
              </a:ext>
            </a:extLst>
          </p:cNvPr>
          <p:cNvCxnSpPr>
            <a:cxnSpLocks/>
            <a:endCxn id="22" idx="0"/>
          </p:cNvCxnSpPr>
          <p:nvPr/>
        </p:nvCxnSpPr>
        <p:spPr bwMode="auto">
          <a:xfrm>
            <a:off x="6415180" y="3334796"/>
            <a:ext cx="1963" cy="18097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 name="TextBox 58">
            <a:extLst>
              <a:ext uri="{FF2B5EF4-FFF2-40B4-BE49-F238E27FC236}">
                <a16:creationId xmlns:a16="http://schemas.microsoft.com/office/drawing/2014/main" xmlns="" id="{21C07DE5-AB33-479E-973B-B7683A462402}"/>
              </a:ext>
            </a:extLst>
          </p:cNvPr>
          <p:cNvSpPr txBox="1"/>
          <p:nvPr/>
        </p:nvSpPr>
        <p:spPr>
          <a:xfrm>
            <a:off x="6891888" y="1878952"/>
            <a:ext cx="1339726" cy="473335"/>
          </a:xfrm>
          <a:prstGeom prst="rect">
            <a:avLst/>
          </a:prstGeom>
          <a:noFill/>
        </p:spPr>
        <p:txBody>
          <a:bodyPr wrap="none" rtlCol="0" anchor="ctr" anchorCtr="0">
            <a:spAutoFit/>
          </a:bodyPr>
          <a:lstStyle/>
          <a:p>
            <a:pPr algn="ctr"/>
            <a:r>
              <a:rPr lang="en-GB" sz="2476" b="1">
                <a:solidFill>
                  <a:schemeClr val="bg1"/>
                </a:solidFill>
                <a:latin typeface="+mj-lt"/>
                <a:ea typeface="League Spartan" charset="0"/>
                <a:cs typeface="Poppins" pitchFamily="2" charset="77"/>
              </a:rPr>
              <a:t>ANÁLISIS</a:t>
            </a:r>
            <a:endParaRPr lang="en-GB" sz="2476" b="1" dirty="0">
              <a:solidFill>
                <a:schemeClr val="bg1"/>
              </a:solidFill>
              <a:latin typeface="+mj-lt"/>
              <a:ea typeface="League Spartan" charset="0"/>
              <a:cs typeface="Poppins" pitchFamily="2" charset="77"/>
            </a:endParaRPr>
          </a:p>
        </p:txBody>
      </p:sp>
      <p:sp>
        <p:nvSpPr>
          <p:cNvPr id="32" name="TextBox 59">
            <a:extLst>
              <a:ext uri="{FF2B5EF4-FFF2-40B4-BE49-F238E27FC236}">
                <a16:creationId xmlns:a16="http://schemas.microsoft.com/office/drawing/2014/main" xmlns="" id="{4A0E62F7-18B8-44D8-959E-7880E7A1E932}"/>
              </a:ext>
            </a:extLst>
          </p:cNvPr>
          <p:cNvSpPr txBox="1"/>
          <p:nvPr/>
        </p:nvSpPr>
        <p:spPr>
          <a:xfrm>
            <a:off x="4880980" y="2763048"/>
            <a:ext cx="1091966" cy="369332"/>
          </a:xfrm>
          <a:prstGeom prst="rect">
            <a:avLst/>
          </a:prstGeom>
          <a:noFill/>
        </p:spPr>
        <p:txBody>
          <a:bodyPr wrap="none" rtlCol="0" anchor="ctr" anchorCtr="0">
            <a:spAutoFit/>
          </a:bodyPr>
          <a:lstStyle/>
          <a:p>
            <a:pPr algn="ctr"/>
            <a:r>
              <a:rPr lang="en-GB" b="1" dirty="0">
                <a:solidFill>
                  <a:schemeClr val="bg1"/>
                </a:solidFill>
                <a:latin typeface="+mj-lt"/>
                <a:ea typeface="League Spartan" charset="0"/>
                <a:cs typeface="Poppins" pitchFamily="2" charset="77"/>
              </a:rPr>
              <a:t>INTERNO</a:t>
            </a:r>
          </a:p>
        </p:txBody>
      </p:sp>
      <p:sp>
        <p:nvSpPr>
          <p:cNvPr id="33" name="TextBox 60">
            <a:extLst>
              <a:ext uri="{FF2B5EF4-FFF2-40B4-BE49-F238E27FC236}">
                <a16:creationId xmlns:a16="http://schemas.microsoft.com/office/drawing/2014/main" xmlns="" id="{B5BA8DEE-BE90-44AD-8CCC-5A2D4796671E}"/>
              </a:ext>
            </a:extLst>
          </p:cNvPr>
          <p:cNvSpPr txBox="1"/>
          <p:nvPr/>
        </p:nvSpPr>
        <p:spPr>
          <a:xfrm>
            <a:off x="9138538" y="2763048"/>
            <a:ext cx="1116011" cy="369332"/>
          </a:xfrm>
          <a:prstGeom prst="rect">
            <a:avLst/>
          </a:prstGeom>
          <a:noFill/>
        </p:spPr>
        <p:txBody>
          <a:bodyPr wrap="none" rtlCol="0" anchor="ctr" anchorCtr="0">
            <a:spAutoFit/>
          </a:bodyPr>
          <a:lstStyle/>
          <a:p>
            <a:pPr algn="ctr"/>
            <a:r>
              <a:rPr lang="en-GB" b="1" dirty="0">
                <a:solidFill>
                  <a:schemeClr val="bg1"/>
                </a:solidFill>
                <a:latin typeface="+mj-lt"/>
                <a:ea typeface="League Spartan" charset="0"/>
                <a:cs typeface="Poppins" pitchFamily="2" charset="77"/>
              </a:rPr>
              <a:t>EXTERIOR</a:t>
            </a:r>
          </a:p>
        </p:txBody>
      </p:sp>
      <p:sp>
        <p:nvSpPr>
          <p:cNvPr id="34" name="TextBox 61">
            <a:extLst>
              <a:ext uri="{FF2B5EF4-FFF2-40B4-BE49-F238E27FC236}">
                <a16:creationId xmlns:a16="http://schemas.microsoft.com/office/drawing/2014/main" xmlns="" id="{9E8C4B57-FD37-4B78-840E-6D153CB3B704}"/>
              </a:ext>
            </a:extLst>
          </p:cNvPr>
          <p:cNvSpPr txBox="1"/>
          <p:nvPr/>
        </p:nvSpPr>
        <p:spPr>
          <a:xfrm>
            <a:off x="10280966" y="3537499"/>
            <a:ext cx="812707" cy="307777"/>
          </a:xfrm>
          <a:prstGeom prst="rect">
            <a:avLst/>
          </a:prstGeom>
          <a:noFill/>
        </p:spPr>
        <p:txBody>
          <a:bodyPr wrap="square" rtlCol="0" anchor="ctr" anchorCtr="0">
            <a:spAutoFit/>
          </a:bodyPr>
          <a:lstStyle/>
          <a:p>
            <a:pPr algn="ctr"/>
            <a:r>
              <a:rPr lang="en-GB" sz="1400" b="1">
                <a:solidFill>
                  <a:schemeClr val="bg1"/>
                </a:solidFill>
                <a:latin typeface="+mj-lt"/>
                <a:ea typeface="League Spartan" charset="0"/>
                <a:cs typeface="Poppins" pitchFamily="2" charset="77"/>
              </a:rPr>
              <a:t>AMENAZAS</a:t>
            </a:r>
            <a:endParaRPr lang="en-GB" sz="1400" b="1" dirty="0">
              <a:solidFill>
                <a:schemeClr val="bg1"/>
              </a:solidFill>
              <a:latin typeface="+mj-lt"/>
              <a:ea typeface="League Spartan" charset="0"/>
              <a:cs typeface="Poppins" pitchFamily="2" charset="77"/>
            </a:endParaRPr>
          </a:p>
        </p:txBody>
      </p:sp>
      <p:sp>
        <p:nvSpPr>
          <p:cNvPr id="35" name="TextBox 62">
            <a:extLst>
              <a:ext uri="{FF2B5EF4-FFF2-40B4-BE49-F238E27FC236}">
                <a16:creationId xmlns:a16="http://schemas.microsoft.com/office/drawing/2014/main" xmlns="" id="{F5496BF7-C078-4C18-B82F-795F701754D2}"/>
              </a:ext>
            </a:extLst>
          </p:cNvPr>
          <p:cNvSpPr txBox="1"/>
          <p:nvPr/>
        </p:nvSpPr>
        <p:spPr>
          <a:xfrm>
            <a:off x="8042038" y="3537499"/>
            <a:ext cx="1506841"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OPORTUNIDADES</a:t>
            </a:r>
          </a:p>
        </p:txBody>
      </p:sp>
      <p:sp>
        <p:nvSpPr>
          <p:cNvPr id="36" name="TextBox 63">
            <a:extLst>
              <a:ext uri="{FF2B5EF4-FFF2-40B4-BE49-F238E27FC236}">
                <a16:creationId xmlns:a16="http://schemas.microsoft.com/office/drawing/2014/main" xmlns="" id="{E34E5659-F598-464E-A298-857BF0C44D25}"/>
              </a:ext>
            </a:extLst>
          </p:cNvPr>
          <p:cNvSpPr txBox="1"/>
          <p:nvPr/>
        </p:nvSpPr>
        <p:spPr>
          <a:xfrm>
            <a:off x="5847154" y="3537499"/>
            <a:ext cx="1414034"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DEBILIDADES</a:t>
            </a:r>
          </a:p>
        </p:txBody>
      </p:sp>
      <p:sp>
        <p:nvSpPr>
          <p:cNvPr id="37" name="TextBox 64">
            <a:extLst>
              <a:ext uri="{FF2B5EF4-FFF2-40B4-BE49-F238E27FC236}">
                <a16:creationId xmlns:a16="http://schemas.microsoft.com/office/drawing/2014/main" xmlns="" id="{86D9A180-401F-4563-9D6E-62402469BAF4}"/>
              </a:ext>
            </a:extLst>
          </p:cNvPr>
          <p:cNvSpPr txBox="1"/>
          <p:nvPr/>
        </p:nvSpPr>
        <p:spPr>
          <a:xfrm>
            <a:off x="3925718" y="3537499"/>
            <a:ext cx="1324080"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FORTALEZAS</a:t>
            </a:r>
          </a:p>
        </p:txBody>
      </p:sp>
      <p:sp>
        <p:nvSpPr>
          <p:cNvPr id="38" name="Subtitle 2">
            <a:extLst>
              <a:ext uri="{FF2B5EF4-FFF2-40B4-BE49-F238E27FC236}">
                <a16:creationId xmlns:a16="http://schemas.microsoft.com/office/drawing/2014/main" xmlns="" id="{E7C1F750-1F1C-4A05-99BE-8B8FBBAD535C}"/>
              </a:ext>
            </a:extLst>
          </p:cNvPr>
          <p:cNvSpPr txBox="1">
            <a:spLocks/>
          </p:cNvSpPr>
          <p:nvPr/>
        </p:nvSpPr>
        <p:spPr>
          <a:xfrm>
            <a:off x="3603898" y="3909555"/>
            <a:ext cx="1674805" cy="205977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a:solidFill>
                  <a:schemeClr val="bg1"/>
                </a:solidFill>
                <a:latin typeface="+mj-lt"/>
                <a:ea typeface="Open Sans Light" panose="020B0306030504020204" pitchFamily="34" charset="0"/>
                <a:cs typeface="Open Sans Light" panose="020B0306030504020204" pitchFamily="34" charset="0"/>
              </a:rPr>
              <a:t>Los puntos fuertes describen en qué destaca una organización y qué la separa de la competencia: una marca fuerte, una base de clientes leales, un balance sólido, una tecnología única, etc. </a:t>
            </a:r>
            <a:r>
              <a:rPr lang="en-GB" sz="1400" dirty="0">
                <a:solidFill>
                  <a:schemeClr val="bg1"/>
                </a:solidFill>
                <a:latin typeface="+mj-lt"/>
                <a:ea typeface="Open Sans Light" panose="020B0306030504020204" pitchFamily="34" charset="0"/>
                <a:cs typeface="Open Sans Light" panose="020B0306030504020204" pitchFamily="34" charset="0"/>
              </a:rPr>
              <a:t/>
            </a:r>
            <a:br>
              <a:rPr lang="en-GB" sz="1400" dirty="0">
                <a:solidFill>
                  <a:schemeClr val="bg1"/>
                </a:solidFill>
                <a:latin typeface="+mj-lt"/>
                <a:ea typeface="Open Sans Light" panose="020B0306030504020204" pitchFamily="34" charset="0"/>
                <a:cs typeface="Open Sans Light" panose="020B0306030504020204" pitchFamily="34" charset="0"/>
              </a:rPr>
            </a:br>
            <a:r>
              <a:rPr lang="en-GB" sz="1400">
                <a:solidFill>
                  <a:schemeClr val="bg1"/>
                </a:solidFill>
                <a:latin typeface="+mj-lt"/>
                <a:ea typeface="Open Sans Light" panose="020B0306030504020204" pitchFamily="34" charset="0"/>
                <a:cs typeface="Open Sans Light" panose="020B0306030504020204" pitchFamily="34" charset="0"/>
              </a:rPr>
              <a:t>tecnología única, etc. </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39" name="Subtitle 2">
            <a:extLst>
              <a:ext uri="{FF2B5EF4-FFF2-40B4-BE49-F238E27FC236}">
                <a16:creationId xmlns:a16="http://schemas.microsoft.com/office/drawing/2014/main" xmlns="" id="{4565241B-0259-4F78-A1EC-5D561528C49C}"/>
              </a:ext>
            </a:extLst>
          </p:cNvPr>
          <p:cNvSpPr txBox="1">
            <a:spLocks/>
          </p:cNvSpPr>
          <p:nvPr/>
        </p:nvSpPr>
        <p:spPr>
          <a:xfrm>
            <a:off x="5579739" y="3909555"/>
            <a:ext cx="1674805"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a:solidFill>
                  <a:schemeClr val="bg1"/>
                </a:solidFill>
                <a:latin typeface="+mj-lt"/>
                <a:ea typeface="Open Sans Light" panose="020B0306030504020204" pitchFamily="34" charset="0"/>
                <a:cs typeface="Open Sans Light" panose="020B0306030504020204" pitchFamily="34" charset="0"/>
              </a:rPr>
              <a:t>Los puntos débiles impiden que una organización funcione a su nivel óptimo. Son áreas en las que la empresa necesita mejorar para seguir siendo competitiva: una marca débil, altos niveles de deuda, una cadena de suministro inadecuada o falta de capital.</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40" name="Subtitle 2">
            <a:extLst>
              <a:ext uri="{FF2B5EF4-FFF2-40B4-BE49-F238E27FC236}">
                <a16:creationId xmlns:a16="http://schemas.microsoft.com/office/drawing/2014/main" xmlns="" id="{AC4F719D-5A49-41E8-92DD-67A28B373485}"/>
              </a:ext>
            </a:extLst>
          </p:cNvPr>
          <p:cNvSpPr txBox="1">
            <a:spLocks/>
          </p:cNvSpPr>
          <p:nvPr/>
        </p:nvSpPr>
        <p:spPr>
          <a:xfrm>
            <a:off x="7874074" y="3909555"/>
            <a:ext cx="1674805" cy="241885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a:solidFill>
                  <a:schemeClr val="bg1"/>
                </a:solidFill>
                <a:latin typeface="+mj-lt"/>
                <a:ea typeface="Open Sans Light" panose="020B0306030504020204" pitchFamily="34" charset="0"/>
                <a:cs typeface="Open Sans Light" panose="020B0306030504020204" pitchFamily="34" charset="0"/>
              </a:rPr>
              <a:t>Las oportunidades se refieren a factores externos favorables que podrían dar a una organización una ventaja competitiva. Por ejemplo, si un país reduce los aranceles, un fabricante de automóviles puede exportar sus coches a un nuevo mercado, aumentando las ventas y la cuota de mercado.</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41" name="Subtitle 2">
            <a:extLst>
              <a:ext uri="{FF2B5EF4-FFF2-40B4-BE49-F238E27FC236}">
                <a16:creationId xmlns:a16="http://schemas.microsoft.com/office/drawing/2014/main" xmlns="" id="{E70D4EB7-6268-41EC-A61A-1D925FF37BF5}"/>
              </a:ext>
            </a:extLst>
          </p:cNvPr>
          <p:cNvSpPr txBox="1">
            <a:spLocks/>
          </p:cNvSpPr>
          <p:nvPr/>
        </p:nvSpPr>
        <p:spPr>
          <a:xfrm>
            <a:off x="9842772" y="3909555"/>
            <a:ext cx="1843569"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300" dirty="0">
                <a:solidFill>
                  <a:schemeClr val="bg1"/>
                </a:solidFill>
                <a:latin typeface="+mj-lt"/>
                <a:ea typeface="Open Sans Light" panose="020B0306030504020204" pitchFamily="34" charset="0"/>
                <a:cs typeface="Open Sans Light" panose="020B0306030504020204" pitchFamily="34" charset="0"/>
              </a:rPr>
              <a:t>Las amenazas se refieren a los factores que tienen el potencial de perjudicar a una organización. </a:t>
            </a:r>
            <a:r>
              <a:rPr lang="en-GB" sz="1300">
                <a:solidFill>
                  <a:schemeClr val="bg1"/>
                </a:solidFill>
                <a:latin typeface="+mj-lt"/>
                <a:ea typeface="Open Sans Light" panose="020B0306030504020204" pitchFamily="34" charset="0"/>
                <a:cs typeface="Open Sans Light" panose="020B0306030504020204" pitchFamily="34" charset="0"/>
              </a:rPr>
              <a:t>Por ejemplo, una sequía</a:t>
            </a:r>
            <a:r>
              <a:rPr lang="en-GB" sz="1300" dirty="0">
                <a:latin typeface="+mj-lt"/>
                <a:ea typeface="Open Sans Light" panose="020B0306030504020204" pitchFamily="34" charset="0"/>
                <a:cs typeface="Open Sans Light" panose="020B0306030504020204" pitchFamily="34" charset="0"/>
              </a:rPr>
              <a:t/>
            </a:r>
            <a:br>
              <a:rPr lang="en-GB" sz="1300" dirty="0">
                <a:latin typeface="+mj-lt"/>
                <a:ea typeface="Open Sans Light" panose="020B0306030504020204" pitchFamily="34" charset="0"/>
                <a:cs typeface="Open Sans Light" panose="020B0306030504020204" pitchFamily="34" charset="0"/>
              </a:rPr>
            </a:br>
            <a:r>
              <a:rPr lang="en-GB" sz="1300">
                <a:solidFill>
                  <a:schemeClr val="bg1"/>
                </a:solidFill>
                <a:latin typeface="+mj-lt"/>
                <a:ea typeface="Open Sans Light" panose="020B0306030504020204" pitchFamily="34" charset="0"/>
                <a:cs typeface="Open Sans Light" panose="020B0306030504020204" pitchFamily="34" charset="0"/>
              </a:rPr>
              <a:t>es una amenaza para una </a:t>
            </a:r>
            <a:r>
              <a:rPr lang="en-GB" sz="1300" dirty="0">
                <a:solidFill>
                  <a:schemeClr val="bg1"/>
                </a:solidFill>
                <a:latin typeface="+mj-lt"/>
                <a:ea typeface="Open Sans Light" panose="020B0306030504020204" pitchFamily="34" charset="0"/>
                <a:cs typeface="Open Sans Light" panose="020B0306030504020204" pitchFamily="34" charset="0"/>
              </a:rPr>
              <a:t>empresa </a:t>
            </a:r>
            <a:r>
              <a:rPr lang="en-GB" sz="1300">
                <a:solidFill>
                  <a:schemeClr val="bg1"/>
                </a:solidFill>
                <a:latin typeface="+mj-lt"/>
                <a:ea typeface="Open Sans Light" panose="020B0306030504020204" pitchFamily="34" charset="0"/>
                <a:cs typeface="Open Sans Light" panose="020B0306030504020204" pitchFamily="34" charset="0"/>
              </a:rPr>
              <a:t>productora de trigo, ya que </a:t>
            </a:r>
            <a:r>
              <a:rPr lang="en-GB" sz="1300" dirty="0">
                <a:solidFill>
                  <a:schemeClr val="bg1"/>
                </a:solidFill>
                <a:latin typeface="+mj-lt"/>
                <a:ea typeface="Open Sans Light" panose="020B0306030504020204" pitchFamily="34" charset="0"/>
                <a:cs typeface="Open Sans Light" panose="020B0306030504020204" pitchFamily="34" charset="0"/>
              </a:rPr>
              <a:t/>
            </a:r>
            <a:br>
              <a:rPr lang="en-GB" sz="1300" dirty="0">
                <a:solidFill>
                  <a:schemeClr val="bg1"/>
                </a:solidFill>
                <a:latin typeface="+mj-lt"/>
                <a:ea typeface="Open Sans Light" panose="020B0306030504020204" pitchFamily="34" charset="0"/>
                <a:cs typeface="Open Sans Light" panose="020B0306030504020204" pitchFamily="34" charset="0"/>
              </a:rPr>
            </a:br>
            <a:r>
              <a:rPr lang="en-GB" sz="1300" dirty="0">
                <a:solidFill>
                  <a:schemeClr val="bg1"/>
                </a:solidFill>
                <a:latin typeface="+mj-lt"/>
                <a:ea typeface="Open Sans Light" panose="020B0306030504020204" pitchFamily="34" charset="0"/>
                <a:cs typeface="Open Sans Light" panose="020B0306030504020204" pitchFamily="34" charset="0"/>
              </a:rPr>
              <a:t>puede destruir o reducir el rendimiento de la cosecha. Otras amenazas comunes son el aumento de los costes de los materiales, el incremento de la competencia, la escasez de mano de obra, etc.</a:t>
            </a:r>
          </a:p>
        </p:txBody>
      </p:sp>
    </p:spTree>
    <p:extLst>
      <p:ext uri="{BB962C8B-B14F-4D97-AF65-F5344CB8AC3E}">
        <p14:creationId xmlns:p14="http://schemas.microsoft.com/office/powerpoint/2010/main" val="22016819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4429" y="484829"/>
            <a:ext cx="8852375" cy="697353"/>
          </a:xfrm>
        </p:spPr>
        <p:txBody>
          <a:bodyPr>
            <a:normAutofit/>
          </a:bodyPr>
          <a:lstStyle/>
          <a:p>
            <a:r>
              <a:rPr lang="en-GB" dirty="0"/>
              <a:t>Concepto de reestructuración: Análisis de la cadena de valor</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7264" y="2024363"/>
            <a:ext cx="3207546" cy="448358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Como hemos visto en los módulos anteriores, el análisis de la cadena es una herramienta estratégica que se utiliza para </a:t>
            </a:r>
            <a:r>
              <a:rPr lang="en-GB" sz="2200" dirty="0" err="1">
                <a:solidFill>
                  <a:srgbClr val="245473"/>
                </a:solidFill>
                <a:latin typeface="+mj-lt"/>
                <a:ea typeface="Open Sans Light" panose="020B0306030504020204" pitchFamily="34" charset="0"/>
                <a:cs typeface="Open Sans Light" panose="020B0306030504020204" pitchFamily="34" charset="0"/>
              </a:rPr>
              <a:t>analizar </a:t>
            </a:r>
            <a:r>
              <a:rPr lang="en-GB" sz="2200" dirty="0">
                <a:solidFill>
                  <a:srgbClr val="245473"/>
                </a:solidFill>
                <a:latin typeface="+mj-lt"/>
                <a:ea typeface="Open Sans Light" panose="020B0306030504020204" pitchFamily="34" charset="0"/>
                <a:cs typeface="Open Sans Light" panose="020B0306030504020204" pitchFamily="34" charset="0"/>
              </a:rPr>
              <a:t>las actividades internas de la empresa. Su objetivo es reconocer qué actividades son las más valiosas (es decir, son la fuente de la ventaja de costes o de diferenciación) para la empresa y cuáles podrían mejorarse para proporcionar una ventaja competitiva</a:t>
            </a:r>
            <a:r>
              <a:rPr lang="en-GB" sz="2200" dirty="0">
                <a:solidFill>
                  <a:schemeClr val="tx1"/>
                </a:solidFill>
                <a:latin typeface="+mj-lt"/>
                <a:ea typeface="Open Sans Light" panose="020B0306030504020204" pitchFamily="34" charset="0"/>
                <a:cs typeface="Open Sans Light" panose="020B0306030504020204" pitchFamily="34" charset="0"/>
              </a:rPr>
              <a:t>. </a:t>
            </a:r>
            <a:endParaRPr lang="en-US" dirty="0"/>
          </a:p>
        </p:txBody>
      </p:sp>
      <p:sp>
        <p:nvSpPr>
          <p:cNvPr id="42" name="Rectangle 4">
            <a:extLst>
              <a:ext uri="{FF2B5EF4-FFF2-40B4-BE49-F238E27FC236}">
                <a16:creationId xmlns:a16="http://schemas.microsoft.com/office/drawing/2014/main" xmlns="" id="{9C233EDF-A62B-49A4-9A33-F20190F12FF4}"/>
              </a:ext>
            </a:extLst>
          </p:cNvPr>
          <p:cNvSpPr/>
          <p:nvPr/>
        </p:nvSpPr>
        <p:spPr>
          <a:xfrm>
            <a:off x="3962317" y="4052588"/>
            <a:ext cx="5515268" cy="42713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5">
            <a:extLst>
              <a:ext uri="{FF2B5EF4-FFF2-40B4-BE49-F238E27FC236}">
                <a16:creationId xmlns:a16="http://schemas.microsoft.com/office/drawing/2014/main" xmlns="" id="{1324A4B9-8D88-402A-9A61-553034EF06F9}"/>
              </a:ext>
            </a:extLst>
          </p:cNvPr>
          <p:cNvSpPr/>
          <p:nvPr/>
        </p:nvSpPr>
        <p:spPr>
          <a:xfrm>
            <a:off x="3962317" y="5378020"/>
            <a:ext cx="5515268" cy="42713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6">
            <a:extLst>
              <a:ext uri="{FF2B5EF4-FFF2-40B4-BE49-F238E27FC236}">
                <a16:creationId xmlns:a16="http://schemas.microsoft.com/office/drawing/2014/main" xmlns="" id="{03B21F54-579D-4DDE-9938-5F843A02E0EE}"/>
              </a:ext>
            </a:extLst>
          </p:cNvPr>
          <p:cNvSpPr/>
          <p:nvPr/>
        </p:nvSpPr>
        <p:spPr>
          <a:xfrm>
            <a:off x="3962317" y="4936209"/>
            <a:ext cx="5515268" cy="4271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7">
            <a:extLst>
              <a:ext uri="{FF2B5EF4-FFF2-40B4-BE49-F238E27FC236}">
                <a16:creationId xmlns:a16="http://schemas.microsoft.com/office/drawing/2014/main" xmlns="" id="{415980C7-EB98-442F-B252-56448E12B071}"/>
              </a:ext>
            </a:extLst>
          </p:cNvPr>
          <p:cNvSpPr/>
          <p:nvPr/>
        </p:nvSpPr>
        <p:spPr>
          <a:xfrm>
            <a:off x="3962317" y="4494398"/>
            <a:ext cx="5515268" cy="4271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Triangle 8">
            <a:extLst>
              <a:ext uri="{FF2B5EF4-FFF2-40B4-BE49-F238E27FC236}">
                <a16:creationId xmlns:a16="http://schemas.microsoft.com/office/drawing/2014/main" xmlns="" id="{C82CB794-0457-4CF9-9B68-162CB57104A3}"/>
              </a:ext>
            </a:extLst>
          </p:cNvPr>
          <p:cNvSpPr/>
          <p:nvPr/>
        </p:nvSpPr>
        <p:spPr>
          <a:xfrm rot="5400000">
            <a:off x="8460793" y="3330013"/>
            <a:ext cx="3506293" cy="1443985"/>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47" name="Rectangle 9">
            <a:extLst>
              <a:ext uri="{FF2B5EF4-FFF2-40B4-BE49-F238E27FC236}">
                <a16:creationId xmlns:a16="http://schemas.microsoft.com/office/drawing/2014/main" xmlns="" id="{E812E71A-0B46-4835-B376-31E7B28C108A}"/>
              </a:ext>
            </a:extLst>
          </p:cNvPr>
          <p:cNvSpPr/>
          <p:nvPr/>
        </p:nvSpPr>
        <p:spPr>
          <a:xfrm>
            <a:off x="3962317" y="2298017"/>
            <a:ext cx="1090706" cy="17398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Rectangle 10">
            <a:extLst>
              <a:ext uri="{FF2B5EF4-FFF2-40B4-BE49-F238E27FC236}">
                <a16:creationId xmlns:a16="http://schemas.microsoft.com/office/drawing/2014/main" xmlns="" id="{484D4BF9-926A-4C21-A14F-3411CA991DD2}"/>
              </a:ext>
            </a:extLst>
          </p:cNvPr>
          <p:cNvSpPr/>
          <p:nvPr/>
        </p:nvSpPr>
        <p:spPr>
          <a:xfrm>
            <a:off x="5065474" y="2298017"/>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9" name="Rectangle 11">
            <a:extLst>
              <a:ext uri="{FF2B5EF4-FFF2-40B4-BE49-F238E27FC236}">
                <a16:creationId xmlns:a16="http://schemas.microsoft.com/office/drawing/2014/main" xmlns="" id="{FD50AAAF-4ACA-4524-92E3-73568B8BEEA0}"/>
              </a:ext>
            </a:extLst>
          </p:cNvPr>
          <p:cNvSpPr/>
          <p:nvPr/>
        </p:nvSpPr>
        <p:spPr>
          <a:xfrm>
            <a:off x="6168632" y="2298017"/>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0" name="Rectangle 12">
            <a:extLst>
              <a:ext uri="{FF2B5EF4-FFF2-40B4-BE49-F238E27FC236}">
                <a16:creationId xmlns:a16="http://schemas.microsoft.com/office/drawing/2014/main" xmlns="" id="{4DE1B283-3240-4275-B8DE-D4B5B7FC127A}"/>
              </a:ext>
            </a:extLst>
          </p:cNvPr>
          <p:cNvSpPr/>
          <p:nvPr/>
        </p:nvSpPr>
        <p:spPr>
          <a:xfrm>
            <a:off x="7276403" y="2298017"/>
            <a:ext cx="1090706" cy="17398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Rectangle 13">
            <a:extLst>
              <a:ext uri="{FF2B5EF4-FFF2-40B4-BE49-F238E27FC236}">
                <a16:creationId xmlns:a16="http://schemas.microsoft.com/office/drawing/2014/main" xmlns="" id="{DC40C1A5-08D6-4A31-B903-77E9C163448B}"/>
              </a:ext>
            </a:extLst>
          </p:cNvPr>
          <p:cNvSpPr/>
          <p:nvPr/>
        </p:nvSpPr>
        <p:spPr>
          <a:xfrm flipH="1">
            <a:off x="8385329" y="2298859"/>
            <a:ext cx="1090706" cy="17398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TextBox 14">
            <a:extLst>
              <a:ext uri="{FF2B5EF4-FFF2-40B4-BE49-F238E27FC236}">
                <a16:creationId xmlns:a16="http://schemas.microsoft.com/office/drawing/2014/main" xmlns="" id="{2B7FFCA3-8832-494D-A5F9-C736602BD185}"/>
              </a:ext>
            </a:extLst>
          </p:cNvPr>
          <p:cNvSpPr txBox="1"/>
          <p:nvPr/>
        </p:nvSpPr>
        <p:spPr>
          <a:xfrm>
            <a:off x="5667420" y="4100298"/>
            <a:ext cx="2105063"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INFRAESTRUCTURA FIRME</a:t>
            </a:r>
            <a:endParaRPr lang="en-GB" sz="1600" b="1" dirty="0">
              <a:solidFill>
                <a:schemeClr val="bg1"/>
              </a:solidFill>
              <a:latin typeface="+mj-lt"/>
              <a:cs typeface="Poppins" pitchFamily="2" charset="77"/>
            </a:endParaRPr>
          </a:p>
        </p:txBody>
      </p:sp>
      <p:sp>
        <p:nvSpPr>
          <p:cNvPr id="53" name="TextBox 15">
            <a:extLst>
              <a:ext uri="{FF2B5EF4-FFF2-40B4-BE49-F238E27FC236}">
                <a16:creationId xmlns:a16="http://schemas.microsoft.com/office/drawing/2014/main" xmlns="" id="{0B0B5F43-4472-42D3-A87B-855FEAF4CDFD}"/>
              </a:ext>
            </a:extLst>
          </p:cNvPr>
          <p:cNvSpPr txBox="1"/>
          <p:nvPr/>
        </p:nvSpPr>
        <p:spPr>
          <a:xfrm>
            <a:off x="5196234" y="4540780"/>
            <a:ext cx="3047437"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GESTIÓN DE RECURSOS HUMANOS</a:t>
            </a:r>
            <a:endParaRPr lang="en-GB" sz="1600" b="1" dirty="0">
              <a:solidFill>
                <a:schemeClr val="bg1"/>
              </a:solidFill>
              <a:latin typeface="+mj-lt"/>
              <a:cs typeface="Poppins" pitchFamily="2" charset="77"/>
            </a:endParaRPr>
          </a:p>
        </p:txBody>
      </p:sp>
      <p:sp>
        <p:nvSpPr>
          <p:cNvPr id="54" name="TextBox 16">
            <a:extLst>
              <a:ext uri="{FF2B5EF4-FFF2-40B4-BE49-F238E27FC236}">
                <a16:creationId xmlns:a16="http://schemas.microsoft.com/office/drawing/2014/main" xmlns="" id="{358B3BD9-1B5D-4144-B1AA-3660E3A8884E}"/>
              </a:ext>
            </a:extLst>
          </p:cNvPr>
          <p:cNvSpPr txBox="1"/>
          <p:nvPr/>
        </p:nvSpPr>
        <p:spPr>
          <a:xfrm>
            <a:off x="5428861" y="4981828"/>
            <a:ext cx="2582182"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DESARROLLO TECNOLÓGICO</a:t>
            </a:r>
            <a:endParaRPr lang="en-GB" sz="1600" b="1" dirty="0">
              <a:solidFill>
                <a:schemeClr val="bg1"/>
              </a:solidFill>
              <a:latin typeface="+mj-lt"/>
              <a:cs typeface="Poppins" pitchFamily="2" charset="77"/>
            </a:endParaRPr>
          </a:p>
        </p:txBody>
      </p:sp>
      <p:sp>
        <p:nvSpPr>
          <p:cNvPr id="55" name="TextBox 17">
            <a:extLst>
              <a:ext uri="{FF2B5EF4-FFF2-40B4-BE49-F238E27FC236}">
                <a16:creationId xmlns:a16="http://schemas.microsoft.com/office/drawing/2014/main" xmlns="" id="{E1519BCE-6A7C-45C7-B8EE-5AE83D30273E}"/>
              </a:ext>
            </a:extLst>
          </p:cNvPr>
          <p:cNvSpPr txBox="1"/>
          <p:nvPr/>
        </p:nvSpPr>
        <p:spPr>
          <a:xfrm>
            <a:off x="5990617" y="5422967"/>
            <a:ext cx="1458669"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CONTRATACIÓN</a:t>
            </a:r>
            <a:endParaRPr lang="en-GB" sz="1600" b="1" dirty="0">
              <a:solidFill>
                <a:schemeClr val="bg1"/>
              </a:solidFill>
              <a:latin typeface="+mj-lt"/>
              <a:cs typeface="Poppins" pitchFamily="2" charset="77"/>
            </a:endParaRPr>
          </a:p>
        </p:txBody>
      </p:sp>
      <p:sp>
        <p:nvSpPr>
          <p:cNvPr id="56" name="TextBox 23">
            <a:extLst>
              <a:ext uri="{FF2B5EF4-FFF2-40B4-BE49-F238E27FC236}">
                <a16:creationId xmlns:a16="http://schemas.microsoft.com/office/drawing/2014/main" xmlns="" id="{683D4601-BA8E-41C3-BCA1-90200A27A667}"/>
              </a:ext>
            </a:extLst>
          </p:cNvPr>
          <p:cNvSpPr txBox="1"/>
          <p:nvPr/>
        </p:nvSpPr>
        <p:spPr>
          <a:xfrm>
            <a:off x="9692123" y="3868634"/>
            <a:ext cx="797975"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VALORES</a:t>
            </a:r>
            <a:endParaRPr lang="en-GB" sz="1600" b="1" dirty="0">
              <a:solidFill>
                <a:schemeClr val="bg1"/>
              </a:solidFill>
              <a:latin typeface="+mj-lt"/>
              <a:cs typeface="Poppins" pitchFamily="2" charset="77"/>
            </a:endParaRPr>
          </a:p>
        </p:txBody>
      </p:sp>
      <p:sp>
        <p:nvSpPr>
          <p:cNvPr id="57" name="TextBox 25">
            <a:extLst>
              <a:ext uri="{FF2B5EF4-FFF2-40B4-BE49-F238E27FC236}">
                <a16:creationId xmlns:a16="http://schemas.microsoft.com/office/drawing/2014/main" xmlns="" id="{ECA2F8E6-ED24-47E7-B7B3-572F3DBE799B}"/>
              </a:ext>
            </a:extLst>
          </p:cNvPr>
          <p:cNvSpPr txBox="1"/>
          <p:nvPr/>
        </p:nvSpPr>
        <p:spPr>
          <a:xfrm>
            <a:off x="5726354" y="5833805"/>
            <a:ext cx="1854226" cy="338554"/>
          </a:xfrm>
          <a:prstGeom prst="rect">
            <a:avLst/>
          </a:prstGeom>
          <a:noFill/>
        </p:spPr>
        <p:txBody>
          <a:bodyPr wrap="none" rtlCol="0" anchor="ctr">
            <a:spAutoFit/>
          </a:bodyPr>
          <a:lstStyle/>
          <a:p>
            <a:pPr algn="ctr"/>
            <a:r>
              <a:rPr lang="en-GB" sz="1600" b="1">
                <a:solidFill>
                  <a:schemeClr val="tx2"/>
                </a:solidFill>
                <a:latin typeface="+mj-lt"/>
                <a:cs typeface="Poppins" pitchFamily="2" charset="77"/>
              </a:rPr>
              <a:t>ACTIVIDADES DE APOYO</a:t>
            </a:r>
            <a:endParaRPr lang="en-GB" sz="1600" b="1" dirty="0">
              <a:solidFill>
                <a:schemeClr val="tx2"/>
              </a:solidFill>
              <a:latin typeface="+mj-lt"/>
              <a:cs typeface="Poppins" pitchFamily="2" charset="77"/>
            </a:endParaRPr>
          </a:p>
        </p:txBody>
      </p:sp>
      <p:sp>
        <p:nvSpPr>
          <p:cNvPr id="58" name="TextBox 26">
            <a:extLst>
              <a:ext uri="{FF2B5EF4-FFF2-40B4-BE49-F238E27FC236}">
                <a16:creationId xmlns:a16="http://schemas.microsoft.com/office/drawing/2014/main" xmlns="" id="{891D1289-37E0-46DE-B247-F395980F8133}"/>
              </a:ext>
            </a:extLst>
          </p:cNvPr>
          <p:cNvSpPr txBox="1"/>
          <p:nvPr/>
        </p:nvSpPr>
        <p:spPr>
          <a:xfrm rot="16200000">
            <a:off x="2839162" y="2998687"/>
            <a:ext cx="1837683" cy="338554"/>
          </a:xfrm>
          <a:prstGeom prst="rect">
            <a:avLst/>
          </a:prstGeom>
          <a:noFill/>
        </p:spPr>
        <p:txBody>
          <a:bodyPr wrap="none" rtlCol="0" anchor="ctr">
            <a:spAutoFit/>
          </a:bodyPr>
          <a:lstStyle/>
          <a:p>
            <a:pPr algn="ctr"/>
            <a:r>
              <a:rPr lang="en-GB" sz="1600" b="1">
                <a:solidFill>
                  <a:schemeClr val="tx2"/>
                </a:solidFill>
                <a:latin typeface="+mj-lt"/>
                <a:cs typeface="Poppins" pitchFamily="2" charset="77"/>
              </a:rPr>
              <a:t>ACTIVIDADES PRINCIPALES</a:t>
            </a:r>
            <a:endParaRPr lang="en-GB" sz="1600" b="1" dirty="0">
              <a:solidFill>
                <a:schemeClr val="tx2"/>
              </a:solidFill>
              <a:latin typeface="+mj-lt"/>
              <a:cs typeface="Poppins" pitchFamily="2" charset="77"/>
            </a:endParaRPr>
          </a:p>
        </p:txBody>
      </p:sp>
      <p:sp>
        <p:nvSpPr>
          <p:cNvPr id="59" name="TextBox 18">
            <a:extLst>
              <a:ext uri="{FF2B5EF4-FFF2-40B4-BE49-F238E27FC236}">
                <a16:creationId xmlns:a16="http://schemas.microsoft.com/office/drawing/2014/main" xmlns="" id="{0482A1AE-4A44-4379-8A75-A32EF6697430}"/>
              </a:ext>
            </a:extLst>
          </p:cNvPr>
          <p:cNvSpPr txBox="1"/>
          <p:nvPr/>
        </p:nvSpPr>
        <p:spPr>
          <a:xfrm>
            <a:off x="3957805" y="3311645"/>
            <a:ext cx="1008995"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60" name="TextBox 19">
            <a:extLst>
              <a:ext uri="{FF2B5EF4-FFF2-40B4-BE49-F238E27FC236}">
                <a16:creationId xmlns:a16="http://schemas.microsoft.com/office/drawing/2014/main" xmlns="" id="{0B2B1D00-322C-4A2A-9BB5-F7102CB793EC}"/>
              </a:ext>
            </a:extLst>
          </p:cNvPr>
          <p:cNvSpPr txBox="1"/>
          <p:nvPr/>
        </p:nvSpPr>
        <p:spPr>
          <a:xfrm>
            <a:off x="4991738" y="3395338"/>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61" name="TextBox 20">
            <a:extLst>
              <a:ext uri="{FF2B5EF4-FFF2-40B4-BE49-F238E27FC236}">
                <a16:creationId xmlns:a16="http://schemas.microsoft.com/office/drawing/2014/main" xmlns="" id="{224C32E0-F119-4A8E-B1DF-9FAE34F34BEA}"/>
              </a:ext>
            </a:extLst>
          </p:cNvPr>
          <p:cNvSpPr txBox="1"/>
          <p:nvPr/>
        </p:nvSpPr>
        <p:spPr>
          <a:xfrm>
            <a:off x="6119044" y="3333588"/>
            <a:ext cx="1159293"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ALIDA</a:t>
            </a:r>
          </a:p>
          <a:p>
            <a:pPr algn="ctr"/>
            <a:r>
              <a:rPr lang="en-GB" sz="1600" b="1" dirty="0">
                <a:solidFill>
                  <a:schemeClr val="bg1"/>
                </a:solidFill>
                <a:latin typeface="+mj-lt"/>
                <a:cs typeface="Poppins" pitchFamily="2" charset="77"/>
              </a:rPr>
              <a:t>LOGÍSTICA</a:t>
            </a:r>
          </a:p>
        </p:txBody>
      </p:sp>
      <p:sp>
        <p:nvSpPr>
          <p:cNvPr id="62" name="TextBox 21">
            <a:extLst>
              <a:ext uri="{FF2B5EF4-FFF2-40B4-BE49-F238E27FC236}">
                <a16:creationId xmlns:a16="http://schemas.microsoft.com/office/drawing/2014/main" xmlns="" id="{14E08276-DA83-4B01-8785-1EEB7B7A119E}"/>
              </a:ext>
            </a:extLst>
          </p:cNvPr>
          <p:cNvSpPr txBox="1"/>
          <p:nvPr/>
        </p:nvSpPr>
        <p:spPr>
          <a:xfrm>
            <a:off x="7218567" y="3301033"/>
            <a:ext cx="1176925"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63" name="TextBox 22">
            <a:extLst>
              <a:ext uri="{FF2B5EF4-FFF2-40B4-BE49-F238E27FC236}">
                <a16:creationId xmlns:a16="http://schemas.microsoft.com/office/drawing/2014/main" xmlns="" id="{5CA3366C-4790-4630-9AD3-89202D826674}"/>
              </a:ext>
            </a:extLst>
          </p:cNvPr>
          <p:cNvSpPr txBox="1"/>
          <p:nvPr/>
        </p:nvSpPr>
        <p:spPr>
          <a:xfrm>
            <a:off x="8508035" y="3287422"/>
            <a:ext cx="845296" cy="338554"/>
          </a:xfrm>
          <a:prstGeom prst="rect">
            <a:avLst/>
          </a:prstGeom>
          <a:noFill/>
        </p:spPr>
        <p:txBody>
          <a:bodyPr wrap="none" rtlCol="0" anchor="t">
            <a:spAutoFit/>
          </a:bodyPr>
          <a:lstStyle/>
          <a:p>
            <a:pPr algn="ctr"/>
            <a:r>
              <a:rPr lang="en-GB" sz="1600" b="1">
                <a:solidFill>
                  <a:schemeClr val="bg1"/>
                </a:solidFill>
                <a:latin typeface="+mj-lt"/>
                <a:cs typeface="Poppins" pitchFamily="2" charset="77"/>
              </a:rPr>
              <a:t>SERVICIO</a:t>
            </a:r>
            <a:endParaRPr lang="en-GB" sz="1600" b="1" dirty="0">
              <a:solidFill>
                <a:schemeClr val="bg1"/>
              </a:solidFill>
              <a:latin typeface="+mj-lt"/>
              <a:cs typeface="Poppins" pitchFamily="2" charset="77"/>
            </a:endParaRPr>
          </a:p>
        </p:txBody>
      </p:sp>
      <p:sp>
        <p:nvSpPr>
          <p:cNvPr id="64" name="Freeform 223">
            <a:extLst>
              <a:ext uri="{FF2B5EF4-FFF2-40B4-BE49-F238E27FC236}">
                <a16:creationId xmlns:a16="http://schemas.microsoft.com/office/drawing/2014/main" xmlns="" id="{4D77EC7A-C407-492C-A833-50CF4301C950}"/>
              </a:ext>
            </a:extLst>
          </p:cNvPr>
          <p:cNvSpPr>
            <a:spLocks noChangeArrowheads="1"/>
          </p:cNvSpPr>
          <p:nvPr/>
        </p:nvSpPr>
        <p:spPr bwMode="auto">
          <a:xfrm>
            <a:off x="5374188" y="2860806"/>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65" name="Freeform 233">
            <a:extLst>
              <a:ext uri="{FF2B5EF4-FFF2-40B4-BE49-F238E27FC236}">
                <a16:creationId xmlns:a16="http://schemas.microsoft.com/office/drawing/2014/main" xmlns="" id="{A845C0A5-EC93-4884-AB9E-9E12C9F12BB4}"/>
              </a:ext>
            </a:extLst>
          </p:cNvPr>
          <p:cNvSpPr>
            <a:spLocks noChangeArrowheads="1"/>
          </p:cNvSpPr>
          <p:nvPr/>
        </p:nvSpPr>
        <p:spPr bwMode="auto">
          <a:xfrm>
            <a:off x="4270597" y="2786857"/>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66" name="Freeform 236">
            <a:extLst>
              <a:ext uri="{FF2B5EF4-FFF2-40B4-BE49-F238E27FC236}">
                <a16:creationId xmlns:a16="http://schemas.microsoft.com/office/drawing/2014/main" xmlns="" id="{CCBC3F26-4677-4200-8DA9-6B2D3E935F41}"/>
              </a:ext>
            </a:extLst>
          </p:cNvPr>
          <p:cNvSpPr>
            <a:spLocks noChangeArrowheads="1"/>
          </p:cNvSpPr>
          <p:nvPr/>
        </p:nvSpPr>
        <p:spPr bwMode="auto">
          <a:xfrm>
            <a:off x="6413512" y="2860805"/>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67" name="Freeform 242">
            <a:extLst>
              <a:ext uri="{FF2B5EF4-FFF2-40B4-BE49-F238E27FC236}">
                <a16:creationId xmlns:a16="http://schemas.microsoft.com/office/drawing/2014/main" xmlns="" id="{C15DF3D8-689B-4F42-BE3A-9EA6C5BCDBA2}"/>
              </a:ext>
            </a:extLst>
          </p:cNvPr>
          <p:cNvSpPr>
            <a:spLocks noChangeArrowheads="1"/>
          </p:cNvSpPr>
          <p:nvPr/>
        </p:nvSpPr>
        <p:spPr bwMode="auto">
          <a:xfrm>
            <a:off x="7576463" y="2699872"/>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68" name="Freeform 245">
            <a:extLst>
              <a:ext uri="{FF2B5EF4-FFF2-40B4-BE49-F238E27FC236}">
                <a16:creationId xmlns:a16="http://schemas.microsoft.com/office/drawing/2014/main" xmlns="" id="{8EE60291-B51D-48BF-B8F6-169C5C6FF008}"/>
              </a:ext>
            </a:extLst>
          </p:cNvPr>
          <p:cNvSpPr>
            <a:spLocks noChangeArrowheads="1"/>
          </p:cNvSpPr>
          <p:nvPr/>
        </p:nvSpPr>
        <p:spPr bwMode="auto">
          <a:xfrm>
            <a:off x="8673106" y="2695546"/>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69" name="Left Arrow 33">
            <a:extLst>
              <a:ext uri="{FF2B5EF4-FFF2-40B4-BE49-F238E27FC236}">
                <a16:creationId xmlns:a16="http://schemas.microsoft.com/office/drawing/2014/main" xmlns="" id="{CA25C062-4462-4566-A3F9-B5DF68C0371F}"/>
              </a:ext>
            </a:extLst>
          </p:cNvPr>
          <p:cNvSpPr/>
          <p:nvPr/>
        </p:nvSpPr>
        <p:spPr>
          <a:xfrm>
            <a:off x="3962318" y="5922451"/>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0" name="Right Arrow 34">
            <a:extLst>
              <a:ext uri="{FF2B5EF4-FFF2-40B4-BE49-F238E27FC236}">
                <a16:creationId xmlns:a16="http://schemas.microsoft.com/office/drawing/2014/main" xmlns="" id="{3A3B4C79-AABD-4948-B4D5-E81A5ADA2D04}"/>
              </a:ext>
            </a:extLst>
          </p:cNvPr>
          <p:cNvSpPr/>
          <p:nvPr/>
        </p:nvSpPr>
        <p:spPr>
          <a:xfrm>
            <a:off x="7657778" y="5922451"/>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Tree>
    <p:extLst>
      <p:ext uri="{BB962C8B-B14F-4D97-AF65-F5344CB8AC3E}">
        <p14:creationId xmlns:p14="http://schemas.microsoft.com/office/powerpoint/2010/main" val="37026848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4923" y="546170"/>
            <a:ext cx="8852375" cy="697353"/>
          </a:xfrm>
        </p:spPr>
        <p:txBody>
          <a:bodyPr>
            <a:normAutofit/>
          </a:bodyPr>
          <a:lstStyle/>
          <a:p>
            <a:r>
              <a:rPr lang="en-GB" dirty="0"/>
              <a:t>Concepto de reestructuración: Análisis de la industri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2643" y="2129346"/>
            <a:ext cx="3625236"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n análisis del sector es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una función empresarial realizada por los propietarios de empresas y otras personas para evaluar el entorno empresarial actual. Este análisis ayuda a las empresas a comprender las distintas piezas económicas del mercado y cómo estas piezas pueden utilizarse para obtener una ventaja competitiva.</a:t>
            </a:r>
            <a:endParaRPr lang="en-US" dirty="0">
              <a:solidFill>
                <a:srgbClr val="245473"/>
              </a:solidFill>
            </a:endParaRPr>
          </a:p>
        </p:txBody>
      </p:sp>
      <p:grpSp>
        <p:nvGrpSpPr>
          <p:cNvPr id="3" name="Gruppieren 2">
            <a:extLst>
              <a:ext uri="{FF2B5EF4-FFF2-40B4-BE49-F238E27FC236}">
                <a16:creationId xmlns:a16="http://schemas.microsoft.com/office/drawing/2014/main" xmlns="" id="{9D1F3F19-52DA-468A-9944-1184B4CBAAB2}"/>
              </a:ext>
            </a:extLst>
          </p:cNvPr>
          <p:cNvGrpSpPr>
            <a:grpSpLocks noChangeAspect="1"/>
          </p:cNvGrpSpPr>
          <p:nvPr/>
        </p:nvGrpSpPr>
        <p:grpSpPr>
          <a:xfrm>
            <a:off x="4016325" y="2075965"/>
            <a:ext cx="6640089" cy="4193552"/>
            <a:chOff x="2185643" y="1469137"/>
            <a:chExt cx="8000107" cy="5052472"/>
          </a:xfrm>
        </p:grpSpPr>
        <p:pic>
          <p:nvPicPr>
            <p:cNvPr id="33" name="Grafik 32">
              <a:extLst>
                <a:ext uri="{FF2B5EF4-FFF2-40B4-BE49-F238E27FC236}">
                  <a16:creationId xmlns:a16="http://schemas.microsoft.com/office/drawing/2014/main" xmlns="" id="{E66801E6-618E-404B-B122-DB3B83B8B5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5643" y="1469137"/>
              <a:ext cx="7471051" cy="4866889"/>
            </a:xfrm>
            <a:prstGeom prst="rect">
              <a:avLst/>
            </a:prstGeom>
          </p:spPr>
        </p:pic>
        <p:sp>
          <p:nvSpPr>
            <p:cNvPr id="34" name="Ellipse 33">
              <a:extLst>
                <a:ext uri="{FF2B5EF4-FFF2-40B4-BE49-F238E27FC236}">
                  <a16:creationId xmlns:a16="http://schemas.microsoft.com/office/drawing/2014/main" xmlns="" id="{533EAD79-4029-44EE-922A-6DABD593C31C}"/>
                </a:ext>
              </a:extLst>
            </p:cNvPr>
            <p:cNvSpPr/>
            <p:nvPr/>
          </p:nvSpPr>
          <p:spPr>
            <a:xfrm>
              <a:off x="4134285" y="1844519"/>
              <a:ext cx="3924041" cy="3924041"/>
            </a:xfrm>
            <a:prstGeom prst="ellipse">
              <a:avLst/>
            </a:prstGeom>
            <a:solidFill>
              <a:srgbClr val="E53292">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kern="0" dirty="0">
                  <a:solidFill>
                    <a:schemeClr val="tx1"/>
                  </a:solidFill>
                  <a:highlight>
                    <a:srgbClr val="FFFF00"/>
                  </a:highlight>
                  <a:latin typeface="+mj-lt"/>
                  <a:cs typeface="Segoe UI Semibold" panose="020B0702040204020203" pitchFamily="34" charset="0"/>
                </a:rPr>
                <a:t>Industria</a:t>
              </a:r>
              <a:br>
                <a:rPr lang="en-GB" sz="2000" b="1" kern="0" dirty="0">
                  <a:solidFill>
                    <a:schemeClr val="tx1"/>
                  </a:solidFill>
                  <a:highlight>
                    <a:srgbClr val="FFFF00"/>
                  </a:highlight>
                  <a:latin typeface="+mj-lt"/>
                  <a:cs typeface="Segoe UI Semibold" panose="020B0702040204020203" pitchFamily="34" charset="0"/>
                </a:rPr>
              </a:br>
              <a:r>
                <a:rPr lang="en-GB" sz="2000" b="1" kern="0" dirty="0">
                  <a:solidFill>
                    <a:schemeClr val="tx1"/>
                  </a:solidFill>
                  <a:highlight>
                    <a:srgbClr val="FFFF00"/>
                  </a:highlight>
                  <a:latin typeface="+mj-lt"/>
                  <a:cs typeface="Segoe UI Semibold" panose="020B0702040204020203" pitchFamily="34" charset="0"/>
                </a:rPr>
                <a:t>Medio ambiente</a:t>
              </a:r>
            </a:p>
          </p:txBody>
        </p:sp>
        <p:grpSp>
          <p:nvGrpSpPr>
            <p:cNvPr id="35" name="Gruppieren 34">
              <a:extLst>
                <a:ext uri="{FF2B5EF4-FFF2-40B4-BE49-F238E27FC236}">
                  <a16:creationId xmlns:a16="http://schemas.microsoft.com/office/drawing/2014/main" xmlns="" id="{6B0E5208-74D5-4F3A-8D3A-009BAFBB75E8}"/>
                </a:ext>
              </a:extLst>
            </p:cNvPr>
            <p:cNvGrpSpPr/>
            <p:nvPr/>
          </p:nvGrpSpPr>
          <p:grpSpPr>
            <a:xfrm>
              <a:off x="3604812" y="1568213"/>
              <a:ext cx="4982986" cy="4564244"/>
              <a:chOff x="2080812" y="1311038"/>
              <a:chExt cx="4982986" cy="4564244"/>
            </a:xfrm>
            <a:solidFill>
              <a:schemeClr val="tx2"/>
            </a:solidFill>
          </p:grpSpPr>
          <p:sp>
            <p:nvSpPr>
              <p:cNvPr id="36" name="Freeform 5">
                <a:extLst>
                  <a:ext uri="{FF2B5EF4-FFF2-40B4-BE49-F238E27FC236}">
                    <a16:creationId xmlns:a16="http://schemas.microsoft.com/office/drawing/2014/main" xmlns="" id="{807A4719-AF85-4899-B82C-06D7B9966148}"/>
                  </a:ext>
                </a:extLst>
              </p:cNvPr>
              <p:cNvSpPr>
                <a:spLocks/>
              </p:cNvSpPr>
              <p:nvPr/>
            </p:nvSpPr>
            <p:spPr bwMode="auto">
              <a:xfrm>
                <a:off x="2675219" y="1557338"/>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E53292"/>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5">
                <a:extLst>
                  <a:ext uri="{FF2B5EF4-FFF2-40B4-BE49-F238E27FC236}">
                    <a16:creationId xmlns:a16="http://schemas.microsoft.com/office/drawing/2014/main" xmlns="" id="{BC7396F8-ADBF-4703-AA52-A8187B64A6DC}"/>
                  </a:ext>
                </a:extLst>
              </p:cNvPr>
              <p:cNvSpPr>
                <a:spLocks/>
              </p:cNvSpPr>
              <p:nvPr/>
            </p:nvSpPr>
            <p:spPr bwMode="auto">
              <a:xfrm rot="4320000">
                <a:off x="4598763" y="1557285"/>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chemeClr val="accent2"/>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5">
                <a:extLst>
                  <a:ext uri="{FF2B5EF4-FFF2-40B4-BE49-F238E27FC236}">
                    <a16:creationId xmlns:a16="http://schemas.microsoft.com/office/drawing/2014/main" xmlns="" id="{F37ACACE-1898-4F7D-B313-1F182C16D25F}"/>
                  </a:ext>
                </a:extLst>
              </p:cNvPr>
              <p:cNvSpPr>
                <a:spLocks/>
              </p:cNvSpPr>
              <p:nvPr/>
            </p:nvSpPr>
            <p:spPr bwMode="auto">
              <a:xfrm rot="8640000">
                <a:off x="5196513" y="3368450"/>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chemeClr val="accent5"/>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5">
                <a:extLst>
                  <a:ext uri="{FF2B5EF4-FFF2-40B4-BE49-F238E27FC236}">
                    <a16:creationId xmlns:a16="http://schemas.microsoft.com/office/drawing/2014/main" xmlns="" id="{E5AE4E1B-EC16-4688-8067-1ACDA55D947D}"/>
                  </a:ext>
                </a:extLst>
              </p:cNvPr>
              <p:cNvSpPr>
                <a:spLocks/>
              </p:cNvSpPr>
              <p:nvPr/>
            </p:nvSpPr>
            <p:spPr bwMode="auto">
              <a:xfrm rot="12960000" flipH="1">
                <a:off x="2080812" y="3368451"/>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002060"/>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5">
                <a:extLst>
                  <a:ext uri="{FF2B5EF4-FFF2-40B4-BE49-F238E27FC236}">
                    <a16:creationId xmlns:a16="http://schemas.microsoft.com/office/drawing/2014/main" xmlns="" id="{93C601D5-2991-449C-B7E6-74059CD9EAA7}"/>
                  </a:ext>
                </a:extLst>
              </p:cNvPr>
              <p:cNvSpPr>
                <a:spLocks/>
              </p:cNvSpPr>
              <p:nvPr/>
            </p:nvSpPr>
            <p:spPr bwMode="auto">
              <a:xfrm rot="8640000" flipH="1">
                <a:off x="3631864" y="4500491"/>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endParaRPr lang="en-GB" dirty="0"/>
              </a:p>
            </p:txBody>
          </p:sp>
        </p:grpSp>
        <p:sp>
          <p:nvSpPr>
            <p:cNvPr id="41" name="Ellipse 40">
              <a:extLst>
                <a:ext uri="{FF2B5EF4-FFF2-40B4-BE49-F238E27FC236}">
                  <a16:creationId xmlns:a16="http://schemas.microsoft.com/office/drawing/2014/main" xmlns="" id="{AE97D648-F035-4FB2-99ED-6CFE89A9E720}"/>
                </a:ext>
              </a:extLst>
            </p:cNvPr>
            <p:cNvSpPr>
              <a:spLocks noChangeAspect="1"/>
            </p:cNvSpPr>
            <p:nvPr/>
          </p:nvSpPr>
          <p:spPr>
            <a:xfrm>
              <a:off x="5451559" y="4264480"/>
              <a:ext cx="1277170" cy="1246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1" name="Ellipse 70">
              <a:extLst>
                <a:ext uri="{FF2B5EF4-FFF2-40B4-BE49-F238E27FC236}">
                  <a16:creationId xmlns:a16="http://schemas.microsoft.com/office/drawing/2014/main" xmlns="" id="{72D27D13-26BE-47F9-9121-052A818473CC}"/>
                </a:ext>
              </a:extLst>
            </p:cNvPr>
            <p:cNvSpPr>
              <a:spLocks noChangeAspect="1"/>
            </p:cNvSpPr>
            <p:nvPr/>
          </p:nvSpPr>
          <p:spPr>
            <a:xfrm>
              <a:off x="6904183" y="3310335"/>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2" name="Ellipse 71">
              <a:extLst>
                <a:ext uri="{FF2B5EF4-FFF2-40B4-BE49-F238E27FC236}">
                  <a16:creationId xmlns:a16="http://schemas.microsoft.com/office/drawing/2014/main" xmlns="" id="{B0B17926-7179-480F-A939-39BB9FC09AF1}"/>
                </a:ext>
              </a:extLst>
            </p:cNvPr>
            <p:cNvSpPr>
              <a:spLocks noChangeAspect="1"/>
            </p:cNvSpPr>
            <p:nvPr/>
          </p:nvSpPr>
          <p:spPr>
            <a:xfrm>
              <a:off x="4203100" y="3310334"/>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3" name="Ellipse 72">
              <a:extLst>
                <a:ext uri="{FF2B5EF4-FFF2-40B4-BE49-F238E27FC236}">
                  <a16:creationId xmlns:a16="http://schemas.microsoft.com/office/drawing/2014/main" xmlns="" id="{58365737-92C3-4A54-A4F8-3DFC2755F71D}"/>
                </a:ext>
              </a:extLst>
            </p:cNvPr>
            <p:cNvSpPr>
              <a:spLocks noChangeAspect="1"/>
            </p:cNvSpPr>
            <p:nvPr/>
          </p:nvSpPr>
          <p:spPr>
            <a:xfrm>
              <a:off x="5556305" y="203651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4" name="Textplatzhalter 3">
              <a:extLst>
                <a:ext uri="{FF2B5EF4-FFF2-40B4-BE49-F238E27FC236}">
                  <a16:creationId xmlns:a16="http://schemas.microsoft.com/office/drawing/2014/main" xmlns="" id="{B464F53D-2E31-4D47-B3D7-2BA57E2D20A6}"/>
                </a:ext>
              </a:extLst>
            </p:cNvPr>
            <p:cNvSpPr txBox="1">
              <a:spLocks/>
            </p:cNvSpPr>
            <p:nvPr/>
          </p:nvSpPr>
          <p:spPr>
            <a:xfrm>
              <a:off x="7495310" y="5771912"/>
              <a:ext cx="2690440" cy="357454"/>
            </a:xfrm>
            <a:prstGeom prst="rect">
              <a:avLst/>
            </a:prstGeom>
          </p:spPr>
          <p:txBody>
            <a:bodyPr lIns="0" tIns="0" rIns="0" bIns="0" anchor="b"/>
            <a:lstStyle>
              <a:defPPr>
                <a:defRPr lang="de-DE"/>
              </a:defPPr>
              <a:lvl1pPr indent="0" algn="ctr" fontAlgn="auto">
                <a:lnSpc>
                  <a:spcPts val="2000"/>
                </a:lnSpc>
                <a:spcBef>
                  <a:spcPts val="600"/>
                </a:spcBef>
                <a:spcAft>
                  <a:spcPts val="900"/>
                </a:spcAft>
                <a:buFontTx/>
                <a:buNone/>
                <a:defRPr sz="2000" b="0" kern="0" baseline="0">
                  <a:solidFill>
                    <a:schemeClr val="tx2"/>
                  </a:solidFill>
                  <a:latin typeface="+mj-lt"/>
                  <a:cs typeface="Segoe UI Semibold" panose="020B0702040204020203" pitchFamily="34" charset="0"/>
                </a:defRPr>
              </a:lvl1pPr>
              <a:lvl2pPr marL="216000" indent="-216000">
                <a:lnSpc>
                  <a:spcPts val="2000"/>
                </a:lnSpc>
                <a:spcBef>
                  <a:spcPts val="0"/>
                </a:spcBef>
                <a:spcAft>
                  <a:spcPts val="900"/>
                </a:spcAft>
                <a:buFontTx/>
                <a:buChar char="–"/>
                <a:defRPr sz="1600" b="0"/>
              </a:lvl2pPr>
              <a:lvl3pPr marL="450000" indent="-234000">
                <a:lnSpc>
                  <a:spcPts val="2000"/>
                </a:lnSpc>
                <a:spcBef>
                  <a:spcPts val="0"/>
                </a:spcBef>
                <a:spcAft>
                  <a:spcPts val="900"/>
                </a:spcAft>
                <a:buFontTx/>
                <a:buChar char="–"/>
                <a:defRPr sz="1600" b="0"/>
              </a:lvl3pPr>
              <a:lvl4pPr marL="637200" indent="-180000">
                <a:lnSpc>
                  <a:spcPts val="1600"/>
                </a:lnSpc>
                <a:spcBef>
                  <a:spcPts val="0"/>
                </a:spcBef>
                <a:spcAft>
                  <a:spcPts val="900"/>
                </a:spcAft>
                <a:buFontTx/>
                <a:buChar char="–"/>
                <a:defRPr sz="1200" b="0"/>
              </a:lvl4pPr>
              <a:lvl5pPr marL="810000" indent="-172800">
                <a:lnSpc>
                  <a:spcPts val="1600"/>
                </a:lnSpc>
                <a:spcBef>
                  <a:spcPts val="0"/>
                </a:spcBef>
                <a:spcAft>
                  <a:spcPts val="900"/>
                </a:spcAft>
                <a:buFontTx/>
                <a:buChar char="–"/>
                <a:defRPr sz="1200" b="0"/>
              </a:lvl5pPr>
              <a:lvl6pPr marL="1081088" indent="0">
                <a:buFont typeface="Wingdings" pitchFamily="2" charset="2"/>
                <a:buNone/>
                <a:tabLst/>
                <a:defRPr sz="1600"/>
              </a:lvl6pPr>
            </a:lstStyle>
            <a:p>
              <a:r>
                <a:rPr lang="en-GB" b="1" dirty="0">
                  <a:solidFill>
                    <a:schemeClr val="tx1"/>
                  </a:solidFill>
                  <a:highlight>
                    <a:srgbClr val="FFFF00"/>
                  </a:highlight>
                </a:rPr>
                <a:t>Macroentorno</a:t>
              </a:r>
            </a:p>
          </p:txBody>
        </p:sp>
        <p:sp>
          <p:nvSpPr>
            <p:cNvPr id="75" name="Oval 7">
              <a:extLst>
                <a:ext uri="{FF2B5EF4-FFF2-40B4-BE49-F238E27FC236}">
                  <a16:creationId xmlns:a16="http://schemas.microsoft.com/office/drawing/2014/main" xmlns="" id="{3DE78889-CCA9-48E2-837A-4BD22A427863}"/>
                </a:ext>
              </a:extLst>
            </p:cNvPr>
            <p:cNvSpPr>
              <a:spLocks noChangeArrowheads="1"/>
            </p:cNvSpPr>
            <p:nvPr>
              <p:custDataLst>
                <p:tags r:id="rId1"/>
              </p:custDataLst>
            </p:nvPr>
          </p:nvSpPr>
          <p:spPr bwMode="auto">
            <a:xfrm>
              <a:off x="5520305" y="2618307"/>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Cliente</a:t>
              </a:r>
            </a:p>
          </p:txBody>
        </p:sp>
        <p:sp>
          <p:nvSpPr>
            <p:cNvPr id="76" name="Oval 7">
              <a:extLst>
                <a:ext uri="{FF2B5EF4-FFF2-40B4-BE49-F238E27FC236}">
                  <a16:creationId xmlns:a16="http://schemas.microsoft.com/office/drawing/2014/main" xmlns="" id="{6912E464-D505-41F6-8324-1E5626713A3A}"/>
                </a:ext>
              </a:extLst>
            </p:cNvPr>
            <p:cNvSpPr>
              <a:spLocks noChangeArrowheads="1"/>
            </p:cNvSpPr>
            <p:nvPr>
              <p:custDataLst>
                <p:tags r:id="rId2"/>
              </p:custDataLst>
            </p:nvPr>
          </p:nvSpPr>
          <p:spPr bwMode="auto">
            <a:xfrm>
              <a:off x="4167100" y="3493802"/>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Competidores</a:t>
              </a:r>
            </a:p>
          </p:txBody>
        </p:sp>
        <p:sp>
          <p:nvSpPr>
            <p:cNvPr id="77" name="Oval 7">
              <a:extLst>
                <a:ext uri="{FF2B5EF4-FFF2-40B4-BE49-F238E27FC236}">
                  <a16:creationId xmlns:a16="http://schemas.microsoft.com/office/drawing/2014/main" xmlns="" id="{AD4E4DB6-5ED1-4EDD-B81C-5C8DD9AFDA60}"/>
                </a:ext>
              </a:extLst>
            </p:cNvPr>
            <p:cNvSpPr>
              <a:spLocks noChangeArrowheads="1"/>
            </p:cNvSpPr>
            <p:nvPr>
              <p:custDataLst>
                <p:tags r:id="rId3"/>
              </p:custDataLst>
            </p:nvPr>
          </p:nvSpPr>
          <p:spPr bwMode="auto">
            <a:xfrm>
              <a:off x="5520305" y="4530616"/>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Sustitutos</a:t>
              </a:r>
            </a:p>
          </p:txBody>
        </p:sp>
        <p:sp>
          <p:nvSpPr>
            <p:cNvPr id="78" name="Oval 7">
              <a:extLst>
                <a:ext uri="{FF2B5EF4-FFF2-40B4-BE49-F238E27FC236}">
                  <a16:creationId xmlns:a16="http://schemas.microsoft.com/office/drawing/2014/main" xmlns="" id="{0ACFBFE9-916E-4EBE-9FC9-6C37447075D2}"/>
                </a:ext>
              </a:extLst>
            </p:cNvPr>
            <p:cNvSpPr>
              <a:spLocks noChangeArrowheads="1"/>
            </p:cNvSpPr>
            <p:nvPr>
              <p:custDataLst>
                <p:tags r:id="rId4"/>
              </p:custDataLst>
            </p:nvPr>
          </p:nvSpPr>
          <p:spPr bwMode="auto">
            <a:xfrm>
              <a:off x="6868183" y="3493802"/>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Proveedor</a:t>
              </a:r>
            </a:p>
          </p:txBody>
        </p:sp>
        <p:sp>
          <p:nvSpPr>
            <p:cNvPr id="79" name="Freeform 5">
              <a:extLst>
                <a:ext uri="{FF2B5EF4-FFF2-40B4-BE49-F238E27FC236}">
                  <a16:creationId xmlns:a16="http://schemas.microsoft.com/office/drawing/2014/main" xmlns="" id="{382B2653-190A-4664-8003-64092FEBB302}"/>
                </a:ext>
              </a:extLst>
            </p:cNvPr>
            <p:cNvSpPr>
              <a:spLocks noChangeAspect="1" noEditPoints="1"/>
            </p:cNvSpPr>
            <p:nvPr/>
          </p:nvSpPr>
          <p:spPr bwMode="auto">
            <a:xfrm>
              <a:off x="7223708" y="3932230"/>
              <a:ext cx="511812" cy="232893"/>
            </a:xfrm>
            <a:custGeom>
              <a:avLst/>
              <a:gdLst>
                <a:gd name="T0" fmla="*/ 1192 w 1489"/>
                <a:gd name="T1" fmla="*/ 588 h 676"/>
                <a:gd name="T2" fmla="*/ 1279 w 1489"/>
                <a:gd name="T3" fmla="*/ 676 h 676"/>
                <a:gd name="T4" fmla="*/ 1367 w 1489"/>
                <a:gd name="T5" fmla="*/ 588 h 676"/>
                <a:gd name="T6" fmla="*/ 1279 w 1489"/>
                <a:gd name="T7" fmla="*/ 501 h 676"/>
                <a:gd name="T8" fmla="*/ 1192 w 1489"/>
                <a:gd name="T9" fmla="*/ 588 h 676"/>
                <a:gd name="T10" fmla="*/ 957 w 1489"/>
                <a:gd name="T11" fmla="*/ 588 h 676"/>
                <a:gd name="T12" fmla="*/ 1045 w 1489"/>
                <a:gd name="T13" fmla="*/ 676 h 676"/>
                <a:gd name="T14" fmla="*/ 1133 w 1489"/>
                <a:gd name="T15" fmla="*/ 588 h 676"/>
                <a:gd name="T16" fmla="*/ 1045 w 1489"/>
                <a:gd name="T17" fmla="*/ 501 h 676"/>
                <a:gd name="T18" fmla="*/ 957 w 1489"/>
                <a:gd name="T19" fmla="*/ 588 h 676"/>
                <a:gd name="T20" fmla="*/ 341 w 1489"/>
                <a:gd name="T21" fmla="*/ 588 h 676"/>
                <a:gd name="T22" fmla="*/ 429 w 1489"/>
                <a:gd name="T23" fmla="*/ 676 h 676"/>
                <a:gd name="T24" fmla="*/ 517 w 1489"/>
                <a:gd name="T25" fmla="*/ 588 h 676"/>
                <a:gd name="T26" fmla="*/ 429 w 1489"/>
                <a:gd name="T27" fmla="*/ 501 h 676"/>
                <a:gd name="T28" fmla="*/ 341 w 1489"/>
                <a:gd name="T29" fmla="*/ 588 h 676"/>
                <a:gd name="T30" fmla="*/ 107 w 1489"/>
                <a:gd name="T31" fmla="*/ 588 h 676"/>
                <a:gd name="T32" fmla="*/ 195 w 1489"/>
                <a:gd name="T33" fmla="*/ 676 h 676"/>
                <a:gd name="T34" fmla="*/ 282 w 1489"/>
                <a:gd name="T35" fmla="*/ 588 h 676"/>
                <a:gd name="T36" fmla="*/ 195 w 1489"/>
                <a:gd name="T37" fmla="*/ 501 h 676"/>
                <a:gd name="T38" fmla="*/ 107 w 1489"/>
                <a:gd name="T39" fmla="*/ 588 h 676"/>
                <a:gd name="T40" fmla="*/ 0 w 1489"/>
                <a:gd name="T41" fmla="*/ 432 h 676"/>
                <a:gd name="T42" fmla="*/ 1130 w 1489"/>
                <a:gd name="T43" fmla="*/ 432 h 676"/>
                <a:gd name="T44" fmla="*/ 1130 w 1489"/>
                <a:gd name="T45" fmla="*/ 0 h 676"/>
                <a:gd name="T46" fmla="*/ 0 w 1489"/>
                <a:gd name="T47" fmla="*/ 0 h 676"/>
                <a:gd name="T48" fmla="*/ 0 w 1489"/>
                <a:gd name="T49" fmla="*/ 432 h 676"/>
                <a:gd name="T50" fmla="*/ 1489 w 1489"/>
                <a:gd name="T51" fmla="*/ 535 h 676"/>
                <a:gd name="T52" fmla="*/ 1489 w 1489"/>
                <a:gd name="T53" fmla="*/ 247 h 676"/>
                <a:gd name="T54" fmla="*/ 1441 w 1489"/>
                <a:gd name="T55" fmla="*/ 197 h 676"/>
                <a:gd name="T56" fmla="*/ 1153 w 1489"/>
                <a:gd name="T57" fmla="*/ 125 h 676"/>
                <a:gd name="T58" fmla="*/ 1153 w 1489"/>
                <a:gd name="T59" fmla="*/ 454 h 676"/>
                <a:gd name="T60" fmla="*/ 49 w 1489"/>
                <a:gd name="T61" fmla="*/ 454 h 676"/>
                <a:gd name="T62" fmla="*/ 49 w 1489"/>
                <a:gd name="T63" fmla="*/ 579 h 676"/>
                <a:gd name="T64" fmla="*/ 89 w 1489"/>
                <a:gd name="T65" fmla="*/ 579 h 676"/>
                <a:gd name="T66" fmla="*/ 195 w 1489"/>
                <a:gd name="T67" fmla="*/ 482 h 676"/>
                <a:gd name="T68" fmla="*/ 300 w 1489"/>
                <a:gd name="T69" fmla="*/ 579 h 676"/>
                <a:gd name="T70" fmla="*/ 324 w 1489"/>
                <a:gd name="T71" fmla="*/ 579 h 676"/>
                <a:gd name="T72" fmla="*/ 429 w 1489"/>
                <a:gd name="T73" fmla="*/ 482 h 676"/>
                <a:gd name="T74" fmla="*/ 534 w 1489"/>
                <a:gd name="T75" fmla="*/ 579 h 676"/>
                <a:gd name="T76" fmla="*/ 940 w 1489"/>
                <a:gd name="T77" fmla="*/ 579 h 676"/>
                <a:gd name="T78" fmla="*/ 1045 w 1489"/>
                <a:gd name="T79" fmla="*/ 482 h 676"/>
                <a:gd name="T80" fmla="*/ 1151 w 1489"/>
                <a:gd name="T81" fmla="*/ 579 h 676"/>
                <a:gd name="T82" fmla="*/ 1174 w 1489"/>
                <a:gd name="T83" fmla="*/ 579 h 676"/>
                <a:gd name="T84" fmla="*/ 1279 w 1489"/>
                <a:gd name="T85" fmla="*/ 482 h 676"/>
                <a:gd name="T86" fmla="*/ 1385 w 1489"/>
                <a:gd name="T87" fmla="*/ 579 h 676"/>
                <a:gd name="T88" fmla="*/ 1441 w 1489"/>
                <a:gd name="T89" fmla="*/ 579 h 676"/>
                <a:gd name="T90" fmla="*/ 1489 w 1489"/>
                <a:gd name="T91" fmla="*/ 535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9" h="676">
                  <a:moveTo>
                    <a:pt x="1192" y="588"/>
                  </a:moveTo>
                  <a:cubicBezTo>
                    <a:pt x="1192" y="637"/>
                    <a:pt x="1231" y="676"/>
                    <a:pt x="1279" y="676"/>
                  </a:cubicBezTo>
                  <a:cubicBezTo>
                    <a:pt x="1328" y="676"/>
                    <a:pt x="1367" y="637"/>
                    <a:pt x="1367" y="588"/>
                  </a:cubicBezTo>
                  <a:cubicBezTo>
                    <a:pt x="1367" y="540"/>
                    <a:pt x="1328" y="501"/>
                    <a:pt x="1279" y="501"/>
                  </a:cubicBezTo>
                  <a:cubicBezTo>
                    <a:pt x="1231" y="501"/>
                    <a:pt x="1192" y="540"/>
                    <a:pt x="1192" y="588"/>
                  </a:cubicBezTo>
                  <a:moveTo>
                    <a:pt x="957" y="588"/>
                  </a:moveTo>
                  <a:cubicBezTo>
                    <a:pt x="957" y="637"/>
                    <a:pt x="997" y="676"/>
                    <a:pt x="1045" y="676"/>
                  </a:cubicBezTo>
                  <a:cubicBezTo>
                    <a:pt x="1093" y="676"/>
                    <a:pt x="1133" y="637"/>
                    <a:pt x="1133" y="588"/>
                  </a:cubicBezTo>
                  <a:cubicBezTo>
                    <a:pt x="1133" y="540"/>
                    <a:pt x="1093" y="501"/>
                    <a:pt x="1045" y="501"/>
                  </a:cubicBezTo>
                  <a:cubicBezTo>
                    <a:pt x="997" y="501"/>
                    <a:pt x="957" y="540"/>
                    <a:pt x="957" y="588"/>
                  </a:cubicBezTo>
                  <a:moveTo>
                    <a:pt x="341" y="588"/>
                  </a:moveTo>
                  <a:cubicBezTo>
                    <a:pt x="341" y="637"/>
                    <a:pt x="381" y="676"/>
                    <a:pt x="429" y="676"/>
                  </a:cubicBezTo>
                  <a:cubicBezTo>
                    <a:pt x="477" y="676"/>
                    <a:pt x="517" y="637"/>
                    <a:pt x="517" y="588"/>
                  </a:cubicBezTo>
                  <a:cubicBezTo>
                    <a:pt x="517" y="540"/>
                    <a:pt x="477" y="501"/>
                    <a:pt x="429" y="501"/>
                  </a:cubicBezTo>
                  <a:cubicBezTo>
                    <a:pt x="381" y="501"/>
                    <a:pt x="341" y="540"/>
                    <a:pt x="341" y="588"/>
                  </a:cubicBezTo>
                  <a:moveTo>
                    <a:pt x="107" y="588"/>
                  </a:moveTo>
                  <a:cubicBezTo>
                    <a:pt x="107" y="637"/>
                    <a:pt x="146" y="676"/>
                    <a:pt x="195" y="676"/>
                  </a:cubicBezTo>
                  <a:cubicBezTo>
                    <a:pt x="243" y="676"/>
                    <a:pt x="282" y="637"/>
                    <a:pt x="282" y="588"/>
                  </a:cubicBezTo>
                  <a:cubicBezTo>
                    <a:pt x="282" y="540"/>
                    <a:pt x="243" y="501"/>
                    <a:pt x="195" y="501"/>
                  </a:cubicBezTo>
                  <a:cubicBezTo>
                    <a:pt x="146" y="501"/>
                    <a:pt x="107" y="540"/>
                    <a:pt x="107" y="588"/>
                  </a:cubicBezTo>
                  <a:moveTo>
                    <a:pt x="0" y="432"/>
                  </a:moveTo>
                  <a:cubicBezTo>
                    <a:pt x="1130" y="432"/>
                    <a:pt x="1130" y="432"/>
                    <a:pt x="1130" y="432"/>
                  </a:cubicBezTo>
                  <a:cubicBezTo>
                    <a:pt x="1130" y="0"/>
                    <a:pt x="1130" y="0"/>
                    <a:pt x="1130" y="0"/>
                  </a:cubicBezTo>
                  <a:cubicBezTo>
                    <a:pt x="0" y="0"/>
                    <a:pt x="0" y="0"/>
                    <a:pt x="0" y="0"/>
                  </a:cubicBezTo>
                  <a:lnTo>
                    <a:pt x="0" y="432"/>
                  </a:lnTo>
                  <a:close/>
                  <a:moveTo>
                    <a:pt x="1489" y="535"/>
                  </a:moveTo>
                  <a:cubicBezTo>
                    <a:pt x="1489" y="247"/>
                    <a:pt x="1489" y="247"/>
                    <a:pt x="1489" y="247"/>
                  </a:cubicBezTo>
                  <a:cubicBezTo>
                    <a:pt x="1489" y="247"/>
                    <a:pt x="1489" y="203"/>
                    <a:pt x="1441" y="197"/>
                  </a:cubicBezTo>
                  <a:cubicBezTo>
                    <a:pt x="1153" y="125"/>
                    <a:pt x="1153" y="125"/>
                    <a:pt x="1153" y="125"/>
                  </a:cubicBezTo>
                  <a:cubicBezTo>
                    <a:pt x="1153" y="454"/>
                    <a:pt x="1153" y="454"/>
                    <a:pt x="1153" y="454"/>
                  </a:cubicBezTo>
                  <a:cubicBezTo>
                    <a:pt x="49" y="454"/>
                    <a:pt x="49" y="454"/>
                    <a:pt x="49" y="454"/>
                  </a:cubicBezTo>
                  <a:cubicBezTo>
                    <a:pt x="49" y="579"/>
                    <a:pt x="49" y="579"/>
                    <a:pt x="49" y="579"/>
                  </a:cubicBezTo>
                  <a:cubicBezTo>
                    <a:pt x="89" y="579"/>
                    <a:pt x="89" y="579"/>
                    <a:pt x="89" y="579"/>
                  </a:cubicBezTo>
                  <a:cubicBezTo>
                    <a:pt x="94" y="525"/>
                    <a:pt x="139" y="482"/>
                    <a:pt x="195" y="482"/>
                  </a:cubicBezTo>
                  <a:cubicBezTo>
                    <a:pt x="250" y="482"/>
                    <a:pt x="295" y="525"/>
                    <a:pt x="300" y="579"/>
                  </a:cubicBezTo>
                  <a:cubicBezTo>
                    <a:pt x="324" y="579"/>
                    <a:pt x="324" y="579"/>
                    <a:pt x="324" y="579"/>
                  </a:cubicBezTo>
                  <a:cubicBezTo>
                    <a:pt x="328" y="525"/>
                    <a:pt x="374" y="482"/>
                    <a:pt x="429" y="482"/>
                  </a:cubicBezTo>
                  <a:cubicBezTo>
                    <a:pt x="484" y="482"/>
                    <a:pt x="530" y="525"/>
                    <a:pt x="534" y="579"/>
                  </a:cubicBezTo>
                  <a:cubicBezTo>
                    <a:pt x="940" y="579"/>
                    <a:pt x="940" y="579"/>
                    <a:pt x="940" y="579"/>
                  </a:cubicBezTo>
                  <a:cubicBezTo>
                    <a:pt x="944" y="525"/>
                    <a:pt x="990" y="482"/>
                    <a:pt x="1045" y="482"/>
                  </a:cubicBezTo>
                  <a:cubicBezTo>
                    <a:pt x="1100" y="482"/>
                    <a:pt x="1146" y="525"/>
                    <a:pt x="1151" y="579"/>
                  </a:cubicBezTo>
                  <a:cubicBezTo>
                    <a:pt x="1174" y="579"/>
                    <a:pt x="1174" y="579"/>
                    <a:pt x="1174" y="579"/>
                  </a:cubicBezTo>
                  <a:cubicBezTo>
                    <a:pt x="1179" y="525"/>
                    <a:pt x="1224" y="482"/>
                    <a:pt x="1279" y="482"/>
                  </a:cubicBezTo>
                  <a:cubicBezTo>
                    <a:pt x="1335" y="482"/>
                    <a:pt x="1380" y="525"/>
                    <a:pt x="1385" y="579"/>
                  </a:cubicBezTo>
                  <a:cubicBezTo>
                    <a:pt x="1441" y="579"/>
                    <a:pt x="1441" y="579"/>
                    <a:pt x="1441" y="579"/>
                  </a:cubicBezTo>
                  <a:cubicBezTo>
                    <a:pt x="1441" y="579"/>
                    <a:pt x="1489" y="579"/>
                    <a:pt x="1489" y="5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0" name="Freeform 5">
              <a:extLst>
                <a:ext uri="{FF2B5EF4-FFF2-40B4-BE49-F238E27FC236}">
                  <a16:creationId xmlns:a16="http://schemas.microsoft.com/office/drawing/2014/main" xmlns="" id="{94D758C5-5F1D-4FD5-A619-9BF1B621C1C2}"/>
                </a:ext>
              </a:extLst>
            </p:cNvPr>
            <p:cNvSpPr>
              <a:spLocks noChangeAspect="1" noEditPoints="1"/>
            </p:cNvSpPr>
            <p:nvPr/>
          </p:nvSpPr>
          <p:spPr bwMode="auto">
            <a:xfrm>
              <a:off x="4511143" y="3840432"/>
              <a:ext cx="406764" cy="346534"/>
            </a:xfrm>
            <a:custGeom>
              <a:avLst/>
              <a:gdLst>
                <a:gd name="T0" fmla="*/ 2788 w 3782"/>
                <a:gd name="T1" fmla="*/ 2794 h 3222"/>
                <a:gd name="T2" fmla="*/ 2817 w 3782"/>
                <a:gd name="T3" fmla="*/ 3222 h 3222"/>
                <a:gd name="T4" fmla="*/ 2817 w 3782"/>
                <a:gd name="T5" fmla="*/ 2794 h 3222"/>
                <a:gd name="T6" fmla="*/ 2175 w 3782"/>
                <a:gd name="T7" fmla="*/ 3222 h 3222"/>
                <a:gd name="T8" fmla="*/ 3037 w 3782"/>
                <a:gd name="T9" fmla="*/ 2756 h 3222"/>
                <a:gd name="T10" fmla="*/ 3408 w 3782"/>
                <a:gd name="T11" fmla="*/ 2093 h 3222"/>
                <a:gd name="T12" fmla="*/ 2132 w 3782"/>
                <a:gd name="T13" fmla="*/ 3222 h 3222"/>
                <a:gd name="T14" fmla="*/ 0 w 3782"/>
                <a:gd name="T15" fmla="*/ 3222 h 3222"/>
                <a:gd name="T16" fmla="*/ 2130 w 3782"/>
                <a:gd name="T17" fmla="*/ 1823 h 3222"/>
                <a:gd name="T18" fmla="*/ 2175 w 3782"/>
                <a:gd name="T19" fmla="*/ 2055 h 3222"/>
                <a:gd name="T20" fmla="*/ 2175 w 3782"/>
                <a:gd name="T21" fmla="*/ 1690 h 3222"/>
                <a:gd name="T22" fmla="*/ 2779 w 3782"/>
                <a:gd name="T23" fmla="*/ 2055 h 3222"/>
                <a:gd name="T24" fmla="*/ 2495 w 3782"/>
                <a:gd name="T25" fmla="*/ 2055 h 3222"/>
                <a:gd name="T26" fmla="*/ 3117 w 3782"/>
                <a:gd name="T27" fmla="*/ 1690 h 3222"/>
                <a:gd name="T28" fmla="*/ 3150 w 3782"/>
                <a:gd name="T29" fmla="*/ 2055 h 3222"/>
                <a:gd name="T30" fmla="*/ 3150 w 3782"/>
                <a:gd name="T31" fmla="*/ 1690 h 3222"/>
                <a:gd name="T32" fmla="*/ 2461 w 3782"/>
                <a:gd name="T33" fmla="*/ 1652 h 3222"/>
                <a:gd name="T34" fmla="*/ 2175 w 3782"/>
                <a:gd name="T35" fmla="*/ 1652 h 3222"/>
                <a:gd name="T36" fmla="*/ 2779 w 3782"/>
                <a:gd name="T37" fmla="*/ 1257 h 3222"/>
                <a:gd name="T38" fmla="*/ 2809 w 3782"/>
                <a:gd name="T39" fmla="*/ 1652 h 3222"/>
                <a:gd name="T40" fmla="*/ 2809 w 3782"/>
                <a:gd name="T41" fmla="*/ 1257 h 3222"/>
                <a:gd name="T42" fmla="*/ 3408 w 3782"/>
                <a:gd name="T43" fmla="*/ 1652 h 3222"/>
                <a:gd name="T44" fmla="*/ 3150 w 3782"/>
                <a:gd name="T45" fmla="*/ 1652 h 3222"/>
                <a:gd name="T46" fmla="*/ 2461 w 3782"/>
                <a:gd name="T47" fmla="*/ 840 h 3222"/>
                <a:gd name="T48" fmla="*/ 2495 w 3782"/>
                <a:gd name="T49" fmla="*/ 1226 h 3222"/>
                <a:gd name="T50" fmla="*/ 2495 w 3782"/>
                <a:gd name="T51" fmla="*/ 840 h 3222"/>
                <a:gd name="T52" fmla="*/ 2809 w 3782"/>
                <a:gd name="T53" fmla="*/ 1226 h 3222"/>
                <a:gd name="T54" fmla="*/ 2809 w 3782"/>
                <a:gd name="T55" fmla="*/ 840 h 3222"/>
                <a:gd name="T56" fmla="*/ 3408 w 3782"/>
                <a:gd name="T57" fmla="*/ 840 h 3222"/>
                <a:gd name="T58" fmla="*/ 2175 w 3782"/>
                <a:gd name="T59" fmla="*/ 809 h 3222"/>
                <a:gd name="T60" fmla="*/ 2175 w 3782"/>
                <a:gd name="T61" fmla="*/ 445 h 3222"/>
                <a:gd name="T62" fmla="*/ 2779 w 3782"/>
                <a:gd name="T63" fmla="*/ 809 h 3222"/>
                <a:gd name="T64" fmla="*/ 2495 w 3782"/>
                <a:gd name="T65" fmla="*/ 809 h 3222"/>
                <a:gd name="T66" fmla="*/ 3117 w 3782"/>
                <a:gd name="T67" fmla="*/ 809 h 3222"/>
                <a:gd name="T68" fmla="*/ 3150 w 3782"/>
                <a:gd name="T69" fmla="*/ 809 h 3222"/>
                <a:gd name="T70" fmla="*/ 3150 w 3782"/>
                <a:gd name="T71" fmla="*/ 445 h 3222"/>
                <a:gd name="T72" fmla="*/ 3441 w 3782"/>
                <a:gd name="T73" fmla="*/ 2519 h 3222"/>
                <a:gd name="T74" fmla="*/ 3782 w 3782"/>
                <a:gd name="T75" fmla="*/ 400 h 3222"/>
                <a:gd name="T76" fmla="*/ 2175 w 3782"/>
                <a:gd name="T77" fmla="*/ 165 h 3222"/>
                <a:gd name="T78" fmla="*/ 2495 w 3782"/>
                <a:gd name="T79" fmla="*/ 412 h 3222"/>
                <a:gd name="T80" fmla="*/ 3117 w 3782"/>
                <a:gd name="T81" fmla="*/ 412 h 3222"/>
                <a:gd name="T82" fmla="*/ 3408 w 3782"/>
                <a:gd name="T83" fmla="*/ 165 h 3222"/>
                <a:gd name="T84" fmla="*/ 2374 w 3782"/>
                <a:gd name="T85" fmla="*/ 130 h 3222"/>
                <a:gd name="T86" fmla="*/ 3456 w 3782"/>
                <a:gd name="T87" fmla="*/ 154 h 3222"/>
                <a:gd name="T88" fmla="*/ 3456 w 3782"/>
                <a:gd name="T89" fmla="*/ 2 h 3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82" h="3222">
                  <a:moveTo>
                    <a:pt x="2601" y="3222"/>
                  </a:moveTo>
                  <a:lnTo>
                    <a:pt x="2788" y="3222"/>
                  </a:lnTo>
                  <a:lnTo>
                    <a:pt x="2788" y="2794"/>
                  </a:lnTo>
                  <a:lnTo>
                    <a:pt x="2601" y="2794"/>
                  </a:lnTo>
                  <a:lnTo>
                    <a:pt x="2601" y="3222"/>
                  </a:lnTo>
                  <a:close/>
                  <a:moveTo>
                    <a:pt x="2817" y="3222"/>
                  </a:moveTo>
                  <a:lnTo>
                    <a:pt x="3006" y="3222"/>
                  </a:lnTo>
                  <a:lnTo>
                    <a:pt x="3006" y="2794"/>
                  </a:lnTo>
                  <a:lnTo>
                    <a:pt x="2817" y="2794"/>
                  </a:lnTo>
                  <a:lnTo>
                    <a:pt x="2817" y="3222"/>
                  </a:lnTo>
                  <a:close/>
                  <a:moveTo>
                    <a:pt x="2175" y="2093"/>
                  </a:moveTo>
                  <a:lnTo>
                    <a:pt x="2175" y="3222"/>
                  </a:lnTo>
                  <a:lnTo>
                    <a:pt x="2568" y="3222"/>
                  </a:lnTo>
                  <a:lnTo>
                    <a:pt x="2568" y="2756"/>
                  </a:lnTo>
                  <a:lnTo>
                    <a:pt x="3037" y="2756"/>
                  </a:lnTo>
                  <a:lnTo>
                    <a:pt x="3037" y="3222"/>
                  </a:lnTo>
                  <a:lnTo>
                    <a:pt x="3408" y="3222"/>
                  </a:lnTo>
                  <a:lnTo>
                    <a:pt x="3408" y="2093"/>
                  </a:lnTo>
                  <a:lnTo>
                    <a:pt x="2175" y="2093"/>
                  </a:lnTo>
                  <a:close/>
                  <a:moveTo>
                    <a:pt x="0" y="3222"/>
                  </a:moveTo>
                  <a:lnTo>
                    <a:pt x="2132" y="3222"/>
                  </a:lnTo>
                  <a:lnTo>
                    <a:pt x="2132" y="1946"/>
                  </a:lnTo>
                  <a:lnTo>
                    <a:pt x="0" y="1946"/>
                  </a:lnTo>
                  <a:lnTo>
                    <a:pt x="0" y="3222"/>
                  </a:lnTo>
                  <a:close/>
                  <a:moveTo>
                    <a:pt x="291" y="1903"/>
                  </a:moveTo>
                  <a:lnTo>
                    <a:pt x="2130" y="1903"/>
                  </a:lnTo>
                  <a:lnTo>
                    <a:pt x="2130" y="1823"/>
                  </a:lnTo>
                  <a:lnTo>
                    <a:pt x="291" y="1823"/>
                  </a:lnTo>
                  <a:lnTo>
                    <a:pt x="291" y="1903"/>
                  </a:lnTo>
                  <a:close/>
                  <a:moveTo>
                    <a:pt x="2175" y="2055"/>
                  </a:moveTo>
                  <a:lnTo>
                    <a:pt x="2461" y="2055"/>
                  </a:lnTo>
                  <a:lnTo>
                    <a:pt x="2461" y="1690"/>
                  </a:lnTo>
                  <a:lnTo>
                    <a:pt x="2175" y="1690"/>
                  </a:lnTo>
                  <a:lnTo>
                    <a:pt x="2175" y="2055"/>
                  </a:lnTo>
                  <a:close/>
                  <a:moveTo>
                    <a:pt x="2495" y="2055"/>
                  </a:moveTo>
                  <a:lnTo>
                    <a:pt x="2779" y="2055"/>
                  </a:lnTo>
                  <a:lnTo>
                    <a:pt x="2779" y="1690"/>
                  </a:lnTo>
                  <a:lnTo>
                    <a:pt x="2495" y="1690"/>
                  </a:lnTo>
                  <a:lnTo>
                    <a:pt x="2495" y="2055"/>
                  </a:lnTo>
                  <a:close/>
                  <a:moveTo>
                    <a:pt x="2809" y="2055"/>
                  </a:moveTo>
                  <a:lnTo>
                    <a:pt x="3117" y="2055"/>
                  </a:lnTo>
                  <a:lnTo>
                    <a:pt x="3117" y="1690"/>
                  </a:lnTo>
                  <a:lnTo>
                    <a:pt x="2809" y="1690"/>
                  </a:lnTo>
                  <a:lnTo>
                    <a:pt x="2809" y="2055"/>
                  </a:lnTo>
                  <a:close/>
                  <a:moveTo>
                    <a:pt x="3150" y="2055"/>
                  </a:moveTo>
                  <a:lnTo>
                    <a:pt x="3408" y="2055"/>
                  </a:lnTo>
                  <a:lnTo>
                    <a:pt x="3408" y="1690"/>
                  </a:lnTo>
                  <a:lnTo>
                    <a:pt x="3150" y="1690"/>
                  </a:lnTo>
                  <a:lnTo>
                    <a:pt x="3150" y="2055"/>
                  </a:lnTo>
                  <a:close/>
                  <a:moveTo>
                    <a:pt x="2175" y="1652"/>
                  </a:moveTo>
                  <a:lnTo>
                    <a:pt x="2461" y="1652"/>
                  </a:lnTo>
                  <a:lnTo>
                    <a:pt x="2461" y="1257"/>
                  </a:lnTo>
                  <a:lnTo>
                    <a:pt x="2175" y="1257"/>
                  </a:lnTo>
                  <a:lnTo>
                    <a:pt x="2175" y="1652"/>
                  </a:lnTo>
                  <a:close/>
                  <a:moveTo>
                    <a:pt x="2495" y="1652"/>
                  </a:moveTo>
                  <a:lnTo>
                    <a:pt x="2779" y="1652"/>
                  </a:lnTo>
                  <a:lnTo>
                    <a:pt x="2779" y="1257"/>
                  </a:lnTo>
                  <a:lnTo>
                    <a:pt x="2495" y="1257"/>
                  </a:lnTo>
                  <a:lnTo>
                    <a:pt x="2495" y="1652"/>
                  </a:lnTo>
                  <a:close/>
                  <a:moveTo>
                    <a:pt x="2809" y="1652"/>
                  </a:moveTo>
                  <a:lnTo>
                    <a:pt x="3117" y="1652"/>
                  </a:lnTo>
                  <a:lnTo>
                    <a:pt x="3117" y="1257"/>
                  </a:lnTo>
                  <a:lnTo>
                    <a:pt x="2809" y="1257"/>
                  </a:lnTo>
                  <a:lnTo>
                    <a:pt x="2809" y="1652"/>
                  </a:lnTo>
                  <a:close/>
                  <a:moveTo>
                    <a:pt x="3150" y="1652"/>
                  </a:moveTo>
                  <a:lnTo>
                    <a:pt x="3408" y="1652"/>
                  </a:lnTo>
                  <a:lnTo>
                    <a:pt x="3408" y="1257"/>
                  </a:lnTo>
                  <a:lnTo>
                    <a:pt x="3150" y="1257"/>
                  </a:lnTo>
                  <a:lnTo>
                    <a:pt x="3150" y="1652"/>
                  </a:lnTo>
                  <a:close/>
                  <a:moveTo>
                    <a:pt x="2175" y="1226"/>
                  </a:moveTo>
                  <a:lnTo>
                    <a:pt x="2461" y="1226"/>
                  </a:lnTo>
                  <a:lnTo>
                    <a:pt x="2461" y="840"/>
                  </a:lnTo>
                  <a:lnTo>
                    <a:pt x="2175" y="840"/>
                  </a:lnTo>
                  <a:lnTo>
                    <a:pt x="2175" y="1226"/>
                  </a:lnTo>
                  <a:close/>
                  <a:moveTo>
                    <a:pt x="2495" y="1226"/>
                  </a:moveTo>
                  <a:lnTo>
                    <a:pt x="2779" y="1226"/>
                  </a:lnTo>
                  <a:lnTo>
                    <a:pt x="2779" y="840"/>
                  </a:lnTo>
                  <a:lnTo>
                    <a:pt x="2495" y="840"/>
                  </a:lnTo>
                  <a:lnTo>
                    <a:pt x="2495" y="1226"/>
                  </a:lnTo>
                  <a:close/>
                  <a:moveTo>
                    <a:pt x="2809" y="840"/>
                  </a:moveTo>
                  <a:lnTo>
                    <a:pt x="2809" y="1226"/>
                  </a:lnTo>
                  <a:lnTo>
                    <a:pt x="3117" y="1226"/>
                  </a:lnTo>
                  <a:lnTo>
                    <a:pt x="3117" y="840"/>
                  </a:lnTo>
                  <a:lnTo>
                    <a:pt x="2809" y="840"/>
                  </a:lnTo>
                  <a:close/>
                  <a:moveTo>
                    <a:pt x="3150" y="1226"/>
                  </a:moveTo>
                  <a:lnTo>
                    <a:pt x="3408" y="1226"/>
                  </a:lnTo>
                  <a:lnTo>
                    <a:pt x="3408" y="840"/>
                  </a:lnTo>
                  <a:lnTo>
                    <a:pt x="3150" y="840"/>
                  </a:lnTo>
                  <a:lnTo>
                    <a:pt x="3150" y="1226"/>
                  </a:lnTo>
                  <a:close/>
                  <a:moveTo>
                    <a:pt x="2175" y="809"/>
                  </a:moveTo>
                  <a:lnTo>
                    <a:pt x="2461" y="809"/>
                  </a:lnTo>
                  <a:lnTo>
                    <a:pt x="2461" y="445"/>
                  </a:lnTo>
                  <a:lnTo>
                    <a:pt x="2175" y="445"/>
                  </a:lnTo>
                  <a:lnTo>
                    <a:pt x="2175" y="809"/>
                  </a:lnTo>
                  <a:close/>
                  <a:moveTo>
                    <a:pt x="2495" y="809"/>
                  </a:moveTo>
                  <a:lnTo>
                    <a:pt x="2779" y="809"/>
                  </a:lnTo>
                  <a:lnTo>
                    <a:pt x="2779" y="445"/>
                  </a:lnTo>
                  <a:lnTo>
                    <a:pt x="2495" y="445"/>
                  </a:lnTo>
                  <a:lnTo>
                    <a:pt x="2495" y="809"/>
                  </a:lnTo>
                  <a:close/>
                  <a:moveTo>
                    <a:pt x="2809" y="445"/>
                  </a:moveTo>
                  <a:lnTo>
                    <a:pt x="2809" y="809"/>
                  </a:lnTo>
                  <a:lnTo>
                    <a:pt x="3117" y="809"/>
                  </a:lnTo>
                  <a:lnTo>
                    <a:pt x="3117" y="445"/>
                  </a:lnTo>
                  <a:lnTo>
                    <a:pt x="2809" y="445"/>
                  </a:lnTo>
                  <a:close/>
                  <a:moveTo>
                    <a:pt x="3150" y="809"/>
                  </a:moveTo>
                  <a:lnTo>
                    <a:pt x="3408" y="809"/>
                  </a:lnTo>
                  <a:lnTo>
                    <a:pt x="3408" y="445"/>
                  </a:lnTo>
                  <a:lnTo>
                    <a:pt x="3150" y="445"/>
                  </a:lnTo>
                  <a:lnTo>
                    <a:pt x="3150" y="809"/>
                  </a:lnTo>
                  <a:close/>
                  <a:moveTo>
                    <a:pt x="3441" y="888"/>
                  </a:moveTo>
                  <a:lnTo>
                    <a:pt x="3441" y="2519"/>
                  </a:lnTo>
                  <a:lnTo>
                    <a:pt x="3441" y="3215"/>
                  </a:lnTo>
                  <a:lnTo>
                    <a:pt x="3782" y="2988"/>
                  </a:lnTo>
                  <a:lnTo>
                    <a:pt x="3782" y="400"/>
                  </a:lnTo>
                  <a:lnTo>
                    <a:pt x="3441" y="175"/>
                  </a:lnTo>
                  <a:lnTo>
                    <a:pt x="3441" y="888"/>
                  </a:lnTo>
                  <a:close/>
                  <a:moveTo>
                    <a:pt x="2175" y="165"/>
                  </a:moveTo>
                  <a:lnTo>
                    <a:pt x="2175" y="412"/>
                  </a:lnTo>
                  <a:lnTo>
                    <a:pt x="2461" y="412"/>
                  </a:lnTo>
                  <a:lnTo>
                    <a:pt x="2495" y="412"/>
                  </a:lnTo>
                  <a:lnTo>
                    <a:pt x="2779" y="412"/>
                  </a:lnTo>
                  <a:lnTo>
                    <a:pt x="2809" y="412"/>
                  </a:lnTo>
                  <a:lnTo>
                    <a:pt x="3117" y="412"/>
                  </a:lnTo>
                  <a:lnTo>
                    <a:pt x="3150" y="412"/>
                  </a:lnTo>
                  <a:lnTo>
                    <a:pt x="3408" y="412"/>
                  </a:lnTo>
                  <a:lnTo>
                    <a:pt x="3408" y="165"/>
                  </a:lnTo>
                  <a:lnTo>
                    <a:pt x="2175" y="165"/>
                  </a:lnTo>
                  <a:close/>
                  <a:moveTo>
                    <a:pt x="2374" y="0"/>
                  </a:moveTo>
                  <a:lnTo>
                    <a:pt x="2374" y="130"/>
                  </a:lnTo>
                  <a:lnTo>
                    <a:pt x="3411" y="130"/>
                  </a:lnTo>
                  <a:lnTo>
                    <a:pt x="3456" y="154"/>
                  </a:lnTo>
                  <a:lnTo>
                    <a:pt x="3456" y="154"/>
                  </a:lnTo>
                  <a:lnTo>
                    <a:pt x="3763" y="357"/>
                  </a:lnTo>
                  <a:lnTo>
                    <a:pt x="3763" y="206"/>
                  </a:lnTo>
                  <a:lnTo>
                    <a:pt x="3456" y="2"/>
                  </a:lnTo>
                  <a:lnTo>
                    <a:pt x="3456" y="0"/>
                  </a:lnTo>
                  <a:lnTo>
                    <a:pt x="237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nvGrpSpPr>
            <p:cNvPr id="81" name="Gruppieren 80">
              <a:extLst>
                <a:ext uri="{FF2B5EF4-FFF2-40B4-BE49-F238E27FC236}">
                  <a16:creationId xmlns:a16="http://schemas.microsoft.com/office/drawing/2014/main" xmlns="" id="{109ED51F-15C3-48B2-8628-E33849C3D2D7}"/>
                </a:ext>
              </a:extLst>
            </p:cNvPr>
            <p:cNvGrpSpPr/>
            <p:nvPr/>
          </p:nvGrpSpPr>
          <p:grpSpPr>
            <a:xfrm>
              <a:off x="5941390" y="4866383"/>
              <a:ext cx="309830" cy="484916"/>
              <a:chOff x="8282700" y="1713685"/>
              <a:chExt cx="609601" cy="954087"/>
            </a:xfrm>
            <a:solidFill>
              <a:schemeClr val="bg1"/>
            </a:solidFill>
          </p:grpSpPr>
          <p:sp>
            <p:nvSpPr>
              <p:cNvPr id="82" name="Freeform 5">
                <a:extLst>
                  <a:ext uri="{FF2B5EF4-FFF2-40B4-BE49-F238E27FC236}">
                    <a16:creationId xmlns:a16="http://schemas.microsoft.com/office/drawing/2014/main" xmlns="" id="{C0A3E1FF-0D90-40A0-A404-D7CBC58F7EA3}"/>
                  </a:ext>
                </a:extLst>
              </p:cNvPr>
              <p:cNvSpPr>
                <a:spLocks/>
              </p:cNvSpPr>
              <p:nvPr/>
            </p:nvSpPr>
            <p:spPr bwMode="auto">
              <a:xfrm>
                <a:off x="8282700" y="1713685"/>
                <a:ext cx="247650" cy="954087"/>
              </a:xfrm>
              <a:custGeom>
                <a:avLst/>
                <a:gdLst>
                  <a:gd name="T0" fmla="*/ 144 w 144"/>
                  <a:gd name="T1" fmla="*/ 249 h 557"/>
                  <a:gd name="T2" fmla="*/ 127 w 144"/>
                  <a:gd name="T3" fmla="*/ 190 h 557"/>
                  <a:gd name="T4" fmla="*/ 125 w 144"/>
                  <a:gd name="T5" fmla="*/ 187 h 557"/>
                  <a:gd name="T6" fmla="*/ 108 w 144"/>
                  <a:gd name="T7" fmla="*/ 128 h 557"/>
                  <a:gd name="T8" fmla="*/ 108 w 144"/>
                  <a:gd name="T9" fmla="*/ 32 h 557"/>
                  <a:gd name="T10" fmla="*/ 76 w 144"/>
                  <a:gd name="T11" fmla="*/ 0 h 557"/>
                  <a:gd name="T12" fmla="*/ 69 w 144"/>
                  <a:gd name="T13" fmla="*/ 0 h 557"/>
                  <a:gd name="T14" fmla="*/ 37 w 144"/>
                  <a:gd name="T15" fmla="*/ 32 h 557"/>
                  <a:gd name="T16" fmla="*/ 37 w 144"/>
                  <a:gd name="T17" fmla="*/ 128 h 557"/>
                  <a:gd name="T18" fmla="*/ 19 w 144"/>
                  <a:gd name="T19" fmla="*/ 187 h 557"/>
                  <a:gd name="T20" fmla="*/ 17 w 144"/>
                  <a:gd name="T21" fmla="*/ 190 h 557"/>
                  <a:gd name="T22" fmla="*/ 0 w 144"/>
                  <a:gd name="T23" fmla="*/ 249 h 557"/>
                  <a:gd name="T24" fmla="*/ 0 w 144"/>
                  <a:gd name="T25" fmla="*/ 525 h 557"/>
                  <a:gd name="T26" fmla="*/ 32 w 144"/>
                  <a:gd name="T27" fmla="*/ 557 h 557"/>
                  <a:gd name="T28" fmla="*/ 112 w 144"/>
                  <a:gd name="T29" fmla="*/ 557 h 557"/>
                  <a:gd name="T30" fmla="*/ 144 w 144"/>
                  <a:gd name="T31" fmla="*/ 525 h 557"/>
                  <a:gd name="T32" fmla="*/ 144 w 144"/>
                  <a:gd name="T33" fmla="*/ 249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557">
                    <a:moveTo>
                      <a:pt x="144" y="249"/>
                    </a:moveTo>
                    <a:cubicBezTo>
                      <a:pt x="144" y="249"/>
                      <a:pt x="144" y="217"/>
                      <a:pt x="127" y="190"/>
                    </a:cubicBezTo>
                    <a:cubicBezTo>
                      <a:pt x="125" y="187"/>
                      <a:pt x="125" y="187"/>
                      <a:pt x="125" y="187"/>
                    </a:cubicBezTo>
                    <a:cubicBezTo>
                      <a:pt x="125" y="187"/>
                      <a:pt x="108" y="160"/>
                      <a:pt x="108" y="128"/>
                    </a:cubicBezTo>
                    <a:cubicBezTo>
                      <a:pt x="108" y="32"/>
                      <a:pt x="108" y="32"/>
                      <a:pt x="108" y="32"/>
                    </a:cubicBezTo>
                    <a:cubicBezTo>
                      <a:pt x="108" y="32"/>
                      <a:pt x="108" y="0"/>
                      <a:pt x="76" y="0"/>
                    </a:cubicBezTo>
                    <a:cubicBezTo>
                      <a:pt x="69" y="0"/>
                      <a:pt x="69" y="0"/>
                      <a:pt x="69" y="0"/>
                    </a:cubicBezTo>
                    <a:cubicBezTo>
                      <a:pt x="69" y="0"/>
                      <a:pt x="37" y="0"/>
                      <a:pt x="37" y="32"/>
                    </a:cubicBezTo>
                    <a:cubicBezTo>
                      <a:pt x="37" y="128"/>
                      <a:pt x="37" y="128"/>
                      <a:pt x="37" y="128"/>
                    </a:cubicBezTo>
                    <a:cubicBezTo>
                      <a:pt x="37" y="128"/>
                      <a:pt x="37" y="160"/>
                      <a:pt x="19" y="187"/>
                    </a:cubicBezTo>
                    <a:cubicBezTo>
                      <a:pt x="17" y="190"/>
                      <a:pt x="17" y="190"/>
                      <a:pt x="17" y="190"/>
                    </a:cubicBezTo>
                    <a:cubicBezTo>
                      <a:pt x="17" y="190"/>
                      <a:pt x="0" y="217"/>
                      <a:pt x="0" y="249"/>
                    </a:cubicBezTo>
                    <a:cubicBezTo>
                      <a:pt x="0" y="525"/>
                      <a:pt x="0" y="525"/>
                      <a:pt x="0" y="525"/>
                    </a:cubicBezTo>
                    <a:cubicBezTo>
                      <a:pt x="0" y="525"/>
                      <a:pt x="0" y="557"/>
                      <a:pt x="32" y="557"/>
                    </a:cubicBezTo>
                    <a:cubicBezTo>
                      <a:pt x="112" y="557"/>
                      <a:pt x="112" y="557"/>
                      <a:pt x="112" y="557"/>
                    </a:cubicBezTo>
                    <a:cubicBezTo>
                      <a:pt x="112" y="557"/>
                      <a:pt x="144" y="557"/>
                      <a:pt x="144" y="525"/>
                    </a:cubicBezTo>
                    <a:lnTo>
                      <a:pt x="144"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6">
                <a:extLst>
                  <a:ext uri="{FF2B5EF4-FFF2-40B4-BE49-F238E27FC236}">
                    <a16:creationId xmlns:a16="http://schemas.microsoft.com/office/drawing/2014/main" xmlns="" id="{5F233C85-78C4-43D5-999B-021778F02B34}"/>
                  </a:ext>
                </a:extLst>
              </p:cNvPr>
              <p:cNvSpPr>
                <a:spLocks/>
              </p:cNvSpPr>
              <p:nvPr/>
            </p:nvSpPr>
            <p:spPr bwMode="auto">
              <a:xfrm>
                <a:off x="8620838" y="2158184"/>
                <a:ext cx="271463" cy="509587"/>
              </a:xfrm>
              <a:custGeom>
                <a:avLst/>
                <a:gdLst>
                  <a:gd name="T0" fmla="*/ 158 w 158"/>
                  <a:gd name="T1" fmla="*/ 272 h 298"/>
                  <a:gd name="T2" fmla="*/ 158 w 158"/>
                  <a:gd name="T3" fmla="*/ 0 h 298"/>
                  <a:gd name="T4" fmla="*/ 79 w 158"/>
                  <a:gd name="T5" fmla="*/ 26 h 298"/>
                  <a:gd name="T6" fmla="*/ 0 w 158"/>
                  <a:gd name="T7" fmla="*/ 0 h 298"/>
                  <a:gd name="T8" fmla="*/ 0 w 158"/>
                  <a:gd name="T9" fmla="*/ 272 h 298"/>
                  <a:gd name="T10" fmla="*/ 79 w 158"/>
                  <a:gd name="T11" fmla="*/ 298 h 298"/>
                  <a:gd name="T12" fmla="*/ 158 w 158"/>
                  <a:gd name="T13" fmla="*/ 272 h 298"/>
                </a:gdLst>
                <a:ahLst/>
                <a:cxnLst>
                  <a:cxn ang="0">
                    <a:pos x="T0" y="T1"/>
                  </a:cxn>
                  <a:cxn ang="0">
                    <a:pos x="T2" y="T3"/>
                  </a:cxn>
                  <a:cxn ang="0">
                    <a:pos x="T4" y="T5"/>
                  </a:cxn>
                  <a:cxn ang="0">
                    <a:pos x="T6" y="T7"/>
                  </a:cxn>
                  <a:cxn ang="0">
                    <a:pos x="T8" y="T9"/>
                  </a:cxn>
                  <a:cxn ang="0">
                    <a:pos x="T10" y="T11"/>
                  </a:cxn>
                  <a:cxn ang="0">
                    <a:pos x="T12" y="T13"/>
                  </a:cxn>
                </a:cxnLst>
                <a:rect l="0" t="0" r="r" b="b"/>
                <a:pathLst>
                  <a:path w="158" h="298">
                    <a:moveTo>
                      <a:pt x="158" y="272"/>
                    </a:moveTo>
                    <a:cubicBezTo>
                      <a:pt x="158" y="0"/>
                      <a:pt x="158" y="0"/>
                      <a:pt x="158" y="0"/>
                    </a:cubicBezTo>
                    <a:cubicBezTo>
                      <a:pt x="158" y="14"/>
                      <a:pt x="123" y="26"/>
                      <a:pt x="79" y="26"/>
                    </a:cubicBezTo>
                    <a:cubicBezTo>
                      <a:pt x="35" y="26"/>
                      <a:pt x="0" y="14"/>
                      <a:pt x="0" y="0"/>
                    </a:cubicBezTo>
                    <a:cubicBezTo>
                      <a:pt x="0" y="272"/>
                      <a:pt x="0" y="272"/>
                      <a:pt x="0" y="272"/>
                    </a:cubicBezTo>
                    <a:cubicBezTo>
                      <a:pt x="0" y="286"/>
                      <a:pt x="35" y="298"/>
                      <a:pt x="79" y="298"/>
                    </a:cubicBezTo>
                    <a:cubicBezTo>
                      <a:pt x="123" y="298"/>
                      <a:pt x="158" y="286"/>
                      <a:pt x="158"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Oval 7">
                <a:extLst>
                  <a:ext uri="{FF2B5EF4-FFF2-40B4-BE49-F238E27FC236}">
                    <a16:creationId xmlns:a16="http://schemas.microsoft.com/office/drawing/2014/main" xmlns="" id="{95852A00-2782-46F4-929D-480897CBD845}"/>
                  </a:ext>
                </a:extLst>
              </p:cNvPr>
              <p:cNvSpPr>
                <a:spLocks noChangeArrowheads="1"/>
              </p:cNvSpPr>
              <p:nvPr/>
            </p:nvSpPr>
            <p:spPr bwMode="auto">
              <a:xfrm>
                <a:off x="8620838" y="2086747"/>
                <a:ext cx="27146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uppieren 84">
              <a:extLst>
                <a:ext uri="{FF2B5EF4-FFF2-40B4-BE49-F238E27FC236}">
                  <a16:creationId xmlns:a16="http://schemas.microsoft.com/office/drawing/2014/main" xmlns="" id="{3962B7E3-23BA-4312-B605-32A80CF3A63A}"/>
                </a:ext>
              </a:extLst>
            </p:cNvPr>
            <p:cNvGrpSpPr/>
            <p:nvPr/>
          </p:nvGrpSpPr>
          <p:grpSpPr>
            <a:xfrm>
              <a:off x="5847796" y="2131803"/>
              <a:ext cx="497019" cy="459097"/>
              <a:chOff x="7686675" y="3676651"/>
              <a:chExt cx="977900" cy="903287"/>
            </a:xfrm>
            <a:solidFill>
              <a:schemeClr val="bg1"/>
            </a:solidFill>
          </p:grpSpPr>
          <p:sp>
            <p:nvSpPr>
              <p:cNvPr id="86" name="Freeform 11">
                <a:extLst>
                  <a:ext uri="{FF2B5EF4-FFF2-40B4-BE49-F238E27FC236}">
                    <a16:creationId xmlns:a16="http://schemas.microsoft.com/office/drawing/2014/main" xmlns="" id="{02E44CFA-712A-4972-8151-5C8D0C6617C6}"/>
                  </a:ext>
                </a:extLst>
              </p:cNvPr>
              <p:cNvSpPr>
                <a:spLocks noEditPoints="1"/>
              </p:cNvSpPr>
              <p:nvPr/>
            </p:nvSpPr>
            <p:spPr bwMode="auto">
              <a:xfrm>
                <a:off x="7686675" y="3973513"/>
                <a:ext cx="673100" cy="606425"/>
              </a:xfrm>
              <a:custGeom>
                <a:avLst/>
                <a:gdLst>
                  <a:gd name="T0" fmla="*/ 271 w 487"/>
                  <a:gd name="T1" fmla="*/ 438 h 438"/>
                  <a:gd name="T2" fmla="*/ 271 w 487"/>
                  <a:gd name="T3" fmla="*/ 357 h 438"/>
                  <a:gd name="T4" fmla="*/ 54 w 487"/>
                  <a:gd name="T5" fmla="*/ 398 h 438"/>
                  <a:gd name="T6" fmla="*/ 135 w 487"/>
                  <a:gd name="T7" fmla="*/ 398 h 438"/>
                  <a:gd name="T8" fmla="*/ 54 w 487"/>
                  <a:gd name="T9" fmla="*/ 398 h 438"/>
                  <a:gd name="T10" fmla="*/ 349 w 487"/>
                  <a:gd name="T11" fmla="*/ 223 h 438"/>
                  <a:gd name="T12" fmla="*/ 326 w 487"/>
                  <a:gd name="T13" fmla="*/ 166 h 438"/>
                  <a:gd name="T14" fmla="*/ 326 w 487"/>
                  <a:gd name="T15" fmla="*/ 252 h 438"/>
                  <a:gd name="T16" fmla="*/ 326 w 487"/>
                  <a:gd name="T17" fmla="*/ 272 h 438"/>
                  <a:gd name="T18" fmla="*/ 298 w 487"/>
                  <a:gd name="T19" fmla="*/ 309 h 438"/>
                  <a:gd name="T20" fmla="*/ 227 w 487"/>
                  <a:gd name="T21" fmla="*/ 252 h 438"/>
                  <a:gd name="T22" fmla="*/ 298 w 487"/>
                  <a:gd name="T23" fmla="*/ 309 h 438"/>
                  <a:gd name="T24" fmla="*/ 227 w 487"/>
                  <a:gd name="T25" fmla="*/ 223 h 438"/>
                  <a:gd name="T26" fmla="*/ 298 w 487"/>
                  <a:gd name="T27" fmla="*/ 166 h 438"/>
                  <a:gd name="T28" fmla="*/ 198 w 487"/>
                  <a:gd name="T29" fmla="*/ 309 h 438"/>
                  <a:gd name="T30" fmla="*/ 128 w 487"/>
                  <a:gd name="T31" fmla="*/ 252 h 438"/>
                  <a:gd name="T32" fmla="*/ 198 w 487"/>
                  <a:gd name="T33" fmla="*/ 309 h 438"/>
                  <a:gd name="T34" fmla="*/ 128 w 487"/>
                  <a:gd name="T35" fmla="*/ 223 h 438"/>
                  <a:gd name="T36" fmla="*/ 198 w 487"/>
                  <a:gd name="T37" fmla="*/ 166 h 438"/>
                  <a:gd name="T38" fmla="*/ 99 w 487"/>
                  <a:gd name="T39" fmla="*/ 309 h 438"/>
                  <a:gd name="T40" fmla="*/ 28 w 487"/>
                  <a:gd name="T41" fmla="*/ 252 h 438"/>
                  <a:gd name="T42" fmla="*/ 99 w 487"/>
                  <a:gd name="T43" fmla="*/ 309 h 438"/>
                  <a:gd name="T44" fmla="*/ 28 w 487"/>
                  <a:gd name="T45" fmla="*/ 223 h 438"/>
                  <a:gd name="T46" fmla="*/ 99 w 487"/>
                  <a:gd name="T47" fmla="*/ 166 h 438"/>
                  <a:gd name="T48" fmla="*/ 487 w 487"/>
                  <a:gd name="T49" fmla="*/ 0 h 438"/>
                  <a:gd name="T50" fmla="*/ 391 w 487"/>
                  <a:gd name="T51" fmla="*/ 138 h 438"/>
                  <a:gd name="T52" fmla="*/ 298 w 487"/>
                  <a:gd name="T53" fmla="*/ 138 h 438"/>
                  <a:gd name="T54" fmla="*/ 198 w 487"/>
                  <a:gd name="T55" fmla="*/ 138 h 438"/>
                  <a:gd name="T56" fmla="*/ 99 w 487"/>
                  <a:gd name="T57" fmla="*/ 138 h 438"/>
                  <a:gd name="T58" fmla="*/ 0 w 487"/>
                  <a:gd name="T59" fmla="*/ 138 h 438"/>
                  <a:gd name="T60" fmla="*/ 0 w 487"/>
                  <a:gd name="T61" fmla="*/ 223 h 438"/>
                  <a:gd name="T62" fmla="*/ 0 w 487"/>
                  <a:gd name="T63" fmla="*/ 309 h 438"/>
                  <a:gd name="T64" fmla="*/ 28 w 487"/>
                  <a:gd name="T65" fmla="*/ 337 h 438"/>
                  <a:gd name="T66" fmla="*/ 128 w 487"/>
                  <a:gd name="T67" fmla="*/ 337 h 438"/>
                  <a:gd name="T68" fmla="*/ 227 w 487"/>
                  <a:gd name="T69" fmla="*/ 337 h 438"/>
                  <a:gd name="T70" fmla="*/ 298 w 487"/>
                  <a:gd name="T71" fmla="*/ 337 h 438"/>
                  <a:gd name="T72" fmla="*/ 322 w 487"/>
                  <a:gd name="T73" fmla="*/ 337 h 438"/>
                  <a:gd name="T74" fmla="*/ 326 w 487"/>
                  <a:gd name="T75" fmla="*/ 3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7" h="438">
                    <a:moveTo>
                      <a:pt x="231" y="398"/>
                    </a:moveTo>
                    <a:cubicBezTo>
                      <a:pt x="231" y="420"/>
                      <a:pt x="249" y="438"/>
                      <a:pt x="271" y="438"/>
                    </a:cubicBezTo>
                    <a:cubicBezTo>
                      <a:pt x="294" y="438"/>
                      <a:pt x="312" y="420"/>
                      <a:pt x="312" y="398"/>
                    </a:cubicBezTo>
                    <a:cubicBezTo>
                      <a:pt x="312" y="375"/>
                      <a:pt x="294" y="357"/>
                      <a:pt x="271" y="357"/>
                    </a:cubicBezTo>
                    <a:cubicBezTo>
                      <a:pt x="249" y="357"/>
                      <a:pt x="231" y="375"/>
                      <a:pt x="231" y="398"/>
                    </a:cubicBezTo>
                    <a:moveTo>
                      <a:pt x="54" y="398"/>
                    </a:moveTo>
                    <a:cubicBezTo>
                      <a:pt x="54" y="420"/>
                      <a:pt x="72" y="438"/>
                      <a:pt x="95" y="438"/>
                    </a:cubicBezTo>
                    <a:cubicBezTo>
                      <a:pt x="117" y="438"/>
                      <a:pt x="135" y="420"/>
                      <a:pt x="135" y="398"/>
                    </a:cubicBezTo>
                    <a:cubicBezTo>
                      <a:pt x="135" y="375"/>
                      <a:pt x="117" y="357"/>
                      <a:pt x="95" y="357"/>
                    </a:cubicBezTo>
                    <a:cubicBezTo>
                      <a:pt x="72" y="357"/>
                      <a:pt x="54" y="375"/>
                      <a:pt x="54" y="398"/>
                    </a:cubicBezTo>
                    <a:moveTo>
                      <a:pt x="377" y="166"/>
                    </a:moveTo>
                    <a:cubicBezTo>
                      <a:pt x="349" y="223"/>
                      <a:pt x="349" y="223"/>
                      <a:pt x="349" y="223"/>
                    </a:cubicBezTo>
                    <a:cubicBezTo>
                      <a:pt x="326" y="223"/>
                      <a:pt x="326" y="223"/>
                      <a:pt x="326" y="223"/>
                    </a:cubicBezTo>
                    <a:cubicBezTo>
                      <a:pt x="326" y="166"/>
                      <a:pt x="326" y="166"/>
                      <a:pt x="326" y="166"/>
                    </a:cubicBezTo>
                    <a:lnTo>
                      <a:pt x="377" y="166"/>
                    </a:lnTo>
                    <a:close/>
                    <a:moveTo>
                      <a:pt x="326" y="252"/>
                    </a:moveTo>
                    <a:cubicBezTo>
                      <a:pt x="336" y="252"/>
                      <a:pt x="336" y="252"/>
                      <a:pt x="336" y="252"/>
                    </a:cubicBezTo>
                    <a:cubicBezTo>
                      <a:pt x="326" y="272"/>
                      <a:pt x="326" y="272"/>
                      <a:pt x="326" y="272"/>
                    </a:cubicBezTo>
                    <a:lnTo>
                      <a:pt x="326" y="252"/>
                    </a:lnTo>
                    <a:close/>
                    <a:moveTo>
                      <a:pt x="298" y="309"/>
                    </a:moveTo>
                    <a:cubicBezTo>
                      <a:pt x="227" y="309"/>
                      <a:pt x="227" y="309"/>
                      <a:pt x="227" y="309"/>
                    </a:cubicBezTo>
                    <a:cubicBezTo>
                      <a:pt x="227" y="252"/>
                      <a:pt x="227" y="252"/>
                      <a:pt x="227" y="252"/>
                    </a:cubicBezTo>
                    <a:cubicBezTo>
                      <a:pt x="298" y="252"/>
                      <a:pt x="298" y="252"/>
                      <a:pt x="298" y="252"/>
                    </a:cubicBezTo>
                    <a:lnTo>
                      <a:pt x="298" y="309"/>
                    </a:lnTo>
                    <a:close/>
                    <a:moveTo>
                      <a:pt x="298" y="223"/>
                    </a:moveTo>
                    <a:cubicBezTo>
                      <a:pt x="227" y="223"/>
                      <a:pt x="227" y="223"/>
                      <a:pt x="227" y="223"/>
                    </a:cubicBezTo>
                    <a:cubicBezTo>
                      <a:pt x="227" y="166"/>
                      <a:pt x="227" y="166"/>
                      <a:pt x="227" y="166"/>
                    </a:cubicBezTo>
                    <a:cubicBezTo>
                      <a:pt x="298" y="166"/>
                      <a:pt x="298" y="166"/>
                      <a:pt x="298" y="166"/>
                    </a:cubicBezTo>
                    <a:lnTo>
                      <a:pt x="298" y="223"/>
                    </a:lnTo>
                    <a:close/>
                    <a:moveTo>
                      <a:pt x="198" y="309"/>
                    </a:moveTo>
                    <a:cubicBezTo>
                      <a:pt x="128" y="309"/>
                      <a:pt x="128" y="309"/>
                      <a:pt x="128" y="309"/>
                    </a:cubicBezTo>
                    <a:cubicBezTo>
                      <a:pt x="128" y="252"/>
                      <a:pt x="128" y="252"/>
                      <a:pt x="128" y="252"/>
                    </a:cubicBezTo>
                    <a:cubicBezTo>
                      <a:pt x="198" y="252"/>
                      <a:pt x="198" y="252"/>
                      <a:pt x="198" y="252"/>
                    </a:cubicBezTo>
                    <a:lnTo>
                      <a:pt x="198" y="309"/>
                    </a:lnTo>
                    <a:close/>
                    <a:moveTo>
                      <a:pt x="198" y="223"/>
                    </a:moveTo>
                    <a:cubicBezTo>
                      <a:pt x="128" y="223"/>
                      <a:pt x="128" y="223"/>
                      <a:pt x="128" y="223"/>
                    </a:cubicBezTo>
                    <a:cubicBezTo>
                      <a:pt x="128" y="166"/>
                      <a:pt x="128" y="166"/>
                      <a:pt x="128" y="166"/>
                    </a:cubicBezTo>
                    <a:cubicBezTo>
                      <a:pt x="198" y="166"/>
                      <a:pt x="198" y="166"/>
                      <a:pt x="198" y="166"/>
                    </a:cubicBezTo>
                    <a:lnTo>
                      <a:pt x="198" y="223"/>
                    </a:lnTo>
                    <a:close/>
                    <a:moveTo>
                      <a:pt x="99" y="309"/>
                    </a:moveTo>
                    <a:cubicBezTo>
                      <a:pt x="28" y="309"/>
                      <a:pt x="28" y="309"/>
                      <a:pt x="28" y="309"/>
                    </a:cubicBezTo>
                    <a:cubicBezTo>
                      <a:pt x="28" y="252"/>
                      <a:pt x="28" y="252"/>
                      <a:pt x="28" y="252"/>
                    </a:cubicBezTo>
                    <a:cubicBezTo>
                      <a:pt x="99" y="252"/>
                      <a:pt x="99" y="252"/>
                      <a:pt x="99" y="252"/>
                    </a:cubicBezTo>
                    <a:lnTo>
                      <a:pt x="99" y="309"/>
                    </a:lnTo>
                    <a:close/>
                    <a:moveTo>
                      <a:pt x="99" y="223"/>
                    </a:moveTo>
                    <a:cubicBezTo>
                      <a:pt x="28" y="223"/>
                      <a:pt x="28" y="223"/>
                      <a:pt x="28" y="223"/>
                    </a:cubicBezTo>
                    <a:cubicBezTo>
                      <a:pt x="28" y="166"/>
                      <a:pt x="28" y="166"/>
                      <a:pt x="28" y="166"/>
                    </a:cubicBezTo>
                    <a:cubicBezTo>
                      <a:pt x="99" y="166"/>
                      <a:pt x="99" y="166"/>
                      <a:pt x="99" y="166"/>
                    </a:cubicBezTo>
                    <a:lnTo>
                      <a:pt x="99" y="223"/>
                    </a:lnTo>
                    <a:close/>
                    <a:moveTo>
                      <a:pt x="487" y="0"/>
                    </a:moveTo>
                    <a:cubicBezTo>
                      <a:pt x="458" y="0"/>
                      <a:pt x="458" y="0"/>
                      <a:pt x="458" y="0"/>
                    </a:cubicBezTo>
                    <a:cubicBezTo>
                      <a:pt x="391" y="138"/>
                      <a:pt x="391" y="138"/>
                      <a:pt x="391" y="138"/>
                    </a:cubicBezTo>
                    <a:cubicBezTo>
                      <a:pt x="326" y="138"/>
                      <a:pt x="326" y="138"/>
                      <a:pt x="326" y="138"/>
                    </a:cubicBezTo>
                    <a:cubicBezTo>
                      <a:pt x="298" y="138"/>
                      <a:pt x="298" y="138"/>
                      <a:pt x="298" y="138"/>
                    </a:cubicBezTo>
                    <a:cubicBezTo>
                      <a:pt x="227" y="138"/>
                      <a:pt x="227" y="138"/>
                      <a:pt x="227" y="138"/>
                    </a:cubicBezTo>
                    <a:cubicBezTo>
                      <a:pt x="198" y="138"/>
                      <a:pt x="198" y="138"/>
                      <a:pt x="198" y="138"/>
                    </a:cubicBezTo>
                    <a:cubicBezTo>
                      <a:pt x="128" y="138"/>
                      <a:pt x="128" y="138"/>
                      <a:pt x="128" y="138"/>
                    </a:cubicBezTo>
                    <a:cubicBezTo>
                      <a:pt x="99" y="138"/>
                      <a:pt x="99" y="138"/>
                      <a:pt x="99" y="138"/>
                    </a:cubicBezTo>
                    <a:cubicBezTo>
                      <a:pt x="28" y="138"/>
                      <a:pt x="28" y="138"/>
                      <a:pt x="28" y="138"/>
                    </a:cubicBezTo>
                    <a:cubicBezTo>
                      <a:pt x="0" y="138"/>
                      <a:pt x="0" y="138"/>
                      <a:pt x="0" y="138"/>
                    </a:cubicBezTo>
                    <a:cubicBezTo>
                      <a:pt x="0" y="166"/>
                      <a:pt x="0" y="166"/>
                      <a:pt x="0" y="166"/>
                    </a:cubicBezTo>
                    <a:cubicBezTo>
                      <a:pt x="0" y="223"/>
                      <a:pt x="0" y="223"/>
                      <a:pt x="0" y="223"/>
                    </a:cubicBezTo>
                    <a:cubicBezTo>
                      <a:pt x="0" y="252"/>
                      <a:pt x="0" y="252"/>
                      <a:pt x="0" y="252"/>
                    </a:cubicBezTo>
                    <a:cubicBezTo>
                      <a:pt x="0" y="309"/>
                      <a:pt x="0" y="309"/>
                      <a:pt x="0" y="309"/>
                    </a:cubicBezTo>
                    <a:cubicBezTo>
                      <a:pt x="0" y="337"/>
                      <a:pt x="0" y="337"/>
                      <a:pt x="0" y="337"/>
                    </a:cubicBezTo>
                    <a:cubicBezTo>
                      <a:pt x="28" y="337"/>
                      <a:pt x="28" y="337"/>
                      <a:pt x="28" y="337"/>
                    </a:cubicBezTo>
                    <a:cubicBezTo>
                      <a:pt x="99" y="337"/>
                      <a:pt x="99" y="337"/>
                      <a:pt x="99" y="337"/>
                    </a:cubicBezTo>
                    <a:cubicBezTo>
                      <a:pt x="128" y="337"/>
                      <a:pt x="128" y="337"/>
                      <a:pt x="128" y="337"/>
                    </a:cubicBezTo>
                    <a:cubicBezTo>
                      <a:pt x="198" y="337"/>
                      <a:pt x="198" y="337"/>
                      <a:pt x="198" y="337"/>
                    </a:cubicBezTo>
                    <a:cubicBezTo>
                      <a:pt x="227" y="337"/>
                      <a:pt x="227" y="337"/>
                      <a:pt x="227" y="337"/>
                    </a:cubicBezTo>
                    <a:cubicBezTo>
                      <a:pt x="294" y="337"/>
                      <a:pt x="294" y="337"/>
                      <a:pt x="294" y="337"/>
                    </a:cubicBezTo>
                    <a:cubicBezTo>
                      <a:pt x="298" y="337"/>
                      <a:pt x="298" y="337"/>
                      <a:pt x="298" y="337"/>
                    </a:cubicBezTo>
                    <a:cubicBezTo>
                      <a:pt x="312" y="337"/>
                      <a:pt x="312" y="337"/>
                      <a:pt x="312" y="337"/>
                    </a:cubicBezTo>
                    <a:cubicBezTo>
                      <a:pt x="322" y="337"/>
                      <a:pt x="322" y="337"/>
                      <a:pt x="322" y="337"/>
                    </a:cubicBezTo>
                    <a:cubicBezTo>
                      <a:pt x="326" y="337"/>
                      <a:pt x="326" y="337"/>
                      <a:pt x="326" y="337"/>
                    </a:cubicBezTo>
                    <a:cubicBezTo>
                      <a:pt x="326" y="330"/>
                      <a:pt x="326" y="330"/>
                      <a:pt x="326" y="330"/>
                    </a:cubicBezTo>
                    <a:lnTo>
                      <a:pt x="4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Oval 12">
                <a:extLst>
                  <a:ext uri="{FF2B5EF4-FFF2-40B4-BE49-F238E27FC236}">
                    <a16:creationId xmlns:a16="http://schemas.microsoft.com/office/drawing/2014/main" xmlns="" id="{FCBD4456-7C07-4EAD-AE4F-C81774C2B5A5}"/>
                  </a:ext>
                </a:extLst>
              </p:cNvPr>
              <p:cNvSpPr>
                <a:spLocks noChangeArrowheads="1"/>
              </p:cNvSpPr>
              <p:nvPr/>
            </p:nvSpPr>
            <p:spPr bwMode="auto">
              <a:xfrm>
                <a:off x="8456613" y="3676651"/>
                <a:ext cx="139700" cy="1793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 name="Freeform 13">
                <a:extLst>
                  <a:ext uri="{FF2B5EF4-FFF2-40B4-BE49-F238E27FC236}">
                    <a16:creationId xmlns:a16="http://schemas.microsoft.com/office/drawing/2014/main" xmlns="" id="{F6237BF3-8F48-468F-96CA-3C3C74F304A8}"/>
                  </a:ext>
                </a:extLst>
              </p:cNvPr>
              <p:cNvSpPr>
                <a:spLocks/>
              </p:cNvSpPr>
              <p:nvPr/>
            </p:nvSpPr>
            <p:spPr bwMode="auto">
              <a:xfrm>
                <a:off x="8389938" y="3856038"/>
                <a:ext cx="274637" cy="723900"/>
              </a:xfrm>
              <a:custGeom>
                <a:avLst/>
                <a:gdLst>
                  <a:gd name="T0" fmla="*/ 198 w 198"/>
                  <a:gd name="T1" fmla="*/ 277 h 524"/>
                  <a:gd name="T2" fmla="*/ 191 w 198"/>
                  <a:gd name="T3" fmla="*/ 30 h 524"/>
                  <a:gd name="T4" fmla="*/ 141 w 198"/>
                  <a:gd name="T5" fmla="*/ 0 h 524"/>
                  <a:gd name="T6" fmla="*/ 140 w 198"/>
                  <a:gd name="T7" fmla="*/ 0 h 524"/>
                  <a:gd name="T8" fmla="*/ 99 w 198"/>
                  <a:gd name="T9" fmla="*/ 22 h 524"/>
                  <a:gd name="T10" fmla="*/ 57 w 198"/>
                  <a:gd name="T11" fmla="*/ 0 h 524"/>
                  <a:gd name="T12" fmla="*/ 57 w 198"/>
                  <a:gd name="T13" fmla="*/ 0 h 524"/>
                  <a:gd name="T14" fmla="*/ 6 w 198"/>
                  <a:gd name="T15" fmla="*/ 30 h 524"/>
                  <a:gd name="T16" fmla="*/ 0 w 198"/>
                  <a:gd name="T17" fmla="*/ 277 h 524"/>
                  <a:gd name="T18" fmla="*/ 12 w 198"/>
                  <a:gd name="T19" fmla="*/ 289 h 524"/>
                  <a:gd name="T20" fmla="*/ 17 w 198"/>
                  <a:gd name="T21" fmla="*/ 289 h 524"/>
                  <a:gd name="T22" fmla="*/ 29 w 198"/>
                  <a:gd name="T23" fmla="*/ 277 h 524"/>
                  <a:gd name="T24" fmla="*/ 29 w 198"/>
                  <a:gd name="T25" fmla="*/ 249 h 524"/>
                  <a:gd name="T26" fmla="*/ 52 w 198"/>
                  <a:gd name="T27" fmla="*/ 254 h 524"/>
                  <a:gd name="T28" fmla="*/ 51 w 198"/>
                  <a:gd name="T29" fmla="*/ 261 h 524"/>
                  <a:gd name="T30" fmla="*/ 51 w 198"/>
                  <a:gd name="T31" fmla="*/ 500 h 524"/>
                  <a:gd name="T32" fmla="*/ 66 w 198"/>
                  <a:gd name="T33" fmla="*/ 524 h 524"/>
                  <a:gd name="T34" fmla="*/ 73 w 198"/>
                  <a:gd name="T35" fmla="*/ 524 h 524"/>
                  <a:gd name="T36" fmla="*/ 89 w 198"/>
                  <a:gd name="T37" fmla="*/ 500 h 524"/>
                  <a:gd name="T38" fmla="*/ 89 w 198"/>
                  <a:gd name="T39" fmla="*/ 261 h 524"/>
                  <a:gd name="T40" fmla="*/ 88 w 198"/>
                  <a:gd name="T41" fmla="*/ 256 h 524"/>
                  <a:gd name="T42" fmla="*/ 109 w 198"/>
                  <a:gd name="T43" fmla="*/ 256 h 524"/>
                  <a:gd name="T44" fmla="*/ 108 w 198"/>
                  <a:gd name="T45" fmla="*/ 261 h 524"/>
                  <a:gd name="T46" fmla="*/ 108 w 198"/>
                  <a:gd name="T47" fmla="*/ 500 h 524"/>
                  <a:gd name="T48" fmla="*/ 125 w 198"/>
                  <a:gd name="T49" fmla="*/ 524 h 524"/>
                  <a:gd name="T50" fmla="*/ 131 w 198"/>
                  <a:gd name="T51" fmla="*/ 524 h 524"/>
                  <a:gd name="T52" fmla="*/ 147 w 198"/>
                  <a:gd name="T53" fmla="*/ 500 h 524"/>
                  <a:gd name="T54" fmla="*/ 147 w 198"/>
                  <a:gd name="T55" fmla="*/ 261 h 524"/>
                  <a:gd name="T56" fmla="*/ 145 w 198"/>
                  <a:gd name="T57" fmla="*/ 253 h 524"/>
                  <a:gd name="T58" fmla="*/ 169 w 198"/>
                  <a:gd name="T59" fmla="*/ 249 h 524"/>
                  <a:gd name="T60" fmla="*/ 169 w 198"/>
                  <a:gd name="T61" fmla="*/ 277 h 524"/>
                  <a:gd name="T62" fmla="*/ 181 w 198"/>
                  <a:gd name="T63" fmla="*/ 289 h 524"/>
                  <a:gd name="T64" fmla="*/ 186 w 198"/>
                  <a:gd name="T65" fmla="*/ 289 h 524"/>
                  <a:gd name="T66" fmla="*/ 198 w 198"/>
                  <a:gd name="T67" fmla="*/ 27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524">
                    <a:moveTo>
                      <a:pt x="198" y="277"/>
                    </a:moveTo>
                    <a:cubicBezTo>
                      <a:pt x="191" y="30"/>
                      <a:pt x="191" y="30"/>
                      <a:pt x="191" y="30"/>
                    </a:cubicBezTo>
                    <a:cubicBezTo>
                      <a:pt x="191" y="15"/>
                      <a:pt x="163" y="0"/>
                      <a:pt x="141" y="0"/>
                    </a:cubicBezTo>
                    <a:cubicBezTo>
                      <a:pt x="140" y="0"/>
                      <a:pt x="140" y="0"/>
                      <a:pt x="140" y="0"/>
                    </a:cubicBezTo>
                    <a:cubicBezTo>
                      <a:pt x="129" y="14"/>
                      <a:pt x="115" y="22"/>
                      <a:pt x="99" y="22"/>
                    </a:cubicBezTo>
                    <a:cubicBezTo>
                      <a:pt x="83" y="22"/>
                      <a:pt x="68" y="14"/>
                      <a:pt x="57" y="0"/>
                    </a:cubicBezTo>
                    <a:cubicBezTo>
                      <a:pt x="57" y="0"/>
                      <a:pt x="57" y="0"/>
                      <a:pt x="57" y="0"/>
                    </a:cubicBezTo>
                    <a:cubicBezTo>
                      <a:pt x="57" y="0"/>
                      <a:pt x="6" y="10"/>
                      <a:pt x="6" y="30"/>
                    </a:cubicBezTo>
                    <a:cubicBezTo>
                      <a:pt x="0" y="277"/>
                      <a:pt x="0" y="277"/>
                      <a:pt x="0" y="277"/>
                    </a:cubicBezTo>
                    <a:cubicBezTo>
                      <a:pt x="0" y="277"/>
                      <a:pt x="0" y="289"/>
                      <a:pt x="12" y="289"/>
                    </a:cubicBezTo>
                    <a:cubicBezTo>
                      <a:pt x="17" y="289"/>
                      <a:pt x="17" y="289"/>
                      <a:pt x="17" y="289"/>
                    </a:cubicBezTo>
                    <a:cubicBezTo>
                      <a:pt x="17" y="289"/>
                      <a:pt x="29" y="289"/>
                      <a:pt x="29" y="277"/>
                    </a:cubicBezTo>
                    <a:cubicBezTo>
                      <a:pt x="29" y="249"/>
                      <a:pt x="29" y="249"/>
                      <a:pt x="29" y="249"/>
                    </a:cubicBezTo>
                    <a:cubicBezTo>
                      <a:pt x="32" y="251"/>
                      <a:pt x="48" y="253"/>
                      <a:pt x="52" y="254"/>
                    </a:cubicBezTo>
                    <a:cubicBezTo>
                      <a:pt x="51" y="256"/>
                      <a:pt x="51" y="258"/>
                      <a:pt x="51" y="261"/>
                    </a:cubicBezTo>
                    <a:cubicBezTo>
                      <a:pt x="51" y="500"/>
                      <a:pt x="51" y="500"/>
                      <a:pt x="51" y="500"/>
                    </a:cubicBezTo>
                    <a:cubicBezTo>
                      <a:pt x="51" y="500"/>
                      <a:pt x="51" y="524"/>
                      <a:pt x="66" y="524"/>
                    </a:cubicBezTo>
                    <a:cubicBezTo>
                      <a:pt x="73" y="524"/>
                      <a:pt x="73" y="524"/>
                      <a:pt x="73" y="524"/>
                    </a:cubicBezTo>
                    <a:cubicBezTo>
                      <a:pt x="73" y="524"/>
                      <a:pt x="89" y="524"/>
                      <a:pt x="89" y="500"/>
                    </a:cubicBezTo>
                    <a:cubicBezTo>
                      <a:pt x="89" y="261"/>
                      <a:pt x="89" y="261"/>
                      <a:pt x="89" y="261"/>
                    </a:cubicBezTo>
                    <a:cubicBezTo>
                      <a:pt x="89" y="261"/>
                      <a:pt x="89" y="259"/>
                      <a:pt x="88" y="256"/>
                    </a:cubicBezTo>
                    <a:cubicBezTo>
                      <a:pt x="109" y="256"/>
                      <a:pt x="109" y="256"/>
                      <a:pt x="109" y="256"/>
                    </a:cubicBezTo>
                    <a:cubicBezTo>
                      <a:pt x="109" y="258"/>
                      <a:pt x="108" y="259"/>
                      <a:pt x="108" y="261"/>
                    </a:cubicBezTo>
                    <a:cubicBezTo>
                      <a:pt x="108" y="500"/>
                      <a:pt x="108" y="500"/>
                      <a:pt x="108" y="500"/>
                    </a:cubicBezTo>
                    <a:cubicBezTo>
                      <a:pt x="108" y="500"/>
                      <a:pt x="109" y="524"/>
                      <a:pt x="125" y="524"/>
                    </a:cubicBezTo>
                    <a:cubicBezTo>
                      <a:pt x="131" y="524"/>
                      <a:pt x="131" y="524"/>
                      <a:pt x="131" y="524"/>
                    </a:cubicBezTo>
                    <a:cubicBezTo>
                      <a:pt x="131" y="524"/>
                      <a:pt x="147" y="524"/>
                      <a:pt x="147" y="500"/>
                    </a:cubicBezTo>
                    <a:cubicBezTo>
                      <a:pt x="147" y="261"/>
                      <a:pt x="147" y="261"/>
                      <a:pt x="147" y="261"/>
                    </a:cubicBezTo>
                    <a:cubicBezTo>
                      <a:pt x="147" y="261"/>
                      <a:pt x="147" y="258"/>
                      <a:pt x="145" y="253"/>
                    </a:cubicBezTo>
                    <a:cubicBezTo>
                      <a:pt x="149" y="252"/>
                      <a:pt x="165" y="251"/>
                      <a:pt x="169" y="249"/>
                    </a:cubicBezTo>
                    <a:cubicBezTo>
                      <a:pt x="169" y="277"/>
                      <a:pt x="169" y="277"/>
                      <a:pt x="169" y="277"/>
                    </a:cubicBezTo>
                    <a:cubicBezTo>
                      <a:pt x="169" y="277"/>
                      <a:pt x="169" y="289"/>
                      <a:pt x="181" y="289"/>
                    </a:cubicBezTo>
                    <a:cubicBezTo>
                      <a:pt x="186" y="289"/>
                      <a:pt x="186" y="289"/>
                      <a:pt x="186" y="289"/>
                    </a:cubicBezTo>
                    <a:cubicBezTo>
                      <a:pt x="186" y="289"/>
                      <a:pt x="198" y="289"/>
                      <a:pt x="198" y="2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9" name="Gruppieren 88">
              <a:extLst>
                <a:ext uri="{FF2B5EF4-FFF2-40B4-BE49-F238E27FC236}">
                  <a16:creationId xmlns:a16="http://schemas.microsoft.com/office/drawing/2014/main" xmlns="" id="{B6544F9A-9CD7-4AF5-8FB1-0C8B3CC4FC66}"/>
                </a:ext>
              </a:extLst>
            </p:cNvPr>
            <p:cNvGrpSpPr/>
            <p:nvPr/>
          </p:nvGrpSpPr>
          <p:grpSpPr>
            <a:xfrm>
              <a:off x="5910117" y="5886078"/>
              <a:ext cx="372377" cy="295993"/>
              <a:chOff x="9351963" y="5937250"/>
              <a:chExt cx="742950" cy="590551"/>
            </a:xfrm>
            <a:solidFill>
              <a:schemeClr val="tx2"/>
            </a:solidFill>
          </p:grpSpPr>
          <p:sp>
            <p:nvSpPr>
              <p:cNvPr id="90" name="Freeform 17">
                <a:extLst>
                  <a:ext uri="{FF2B5EF4-FFF2-40B4-BE49-F238E27FC236}">
                    <a16:creationId xmlns:a16="http://schemas.microsoft.com/office/drawing/2014/main" xmlns="" id="{77435022-D022-4DB8-B58F-C0F95D358CCA}"/>
                  </a:ext>
                </a:extLst>
              </p:cNvPr>
              <p:cNvSpPr>
                <a:spLocks noEditPoints="1"/>
              </p:cNvSpPr>
              <p:nvPr/>
            </p:nvSpPr>
            <p:spPr bwMode="auto">
              <a:xfrm>
                <a:off x="9351963" y="6097588"/>
                <a:ext cx="600075" cy="430213"/>
              </a:xfrm>
              <a:custGeom>
                <a:avLst/>
                <a:gdLst>
                  <a:gd name="T0" fmla="*/ 258 w 262"/>
                  <a:gd name="T1" fmla="*/ 94 h 187"/>
                  <a:gd name="T2" fmla="*/ 252 w 262"/>
                  <a:gd name="T3" fmla="*/ 100 h 187"/>
                  <a:gd name="T4" fmla="*/ 246 w 262"/>
                  <a:gd name="T5" fmla="*/ 94 h 187"/>
                  <a:gd name="T6" fmla="*/ 252 w 262"/>
                  <a:gd name="T7" fmla="*/ 87 h 187"/>
                  <a:gd name="T8" fmla="*/ 258 w 262"/>
                  <a:gd name="T9" fmla="*/ 94 h 187"/>
                  <a:gd name="T10" fmla="*/ 12 w 262"/>
                  <a:gd name="T11" fmla="*/ 94 h 187"/>
                  <a:gd name="T12" fmla="*/ 9 w 262"/>
                  <a:gd name="T13" fmla="*/ 96 h 187"/>
                  <a:gd name="T14" fmla="*/ 7 w 262"/>
                  <a:gd name="T15" fmla="*/ 94 h 187"/>
                  <a:gd name="T16" fmla="*/ 9 w 262"/>
                  <a:gd name="T17" fmla="*/ 91 h 187"/>
                  <a:gd name="T18" fmla="*/ 12 w 262"/>
                  <a:gd name="T19" fmla="*/ 94 h 187"/>
                  <a:gd name="T20" fmla="*/ 262 w 262"/>
                  <a:gd name="T21" fmla="*/ 166 h 187"/>
                  <a:gd name="T22" fmla="*/ 262 w 262"/>
                  <a:gd name="T23" fmla="*/ 75 h 187"/>
                  <a:gd name="T24" fmla="*/ 242 w 262"/>
                  <a:gd name="T25" fmla="*/ 75 h 187"/>
                  <a:gd name="T26" fmla="*/ 242 w 262"/>
                  <a:gd name="T27" fmla="*/ 171 h 187"/>
                  <a:gd name="T28" fmla="*/ 20 w 262"/>
                  <a:gd name="T29" fmla="*/ 171 h 187"/>
                  <a:gd name="T30" fmla="*/ 20 w 262"/>
                  <a:gd name="T31" fmla="*/ 16 h 187"/>
                  <a:gd name="T32" fmla="*/ 137 w 262"/>
                  <a:gd name="T33" fmla="*/ 16 h 187"/>
                  <a:gd name="T34" fmla="*/ 140 w 262"/>
                  <a:gd name="T35" fmla="*/ 0 h 187"/>
                  <a:gd name="T36" fmla="*/ 21 w 262"/>
                  <a:gd name="T37" fmla="*/ 0 h 187"/>
                  <a:gd name="T38" fmla="*/ 0 w 262"/>
                  <a:gd name="T39" fmla="*/ 21 h 187"/>
                  <a:gd name="T40" fmla="*/ 0 w 262"/>
                  <a:gd name="T41" fmla="*/ 166 h 187"/>
                  <a:gd name="T42" fmla="*/ 21 w 262"/>
                  <a:gd name="T43" fmla="*/ 187 h 187"/>
                  <a:gd name="T44" fmla="*/ 241 w 262"/>
                  <a:gd name="T45" fmla="*/ 187 h 187"/>
                  <a:gd name="T46" fmla="*/ 262 w 262"/>
                  <a:gd name="T47" fmla="*/ 16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187">
                    <a:moveTo>
                      <a:pt x="258" y="94"/>
                    </a:moveTo>
                    <a:cubicBezTo>
                      <a:pt x="258" y="97"/>
                      <a:pt x="256" y="100"/>
                      <a:pt x="252" y="100"/>
                    </a:cubicBezTo>
                    <a:cubicBezTo>
                      <a:pt x="249" y="100"/>
                      <a:pt x="246" y="97"/>
                      <a:pt x="246" y="94"/>
                    </a:cubicBezTo>
                    <a:cubicBezTo>
                      <a:pt x="246" y="90"/>
                      <a:pt x="249" y="87"/>
                      <a:pt x="252" y="87"/>
                    </a:cubicBezTo>
                    <a:cubicBezTo>
                      <a:pt x="256" y="87"/>
                      <a:pt x="258" y="90"/>
                      <a:pt x="258" y="94"/>
                    </a:cubicBezTo>
                    <a:moveTo>
                      <a:pt x="12" y="94"/>
                    </a:moveTo>
                    <a:cubicBezTo>
                      <a:pt x="12" y="95"/>
                      <a:pt x="11" y="96"/>
                      <a:pt x="9" y="96"/>
                    </a:cubicBezTo>
                    <a:cubicBezTo>
                      <a:pt x="8" y="96"/>
                      <a:pt x="7" y="95"/>
                      <a:pt x="7" y="94"/>
                    </a:cubicBezTo>
                    <a:cubicBezTo>
                      <a:pt x="7" y="92"/>
                      <a:pt x="8" y="91"/>
                      <a:pt x="9" y="91"/>
                    </a:cubicBezTo>
                    <a:cubicBezTo>
                      <a:pt x="11" y="91"/>
                      <a:pt x="12" y="92"/>
                      <a:pt x="12" y="94"/>
                    </a:cubicBezTo>
                    <a:moveTo>
                      <a:pt x="262" y="166"/>
                    </a:moveTo>
                    <a:cubicBezTo>
                      <a:pt x="262" y="75"/>
                      <a:pt x="262" y="75"/>
                      <a:pt x="262" y="75"/>
                    </a:cubicBezTo>
                    <a:cubicBezTo>
                      <a:pt x="242" y="75"/>
                      <a:pt x="242" y="75"/>
                      <a:pt x="242" y="75"/>
                    </a:cubicBezTo>
                    <a:cubicBezTo>
                      <a:pt x="242" y="171"/>
                      <a:pt x="242" y="171"/>
                      <a:pt x="242" y="171"/>
                    </a:cubicBezTo>
                    <a:cubicBezTo>
                      <a:pt x="20" y="171"/>
                      <a:pt x="20" y="171"/>
                      <a:pt x="20" y="171"/>
                    </a:cubicBezTo>
                    <a:cubicBezTo>
                      <a:pt x="20" y="16"/>
                      <a:pt x="20" y="16"/>
                      <a:pt x="20" y="16"/>
                    </a:cubicBezTo>
                    <a:cubicBezTo>
                      <a:pt x="137" y="16"/>
                      <a:pt x="137" y="16"/>
                      <a:pt x="137" y="16"/>
                    </a:cubicBezTo>
                    <a:cubicBezTo>
                      <a:pt x="137" y="10"/>
                      <a:pt x="137" y="5"/>
                      <a:pt x="140" y="0"/>
                    </a:cubicBezTo>
                    <a:cubicBezTo>
                      <a:pt x="21" y="0"/>
                      <a:pt x="21" y="0"/>
                      <a:pt x="21" y="0"/>
                    </a:cubicBezTo>
                    <a:cubicBezTo>
                      <a:pt x="21" y="0"/>
                      <a:pt x="0" y="0"/>
                      <a:pt x="0" y="21"/>
                    </a:cubicBezTo>
                    <a:cubicBezTo>
                      <a:pt x="0" y="166"/>
                      <a:pt x="0" y="166"/>
                      <a:pt x="0" y="166"/>
                    </a:cubicBezTo>
                    <a:cubicBezTo>
                      <a:pt x="0" y="166"/>
                      <a:pt x="0" y="187"/>
                      <a:pt x="21" y="187"/>
                    </a:cubicBezTo>
                    <a:cubicBezTo>
                      <a:pt x="241" y="187"/>
                      <a:pt x="241" y="187"/>
                      <a:pt x="241" y="187"/>
                    </a:cubicBezTo>
                    <a:cubicBezTo>
                      <a:pt x="241" y="187"/>
                      <a:pt x="262" y="187"/>
                      <a:pt x="262" y="166"/>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 name="Freeform 18">
                <a:extLst>
                  <a:ext uri="{FF2B5EF4-FFF2-40B4-BE49-F238E27FC236}">
                    <a16:creationId xmlns:a16="http://schemas.microsoft.com/office/drawing/2014/main" xmlns="" id="{A426A95B-328F-487C-BC74-4CF33E52F9FC}"/>
                  </a:ext>
                </a:extLst>
              </p:cNvPr>
              <p:cNvSpPr>
                <a:spLocks/>
              </p:cNvSpPr>
              <p:nvPr/>
            </p:nvSpPr>
            <p:spPr bwMode="auto">
              <a:xfrm>
                <a:off x="9615488" y="6019800"/>
                <a:ext cx="479425" cy="238125"/>
              </a:xfrm>
              <a:custGeom>
                <a:avLst/>
                <a:gdLst>
                  <a:gd name="T0" fmla="*/ 0 w 209"/>
                  <a:gd name="T1" fmla="*/ 78 h 104"/>
                  <a:gd name="T2" fmla="*/ 27 w 209"/>
                  <a:gd name="T3" fmla="*/ 51 h 104"/>
                  <a:gd name="T4" fmla="*/ 31 w 209"/>
                  <a:gd name="T5" fmla="*/ 51 h 104"/>
                  <a:gd name="T6" fmla="*/ 31 w 209"/>
                  <a:gd name="T7" fmla="*/ 47 h 104"/>
                  <a:gd name="T8" fmla="*/ 64 w 209"/>
                  <a:gd name="T9" fmla="*/ 14 h 104"/>
                  <a:gd name="T10" fmla="*/ 86 w 209"/>
                  <a:gd name="T11" fmla="*/ 23 h 104"/>
                  <a:gd name="T12" fmla="*/ 123 w 209"/>
                  <a:gd name="T13" fmla="*/ 0 h 104"/>
                  <a:gd name="T14" fmla="*/ 163 w 209"/>
                  <a:gd name="T15" fmla="*/ 38 h 104"/>
                  <a:gd name="T16" fmla="*/ 175 w 209"/>
                  <a:gd name="T17" fmla="*/ 35 h 104"/>
                  <a:gd name="T18" fmla="*/ 209 w 209"/>
                  <a:gd name="T19" fmla="*/ 70 h 104"/>
                  <a:gd name="T20" fmla="*/ 178 w 209"/>
                  <a:gd name="T21" fmla="*/ 104 h 104"/>
                  <a:gd name="T22" fmla="*/ 178 w 209"/>
                  <a:gd name="T23" fmla="*/ 104 h 104"/>
                  <a:gd name="T24" fmla="*/ 178 w 209"/>
                  <a:gd name="T25" fmla="*/ 104 h 104"/>
                  <a:gd name="T26" fmla="*/ 175 w 209"/>
                  <a:gd name="T27" fmla="*/ 104 h 104"/>
                  <a:gd name="T28" fmla="*/ 172 w 209"/>
                  <a:gd name="T29" fmla="*/ 104 h 104"/>
                  <a:gd name="T30" fmla="*/ 26 w 209"/>
                  <a:gd name="T31" fmla="*/ 104 h 104"/>
                  <a:gd name="T32" fmla="*/ 26 w 209"/>
                  <a:gd name="T33" fmla="*/ 104 h 104"/>
                  <a:gd name="T34" fmla="*/ 0 w 209"/>
                  <a:gd name="T35"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104">
                    <a:moveTo>
                      <a:pt x="0" y="78"/>
                    </a:moveTo>
                    <a:cubicBezTo>
                      <a:pt x="0" y="63"/>
                      <a:pt x="12" y="51"/>
                      <a:pt x="27" y="51"/>
                    </a:cubicBezTo>
                    <a:cubicBezTo>
                      <a:pt x="28" y="51"/>
                      <a:pt x="30" y="51"/>
                      <a:pt x="31" y="51"/>
                    </a:cubicBezTo>
                    <a:cubicBezTo>
                      <a:pt x="31" y="50"/>
                      <a:pt x="31" y="49"/>
                      <a:pt x="31" y="47"/>
                    </a:cubicBezTo>
                    <a:cubicBezTo>
                      <a:pt x="31" y="29"/>
                      <a:pt x="46" y="14"/>
                      <a:pt x="64" y="14"/>
                    </a:cubicBezTo>
                    <a:cubicBezTo>
                      <a:pt x="73" y="14"/>
                      <a:pt x="81" y="18"/>
                      <a:pt x="86" y="23"/>
                    </a:cubicBezTo>
                    <a:cubicBezTo>
                      <a:pt x="93" y="10"/>
                      <a:pt x="107" y="0"/>
                      <a:pt x="123" y="0"/>
                    </a:cubicBezTo>
                    <a:cubicBezTo>
                      <a:pt x="144" y="0"/>
                      <a:pt x="162" y="17"/>
                      <a:pt x="163" y="38"/>
                    </a:cubicBezTo>
                    <a:cubicBezTo>
                      <a:pt x="167" y="36"/>
                      <a:pt x="171" y="35"/>
                      <a:pt x="175" y="35"/>
                    </a:cubicBezTo>
                    <a:cubicBezTo>
                      <a:pt x="194" y="35"/>
                      <a:pt x="209" y="51"/>
                      <a:pt x="209" y="70"/>
                    </a:cubicBezTo>
                    <a:cubicBezTo>
                      <a:pt x="209" y="88"/>
                      <a:pt x="195" y="103"/>
                      <a:pt x="178" y="104"/>
                    </a:cubicBezTo>
                    <a:cubicBezTo>
                      <a:pt x="178" y="104"/>
                      <a:pt x="178" y="104"/>
                      <a:pt x="178" y="104"/>
                    </a:cubicBezTo>
                    <a:cubicBezTo>
                      <a:pt x="178" y="104"/>
                      <a:pt x="178" y="104"/>
                      <a:pt x="178" y="104"/>
                    </a:cubicBezTo>
                    <a:cubicBezTo>
                      <a:pt x="177" y="104"/>
                      <a:pt x="176" y="104"/>
                      <a:pt x="175" y="104"/>
                    </a:cubicBezTo>
                    <a:cubicBezTo>
                      <a:pt x="174" y="104"/>
                      <a:pt x="173" y="104"/>
                      <a:pt x="172" y="104"/>
                    </a:cubicBezTo>
                    <a:cubicBezTo>
                      <a:pt x="26" y="104"/>
                      <a:pt x="26" y="104"/>
                      <a:pt x="26" y="104"/>
                    </a:cubicBezTo>
                    <a:cubicBezTo>
                      <a:pt x="26" y="104"/>
                      <a:pt x="26" y="104"/>
                      <a:pt x="26" y="104"/>
                    </a:cubicBezTo>
                    <a:cubicBezTo>
                      <a:pt x="12" y="103"/>
                      <a:pt x="0" y="92"/>
                      <a:pt x="0" y="78"/>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19">
                <a:extLst>
                  <a:ext uri="{FF2B5EF4-FFF2-40B4-BE49-F238E27FC236}">
                    <a16:creationId xmlns:a16="http://schemas.microsoft.com/office/drawing/2014/main" xmlns="" id="{1176495A-E632-454D-AF69-38844F105788}"/>
                  </a:ext>
                </a:extLst>
              </p:cNvPr>
              <p:cNvSpPr>
                <a:spLocks/>
              </p:cNvSpPr>
              <p:nvPr/>
            </p:nvSpPr>
            <p:spPr bwMode="auto">
              <a:xfrm>
                <a:off x="9755188" y="5937250"/>
                <a:ext cx="307975" cy="158750"/>
              </a:xfrm>
              <a:custGeom>
                <a:avLst/>
                <a:gdLst>
                  <a:gd name="T0" fmla="*/ 131 w 134"/>
                  <a:gd name="T1" fmla="*/ 69 h 69"/>
                  <a:gd name="T2" fmla="*/ 134 w 134"/>
                  <a:gd name="T3" fmla="*/ 58 h 69"/>
                  <a:gd name="T4" fmla="*/ 110 w 134"/>
                  <a:gd name="T5" fmla="*/ 35 h 69"/>
                  <a:gd name="T6" fmla="*/ 109 w 134"/>
                  <a:gd name="T7" fmla="*/ 35 h 69"/>
                  <a:gd name="T8" fmla="*/ 73 w 134"/>
                  <a:gd name="T9" fmla="*/ 0 h 69"/>
                  <a:gd name="T10" fmla="*/ 41 w 134"/>
                  <a:gd name="T11" fmla="*/ 19 h 69"/>
                  <a:gd name="T12" fmla="*/ 30 w 134"/>
                  <a:gd name="T13" fmla="*/ 17 h 69"/>
                  <a:gd name="T14" fmla="*/ 0 w 134"/>
                  <a:gd name="T15" fmla="*/ 44 h 69"/>
                  <a:gd name="T16" fmla="*/ 3 w 134"/>
                  <a:gd name="T17" fmla="*/ 44 h 69"/>
                  <a:gd name="T18" fmla="*/ 24 w 134"/>
                  <a:gd name="T19" fmla="*/ 51 h 69"/>
                  <a:gd name="T20" fmla="*/ 62 w 134"/>
                  <a:gd name="T21" fmla="*/ 29 h 69"/>
                  <a:gd name="T22" fmla="*/ 105 w 134"/>
                  <a:gd name="T23" fmla="*/ 67 h 69"/>
                  <a:gd name="T24" fmla="*/ 117 w 134"/>
                  <a:gd name="T25" fmla="*/ 65 h 69"/>
                  <a:gd name="T26" fmla="*/ 131 w 134"/>
                  <a:gd name="T2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69">
                    <a:moveTo>
                      <a:pt x="131" y="69"/>
                    </a:moveTo>
                    <a:cubicBezTo>
                      <a:pt x="133" y="66"/>
                      <a:pt x="134" y="62"/>
                      <a:pt x="134" y="58"/>
                    </a:cubicBezTo>
                    <a:cubicBezTo>
                      <a:pt x="134" y="45"/>
                      <a:pt x="123" y="35"/>
                      <a:pt x="110" y="35"/>
                    </a:cubicBezTo>
                    <a:cubicBezTo>
                      <a:pt x="110" y="35"/>
                      <a:pt x="109" y="35"/>
                      <a:pt x="109" y="35"/>
                    </a:cubicBezTo>
                    <a:cubicBezTo>
                      <a:pt x="109" y="16"/>
                      <a:pt x="93" y="0"/>
                      <a:pt x="73" y="0"/>
                    </a:cubicBezTo>
                    <a:cubicBezTo>
                      <a:pt x="59" y="0"/>
                      <a:pt x="47" y="8"/>
                      <a:pt x="41" y="19"/>
                    </a:cubicBezTo>
                    <a:cubicBezTo>
                      <a:pt x="38" y="18"/>
                      <a:pt x="34" y="17"/>
                      <a:pt x="30" y="17"/>
                    </a:cubicBezTo>
                    <a:cubicBezTo>
                      <a:pt x="14" y="17"/>
                      <a:pt x="1" y="29"/>
                      <a:pt x="0" y="44"/>
                    </a:cubicBezTo>
                    <a:cubicBezTo>
                      <a:pt x="1" y="44"/>
                      <a:pt x="2" y="44"/>
                      <a:pt x="3" y="44"/>
                    </a:cubicBezTo>
                    <a:cubicBezTo>
                      <a:pt x="12" y="44"/>
                      <a:pt x="18" y="46"/>
                      <a:pt x="24" y="51"/>
                    </a:cubicBezTo>
                    <a:cubicBezTo>
                      <a:pt x="31" y="38"/>
                      <a:pt x="46" y="29"/>
                      <a:pt x="62" y="29"/>
                    </a:cubicBezTo>
                    <a:cubicBezTo>
                      <a:pt x="83" y="29"/>
                      <a:pt x="103" y="46"/>
                      <a:pt x="105" y="67"/>
                    </a:cubicBezTo>
                    <a:cubicBezTo>
                      <a:pt x="109" y="65"/>
                      <a:pt x="113" y="65"/>
                      <a:pt x="117" y="65"/>
                    </a:cubicBezTo>
                    <a:cubicBezTo>
                      <a:pt x="123" y="65"/>
                      <a:pt x="126" y="66"/>
                      <a:pt x="131"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20">
                <a:extLst>
                  <a:ext uri="{FF2B5EF4-FFF2-40B4-BE49-F238E27FC236}">
                    <a16:creationId xmlns:a16="http://schemas.microsoft.com/office/drawing/2014/main" xmlns="" id="{581D0BE0-E973-4EAD-BC20-E53A662400C9}"/>
                  </a:ext>
                </a:extLst>
              </p:cNvPr>
              <p:cNvSpPr>
                <a:spLocks/>
              </p:cNvSpPr>
              <p:nvPr/>
            </p:nvSpPr>
            <p:spPr bwMode="auto">
              <a:xfrm>
                <a:off x="9409113" y="6143625"/>
                <a:ext cx="485775" cy="338138"/>
              </a:xfrm>
              <a:custGeom>
                <a:avLst/>
                <a:gdLst>
                  <a:gd name="T0" fmla="*/ 95 w 212"/>
                  <a:gd name="T1" fmla="*/ 0 h 147"/>
                  <a:gd name="T2" fmla="*/ 0 w 212"/>
                  <a:gd name="T3" fmla="*/ 0 h 147"/>
                  <a:gd name="T4" fmla="*/ 0 w 212"/>
                  <a:gd name="T5" fmla="*/ 147 h 147"/>
                  <a:gd name="T6" fmla="*/ 212 w 212"/>
                  <a:gd name="T7" fmla="*/ 147 h 147"/>
                  <a:gd name="T8" fmla="*/ 212 w 212"/>
                  <a:gd name="T9" fmla="*/ 56 h 147"/>
                  <a:gd name="T10" fmla="*/ 110 w 212"/>
                  <a:gd name="T11" fmla="*/ 56 h 147"/>
                  <a:gd name="T12" fmla="*/ 88 w 212"/>
                  <a:gd name="T13" fmla="*/ 44 h 147"/>
                  <a:gd name="T14" fmla="*/ 82 w 212"/>
                  <a:gd name="T15" fmla="*/ 27 h 147"/>
                  <a:gd name="T16" fmla="*/ 86 w 212"/>
                  <a:gd name="T17" fmla="*/ 9 h 147"/>
                  <a:gd name="T18" fmla="*/ 95 w 212"/>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147">
                    <a:moveTo>
                      <a:pt x="95" y="0"/>
                    </a:moveTo>
                    <a:cubicBezTo>
                      <a:pt x="0" y="0"/>
                      <a:pt x="0" y="0"/>
                      <a:pt x="0" y="0"/>
                    </a:cubicBezTo>
                    <a:cubicBezTo>
                      <a:pt x="0" y="147"/>
                      <a:pt x="0" y="147"/>
                      <a:pt x="0" y="147"/>
                    </a:cubicBezTo>
                    <a:cubicBezTo>
                      <a:pt x="212" y="147"/>
                      <a:pt x="212" y="147"/>
                      <a:pt x="212" y="147"/>
                    </a:cubicBezTo>
                    <a:cubicBezTo>
                      <a:pt x="212" y="56"/>
                      <a:pt x="212" y="56"/>
                      <a:pt x="212" y="56"/>
                    </a:cubicBezTo>
                    <a:cubicBezTo>
                      <a:pt x="110" y="56"/>
                      <a:pt x="110" y="56"/>
                      <a:pt x="110" y="56"/>
                    </a:cubicBezTo>
                    <a:cubicBezTo>
                      <a:pt x="101" y="56"/>
                      <a:pt x="92" y="51"/>
                      <a:pt x="88" y="44"/>
                    </a:cubicBezTo>
                    <a:cubicBezTo>
                      <a:pt x="85" y="40"/>
                      <a:pt x="82" y="34"/>
                      <a:pt x="82" y="27"/>
                    </a:cubicBezTo>
                    <a:cubicBezTo>
                      <a:pt x="81" y="20"/>
                      <a:pt x="83" y="15"/>
                      <a:pt x="86" y="9"/>
                    </a:cubicBezTo>
                    <a:cubicBezTo>
                      <a:pt x="89" y="3"/>
                      <a:pt x="93" y="1"/>
                      <a:pt x="95" y="0"/>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 name="Freeform 24">
              <a:extLst>
                <a:ext uri="{FF2B5EF4-FFF2-40B4-BE49-F238E27FC236}">
                  <a16:creationId xmlns:a16="http://schemas.microsoft.com/office/drawing/2014/main" xmlns="" id="{DD9109E7-7149-4C00-97D3-17EC3C2892CB}"/>
                </a:ext>
              </a:extLst>
            </p:cNvPr>
            <p:cNvSpPr>
              <a:spLocks noEditPoints="1"/>
            </p:cNvSpPr>
            <p:nvPr/>
          </p:nvSpPr>
          <p:spPr bwMode="auto">
            <a:xfrm>
              <a:off x="8052054" y="4518123"/>
              <a:ext cx="301461" cy="486696"/>
            </a:xfrm>
            <a:custGeom>
              <a:avLst/>
              <a:gdLst>
                <a:gd name="T0" fmla="*/ 246 w 403"/>
                <a:gd name="T1" fmla="*/ 653 h 653"/>
                <a:gd name="T2" fmla="*/ 246 w 403"/>
                <a:gd name="T3" fmla="*/ 549 h 653"/>
                <a:gd name="T4" fmla="*/ 149 w 403"/>
                <a:gd name="T5" fmla="*/ 65 h 653"/>
                <a:gd name="T6" fmla="*/ 49 w 403"/>
                <a:gd name="T7" fmla="*/ 65 h 653"/>
                <a:gd name="T8" fmla="*/ 149 w 403"/>
                <a:gd name="T9" fmla="*/ 65 h 653"/>
                <a:gd name="T10" fmla="*/ 331 w 403"/>
                <a:gd name="T11" fmla="*/ 278 h 653"/>
                <a:gd name="T12" fmla="*/ 331 w 403"/>
                <a:gd name="T13" fmla="*/ 370 h 653"/>
                <a:gd name="T14" fmla="*/ 403 w 403"/>
                <a:gd name="T15" fmla="*/ 503 h 653"/>
                <a:gd name="T16" fmla="*/ 360 w 403"/>
                <a:gd name="T17" fmla="*/ 370 h 653"/>
                <a:gd name="T18" fmla="*/ 331 w 403"/>
                <a:gd name="T19" fmla="*/ 386 h 653"/>
                <a:gd name="T20" fmla="*/ 301 w 403"/>
                <a:gd name="T21" fmla="*/ 370 h 653"/>
                <a:gd name="T22" fmla="*/ 217 w 403"/>
                <a:gd name="T23" fmla="*/ 402 h 653"/>
                <a:gd name="T24" fmla="*/ 141 w 403"/>
                <a:gd name="T25" fmla="*/ 129 h 653"/>
                <a:gd name="T26" fmla="*/ 99 w 403"/>
                <a:gd name="T27" fmla="*/ 151 h 653"/>
                <a:gd name="T28" fmla="*/ 57 w 403"/>
                <a:gd name="T29" fmla="*/ 129 h 653"/>
                <a:gd name="T30" fmla="*/ 0 w 403"/>
                <a:gd name="T31" fmla="*/ 406 h 653"/>
                <a:gd name="T32" fmla="*/ 17 w 403"/>
                <a:gd name="T33" fmla="*/ 418 h 653"/>
                <a:gd name="T34" fmla="*/ 29 w 403"/>
                <a:gd name="T35" fmla="*/ 378 h 653"/>
                <a:gd name="T36" fmla="*/ 51 w 403"/>
                <a:gd name="T37" fmla="*/ 390 h 653"/>
                <a:gd name="T38" fmla="*/ 67 w 403"/>
                <a:gd name="T39" fmla="*/ 653 h 653"/>
                <a:gd name="T40" fmla="*/ 89 w 403"/>
                <a:gd name="T41" fmla="*/ 629 h 653"/>
                <a:gd name="T42" fmla="*/ 89 w 403"/>
                <a:gd name="T43" fmla="*/ 385 h 653"/>
                <a:gd name="T44" fmla="*/ 109 w 403"/>
                <a:gd name="T45" fmla="*/ 390 h 653"/>
                <a:gd name="T46" fmla="*/ 125 w 403"/>
                <a:gd name="T47" fmla="*/ 653 h 653"/>
                <a:gd name="T48" fmla="*/ 147 w 403"/>
                <a:gd name="T49" fmla="*/ 629 h 653"/>
                <a:gd name="T50" fmla="*/ 145 w 403"/>
                <a:gd name="T51" fmla="*/ 382 h 653"/>
                <a:gd name="T52" fmla="*/ 170 w 403"/>
                <a:gd name="T53" fmla="*/ 296 h 653"/>
                <a:gd name="T54" fmla="*/ 200 w 403"/>
                <a:gd name="T55" fmla="*/ 418 h 653"/>
                <a:gd name="T56" fmla="*/ 203 w 403"/>
                <a:gd name="T57" fmla="*/ 418 h 653"/>
                <a:gd name="T58" fmla="*/ 290 w 403"/>
                <a:gd name="T59" fmla="*/ 432 h 653"/>
                <a:gd name="T60" fmla="*/ 305 w 403"/>
                <a:gd name="T61" fmla="*/ 541 h 653"/>
                <a:gd name="T62" fmla="*/ 313 w 403"/>
                <a:gd name="T63" fmla="*/ 653 h 653"/>
                <a:gd name="T64" fmla="*/ 326 w 403"/>
                <a:gd name="T65" fmla="*/ 636 h 653"/>
                <a:gd name="T66" fmla="*/ 335 w 403"/>
                <a:gd name="T67" fmla="*/ 541 h 653"/>
                <a:gd name="T68" fmla="*/ 346 w 403"/>
                <a:gd name="T69" fmla="*/ 653 h 653"/>
                <a:gd name="T70" fmla="*/ 356 w 403"/>
                <a:gd name="T71" fmla="*/ 636 h 653"/>
                <a:gd name="T72" fmla="*/ 380 w 403"/>
                <a:gd name="T73" fmla="*/ 529 h 653"/>
                <a:gd name="T74" fmla="*/ 372 w 403"/>
                <a:gd name="T75" fmla="*/ 445 h 653"/>
                <a:gd name="T76" fmla="*/ 395 w 403"/>
                <a:gd name="T77" fmla="*/ 517 h 653"/>
                <a:gd name="T78" fmla="*/ 403 w 403"/>
                <a:gd name="T79" fmla="*/ 50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653">
                  <a:moveTo>
                    <a:pt x="194" y="601"/>
                  </a:moveTo>
                  <a:cubicBezTo>
                    <a:pt x="194" y="630"/>
                    <a:pt x="217" y="653"/>
                    <a:pt x="246" y="653"/>
                  </a:cubicBezTo>
                  <a:cubicBezTo>
                    <a:pt x="275" y="653"/>
                    <a:pt x="298" y="630"/>
                    <a:pt x="298" y="601"/>
                  </a:cubicBezTo>
                  <a:cubicBezTo>
                    <a:pt x="298" y="572"/>
                    <a:pt x="275" y="549"/>
                    <a:pt x="246" y="549"/>
                  </a:cubicBezTo>
                  <a:cubicBezTo>
                    <a:pt x="217" y="549"/>
                    <a:pt x="194" y="572"/>
                    <a:pt x="194" y="601"/>
                  </a:cubicBezTo>
                  <a:moveTo>
                    <a:pt x="149" y="65"/>
                  </a:moveTo>
                  <a:cubicBezTo>
                    <a:pt x="149" y="29"/>
                    <a:pt x="127" y="0"/>
                    <a:pt x="99" y="0"/>
                  </a:cubicBezTo>
                  <a:cubicBezTo>
                    <a:pt x="71" y="0"/>
                    <a:pt x="49" y="29"/>
                    <a:pt x="49" y="65"/>
                  </a:cubicBezTo>
                  <a:cubicBezTo>
                    <a:pt x="49" y="100"/>
                    <a:pt x="71" y="129"/>
                    <a:pt x="99" y="129"/>
                  </a:cubicBezTo>
                  <a:cubicBezTo>
                    <a:pt x="127" y="129"/>
                    <a:pt x="149" y="100"/>
                    <a:pt x="149" y="65"/>
                  </a:cubicBezTo>
                  <a:moveTo>
                    <a:pt x="366" y="324"/>
                  </a:moveTo>
                  <a:cubicBezTo>
                    <a:pt x="366" y="299"/>
                    <a:pt x="350" y="278"/>
                    <a:pt x="331" y="278"/>
                  </a:cubicBezTo>
                  <a:cubicBezTo>
                    <a:pt x="311" y="278"/>
                    <a:pt x="295" y="299"/>
                    <a:pt x="295" y="324"/>
                  </a:cubicBezTo>
                  <a:cubicBezTo>
                    <a:pt x="295" y="350"/>
                    <a:pt x="311" y="370"/>
                    <a:pt x="331" y="370"/>
                  </a:cubicBezTo>
                  <a:cubicBezTo>
                    <a:pt x="350" y="370"/>
                    <a:pt x="366" y="350"/>
                    <a:pt x="366" y="324"/>
                  </a:cubicBezTo>
                  <a:moveTo>
                    <a:pt x="403" y="503"/>
                  </a:moveTo>
                  <a:cubicBezTo>
                    <a:pt x="387" y="399"/>
                    <a:pt x="387" y="399"/>
                    <a:pt x="387" y="399"/>
                  </a:cubicBezTo>
                  <a:cubicBezTo>
                    <a:pt x="387" y="389"/>
                    <a:pt x="376" y="370"/>
                    <a:pt x="360" y="370"/>
                  </a:cubicBezTo>
                  <a:cubicBezTo>
                    <a:pt x="360" y="370"/>
                    <a:pt x="360" y="370"/>
                    <a:pt x="360" y="370"/>
                  </a:cubicBezTo>
                  <a:cubicBezTo>
                    <a:pt x="352" y="380"/>
                    <a:pt x="342" y="386"/>
                    <a:pt x="331" y="386"/>
                  </a:cubicBezTo>
                  <a:cubicBezTo>
                    <a:pt x="327" y="386"/>
                    <a:pt x="309" y="380"/>
                    <a:pt x="301" y="370"/>
                  </a:cubicBezTo>
                  <a:cubicBezTo>
                    <a:pt x="301" y="370"/>
                    <a:pt x="301" y="370"/>
                    <a:pt x="301" y="370"/>
                  </a:cubicBezTo>
                  <a:cubicBezTo>
                    <a:pt x="301" y="370"/>
                    <a:pt x="292" y="384"/>
                    <a:pt x="272" y="396"/>
                  </a:cubicBezTo>
                  <a:cubicBezTo>
                    <a:pt x="272" y="396"/>
                    <a:pt x="255" y="407"/>
                    <a:pt x="217" y="402"/>
                  </a:cubicBezTo>
                  <a:cubicBezTo>
                    <a:pt x="192" y="159"/>
                    <a:pt x="192" y="159"/>
                    <a:pt x="192" y="159"/>
                  </a:cubicBezTo>
                  <a:cubicBezTo>
                    <a:pt x="191" y="144"/>
                    <a:pt x="164" y="129"/>
                    <a:pt x="141" y="129"/>
                  </a:cubicBezTo>
                  <a:cubicBezTo>
                    <a:pt x="140" y="129"/>
                    <a:pt x="140" y="129"/>
                    <a:pt x="140" y="129"/>
                  </a:cubicBezTo>
                  <a:cubicBezTo>
                    <a:pt x="130" y="143"/>
                    <a:pt x="115" y="151"/>
                    <a:pt x="99" y="151"/>
                  </a:cubicBezTo>
                  <a:cubicBezTo>
                    <a:pt x="83" y="151"/>
                    <a:pt x="68" y="143"/>
                    <a:pt x="58" y="129"/>
                  </a:cubicBezTo>
                  <a:cubicBezTo>
                    <a:pt x="57" y="129"/>
                    <a:pt x="57" y="129"/>
                    <a:pt x="57" y="129"/>
                  </a:cubicBezTo>
                  <a:cubicBezTo>
                    <a:pt x="57" y="129"/>
                    <a:pt x="6" y="139"/>
                    <a:pt x="6" y="159"/>
                  </a:cubicBezTo>
                  <a:cubicBezTo>
                    <a:pt x="0" y="406"/>
                    <a:pt x="0" y="406"/>
                    <a:pt x="0" y="406"/>
                  </a:cubicBezTo>
                  <a:cubicBezTo>
                    <a:pt x="0" y="406"/>
                    <a:pt x="0" y="418"/>
                    <a:pt x="12" y="418"/>
                  </a:cubicBezTo>
                  <a:cubicBezTo>
                    <a:pt x="17" y="418"/>
                    <a:pt x="17" y="418"/>
                    <a:pt x="17" y="418"/>
                  </a:cubicBezTo>
                  <a:cubicBezTo>
                    <a:pt x="17" y="418"/>
                    <a:pt x="29" y="418"/>
                    <a:pt x="29" y="406"/>
                  </a:cubicBezTo>
                  <a:cubicBezTo>
                    <a:pt x="29" y="378"/>
                    <a:pt x="29" y="378"/>
                    <a:pt x="29" y="378"/>
                  </a:cubicBezTo>
                  <a:cubicBezTo>
                    <a:pt x="32" y="380"/>
                    <a:pt x="48" y="382"/>
                    <a:pt x="52" y="383"/>
                  </a:cubicBezTo>
                  <a:cubicBezTo>
                    <a:pt x="51" y="385"/>
                    <a:pt x="51" y="387"/>
                    <a:pt x="51" y="390"/>
                  </a:cubicBezTo>
                  <a:cubicBezTo>
                    <a:pt x="51" y="629"/>
                    <a:pt x="51" y="629"/>
                    <a:pt x="51" y="629"/>
                  </a:cubicBezTo>
                  <a:cubicBezTo>
                    <a:pt x="51" y="629"/>
                    <a:pt x="51" y="653"/>
                    <a:pt x="67" y="653"/>
                  </a:cubicBezTo>
                  <a:cubicBezTo>
                    <a:pt x="73" y="653"/>
                    <a:pt x="73" y="653"/>
                    <a:pt x="73" y="653"/>
                  </a:cubicBezTo>
                  <a:cubicBezTo>
                    <a:pt x="73" y="653"/>
                    <a:pt x="89" y="653"/>
                    <a:pt x="89" y="629"/>
                  </a:cubicBezTo>
                  <a:cubicBezTo>
                    <a:pt x="89" y="390"/>
                    <a:pt x="89" y="390"/>
                    <a:pt x="89" y="390"/>
                  </a:cubicBezTo>
                  <a:cubicBezTo>
                    <a:pt x="89" y="390"/>
                    <a:pt x="89" y="388"/>
                    <a:pt x="89" y="385"/>
                  </a:cubicBezTo>
                  <a:cubicBezTo>
                    <a:pt x="109" y="385"/>
                    <a:pt x="109" y="385"/>
                    <a:pt x="109" y="385"/>
                  </a:cubicBezTo>
                  <a:cubicBezTo>
                    <a:pt x="109" y="387"/>
                    <a:pt x="109" y="388"/>
                    <a:pt x="109" y="390"/>
                  </a:cubicBezTo>
                  <a:cubicBezTo>
                    <a:pt x="109" y="629"/>
                    <a:pt x="109" y="629"/>
                    <a:pt x="109" y="629"/>
                  </a:cubicBezTo>
                  <a:cubicBezTo>
                    <a:pt x="109" y="629"/>
                    <a:pt x="109" y="653"/>
                    <a:pt x="125" y="653"/>
                  </a:cubicBezTo>
                  <a:cubicBezTo>
                    <a:pt x="131" y="653"/>
                    <a:pt x="131" y="653"/>
                    <a:pt x="131" y="653"/>
                  </a:cubicBezTo>
                  <a:cubicBezTo>
                    <a:pt x="131" y="653"/>
                    <a:pt x="147" y="653"/>
                    <a:pt x="147" y="629"/>
                  </a:cubicBezTo>
                  <a:cubicBezTo>
                    <a:pt x="147" y="390"/>
                    <a:pt x="147" y="390"/>
                    <a:pt x="147" y="390"/>
                  </a:cubicBezTo>
                  <a:cubicBezTo>
                    <a:pt x="147" y="390"/>
                    <a:pt x="147" y="387"/>
                    <a:pt x="145" y="382"/>
                  </a:cubicBezTo>
                  <a:cubicBezTo>
                    <a:pt x="149" y="381"/>
                    <a:pt x="163" y="380"/>
                    <a:pt x="167" y="378"/>
                  </a:cubicBezTo>
                  <a:cubicBezTo>
                    <a:pt x="170" y="296"/>
                    <a:pt x="170" y="296"/>
                    <a:pt x="170" y="296"/>
                  </a:cubicBezTo>
                  <a:cubicBezTo>
                    <a:pt x="170" y="296"/>
                    <a:pt x="188" y="404"/>
                    <a:pt x="189" y="408"/>
                  </a:cubicBezTo>
                  <a:cubicBezTo>
                    <a:pt x="190" y="416"/>
                    <a:pt x="197" y="418"/>
                    <a:pt x="200" y="418"/>
                  </a:cubicBezTo>
                  <a:cubicBezTo>
                    <a:pt x="202" y="418"/>
                    <a:pt x="202" y="418"/>
                    <a:pt x="202" y="418"/>
                  </a:cubicBezTo>
                  <a:cubicBezTo>
                    <a:pt x="203" y="418"/>
                    <a:pt x="203" y="418"/>
                    <a:pt x="203" y="418"/>
                  </a:cubicBezTo>
                  <a:cubicBezTo>
                    <a:pt x="203" y="418"/>
                    <a:pt x="219" y="422"/>
                    <a:pt x="240" y="427"/>
                  </a:cubicBezTo>
                  <a:cubicBezTo>
                    <a:pt x="240" y="427"/>
                    <a:pt x="276" y="432"/>
                    <a:pt x="290" y="432"/>
                  </a:cubicBezTo>
                  <a:cubicBezTo>
                    <a:pt x="281" y="529"/>
                    <a:pt x="281" y="529"/>
                    <a:pt x="281" y="529"/>
                  </a:cubicBezTo>
                  <a:cubicBezTo>
                    <a:pt x="305" y="541"/>
                    <a:pt x="305" y="541"/>
                    <a:pt x="305" y="541"/>
                  </a:cubicBezTo>
                  <a:cubicBezTo>
                    <a:pt x="305" y="636"/>
                    <a:pt x="305" y="636"/>
                    <a:pt x="305" y="636"/>
                  </a:cubicBezTo>
                  <a:cubicBezTo>
                    <a:pt x="305" y="636"/>
                    <a:pt x="302" y="653"/>
                    <a:pt x="313" y="653"/>
                  </a:cubicBezTo>
                  <a:cubicBezTo>
                    <a:pt x="318" y="653"/>
                    <a:pt x="318" y="653"/>
                    <a:pt x="318" y="653"/>
                  </a:cubicBezTo>
                  <a:cubicBezTo>
                    <a:pt x="318" y="653"/>
                    <a:pt x="326" y="653"/>
                    <a:pt x="326" y="636"/>
                  </a:cubicBezTo>
                  <a:cubicBezTo>
                    <a:pt x="326" y="541"/>
                    <a:pt x="326" y="541"/>
                    <a:pt x="326" y="541"/>
                  </a:cubicBezTo>
                  <a:cubicBezTo>
                    <a:pt x="335" y="541"/>
                    <a:pt x="335" y="541"/>
                    <a:pt x="335" y="541"/>
                  </a:cubicBezTo>
                  <a:cubicBezTo>
                    <a:pt x="335" y="636"/>
                    <a:pt x="335" y="636"/>
                    <a:pt x="335" y="636"/>
                  </a:cubicBezTo>
                  <a:cubicBezTo>
                    <a:pt x="335" y="636"/>
                    <a:pt x="335" y="653"/>
                    <a:pt x="346" y="653"/>
                  </a:cubicBezTo>
                  <a:cubicBezTo>
                    <a:pt x="351" y="653"/>
                    <a:pt x="351" y="653"/>
                    <a:pt x="351" y="653"/>
                  </a:cubicBezTo>
                  <a:cubicBezTo>
                    <a:pt x="351" y="653"/>
                    <a:pt x="356" y="653"/>
                    <a:pt x="356" y="636"/>
                  </a:cubicBezTo>
                  <a:cubicBezTo>
                    <a:pt x="356" y="541"/>
                    <a:pt x="356" y="541"/>
                    <a:pt x="356" y="541"/>
                  </a:cubicBezTo>
                  <a:cubicBezTo>
                    <a:pt x="380" y="529"/>
                    <a:pt x="380" y="529"/>
                    <a:pt x="380" y="529"/>
                  </a:cubicBezTo>
                  <a:cubicBezTo>
                    <a:pt x="371" y="446"/>
                    <a:pt x="371" y="446"/>
                    <a:pt x="371" y="446"/>
                  </a:cubicBezTo>
                  <a:cubicBezTo>
                    <a:pt x="371" y="445"/>
                    <a:pt x="372" y="445"/>
                    <a:pt x="372" y="445"/>
                  </a:cubicBezTo>
                  <a:cubicBezTo>
                    <a:pt x="385" y="509"/>
                    <a:pt x="385" y="509"/>
                    <a:pt x="385" y="509"/>
                  </a:cubicBezTo>
                  <a:cubicBezTo>
                    <a:pt x="385" y="509"/>
                    <a:pt x="387" y="517"/>
                    <a:pt x="395" y="517"/>
                  </a:cubicBezTo>
                  <a:cubicBezTo>
                    <a:pt x="399" y="516"/>
                    <a:pt x="399" y="516"/>
                    <a:pt x="399" y="516"/>
                  </a:cubicBezTo>
                  <a:cubicBezTo>
                    <a:pt x="399" y="516"/>
                    <a:pt x="403" y="512"/>
                    <a:pt x="403" y="50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28">
              <a:extLst>
                <a:ext uri="{FF2B5EF4-FFF2-40B4-BE49-F238E27FC236}">
                  <a16:creationId xmlns:a16="http://schemas.microsoft.com/office/drawing/2014/main" xmlns="" id="{FDA760FA-6AA1-4370-823A-F7B9810BE09C}"/>
                </a:ext>
              </a:extLst>
            </p:cNvPr>
            <p:cNvSpPr>
              <a:spLocks/>
            </p:cNvSpPr>
            <p:nvPr/>
          </p:nvSpPr>
          <p:spPr bwMode="auto">
            <a:xfrm>
              <a:off x="7646986" y="2150475"/>
              <a:ext cx="436172" cy="335323"/>
            </a:xfrm>
            <a:custGeom>
              <a:avLst/>
              <a:gdLst>
                <a:gd name="T0" fmla="*/ 645 w 692"/>
                <a:gd name="T1" fmla="*/ 503 h 532"/>
                <a:gd name="T2" fmla="*/ 645 w 692"/>
                <a:gd name="T3" fmla="*/ 0 h 532"/>
                <a:gd name="T4" fmla="*/ 527 w 692"/>
                <a:gd name="T5" fmla="*/ 0 h 532"/>
                <a:gd name="T6" fmla="*/ 527 w 692"/>
                <a:gd name="T7" fmla="*/ 503 h 532"/>
                <a:gd name="T8" fmla="*/ 487 w 692"/>
                <a:gd name="T9" fmla="*/ 503 h 532"/>
                <a:gd name="T10" fmla="*/ 487 w 692"/>
                <a:gd name="T11" fmla="*/ 164 h 532"/>
                <a:gd name="T12" fmla="*/ 369 w 692"/>
                <a:gd name="T13" fmla="*/ 164 h 532"/>
                <a:gd name="T14" fmla="*/ 369 w 692"/>
                <a:gd name="T15" fmla="*/ 503 h 532"/>
                <a:gd name="T16" fmla="*/ 328 w 692"/>
                <a:gd name="T17" fmla="*/ 503 h 532"/>
                <a:gd name="T18" fmla="*/ 328 w 692"/>
                <a:gd name="T19" fmla="*/ 262 h 532"/>
                <a:gd name="T20" fmla="*/ 211 w 692"/>
                <a:gd name="T21" fmla="*/ 262 h 532"/>
                <a:gd name="T22" fmla="*/ 211 w 692"/>
                <a:gd name="T23" fmla="*/ 503 h 532"/>
                <a:gd name="T24" fmla="*/ 166 w 692"/>
                <a:gd name="T25" fmla="*/ 503 h 532"/>
                <a:gd name="T26" fmla="*/ 166 w 692"/>
                <a:gd name="T27" fmla="*/ 311 h 532"/>
                <a:gd name="T28" fmla="*/ 48 w 692"/>
                <a:gd name="T29" fmla="*/ 311 h 532"/>
                <a:gd name="T30" fmla="*/ 48 w 692"/>
                <a:gd name="T31" fmla="*/ 503 h 532"/>
                <a:gd name="T32" fmla="*/ 0 w 692"/>
                <a:gd name="T33" fmla="*/ 503 h 532"/>
                <a:gd name="T34" fmla="*/ 0 w 692"/>
                <a:gd name="T35" fmla="*/ 532 h 532"/>
                <a:gd name="T36" fmla="*/ 692 w 692"/>
                <a:gd name="T37" fmla="*/ 532 h 532"/>
                <a:gd name="T38" fmla="*/ 692 w 692"/>
                <a:gd name="T39" fmla="*/ 503 h 532"/>
                <a:gd name="T40" fmla="*/ 645 w 692"/>
                <a:gd name="T41" fmla="*/ 503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2" h="532">
                  <a:moveTo>
                    <a:pt x="645" y="503"/>
                  </a:moveTo>
                  <a:lnTo>
                    <a:pt x="645" y="0"/>
                  </a:lnTo>
                  <a:lnTo>
                    <a:pt x="527" y="0"/>
                  </a:lnTo>
                  <a:lnTo>
                    <a:pt x="527" y="503"/>
                  </a:lnTo>
                  <a:lnTo>
                    <a:pt x="487" y="503"/>
                  </a:lnTo>
                  <a:lnTo>
                    <a:pt x="487" y="164"/>
                  </a:lnTo>
                  <a:lnTo>
                    <a:pt x="369" y="164"/>
                  </a:lnTo>
                  <a:lnTo>
                    <a:pt x="369" y="503"/>
                  </a:lnTo>
                  <a:lnTo>
                    <a:pt x="328" y="503"/>
                  </a:lnTo>
                  <a:lnTo>
                    <a:pt x="328" y="262"/>
                  </a:lnTo>
                  <a:lnTo>
                    <a:pt x="211" y="262"/>
                  </a:lnTo>
                  <a:lnTo>
                    <a:pt x="211" y="503"/>
                  </a:lnTo>
                  <a:lnTo>
                    <a:pt x="166" y="503"/>
                  </a:lnTo>
                  <a:lnTo>
                    <a:pt x="166" y="311"/>
                  </a:lnTo>
                  <a:lnTo>
                    <a:pt x="48" y="311"/>
                  </a:lnTo>
                  <a:lnTo>
                    <a:pt x="48" y="503"/>
                  </a:lnTo>
                  <a:lnTo>
                    <a:pt x="0" y="503"/>
                  </a:lnTo>
                  <a:lnTo>
                    <a:pt x="0" y="532"/>
                  </a:lnTo>
                  <a:lnTo>
                    <a:pt x="692" y="532"/>
                  </a:lnTo>
                  <a:lnTo>
                    <a:pt x="692" y="503"/>
                  </a:lnTo>
                  <a:lnTo>
                    <a:pt x="645" y="50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32">
              <a:extLst>
                <a:ext uri="{FF2B5EF4-FFF2-40B4-BE49-F238E27FC236}">
                  <a16:creationId xmlns:a16="http://schemas.microsoft.com/office/drawing/2014/main" xmlns="" id="{37F97D5A-4BE2-46BF-84FE-C4A938636AC7}"/>
                </a:ext>
              </a:extLst>
            </p:cNvPr>
            <p:cNvSpPr>
              <a:spLocks noEditPoints="1"/>
            </p:cNvSpPr>
            <p:nvPr/>
          </p:nvSpPr>
          <p:spPr bwMode="auto">
            <a:xfrm>
              <a:off x="3955565" y="2119332"/>
              <a:ext cx="453559" cy="397606"/>
            </a:xfrm>
            <a:custGeom>
              <a:avLst/>
              <a:gdLst>
                <a:gd name="T0" fmla="*/ 65 w 371"/>
                <a:gd name="T1" fmla="*/ 201 h 324"/>
                <a:gd name="T2" fmla="*/ 97 w 371"/>
                <a:gd name="T3" fmla="*/ 205 h 324"/>
                <a:gd name="T4" fmla="*/ 92 w 371"/>
                <a:gd name="T5" fmla="*/ 236 h 324"/>
                <a:gd name="T6" fmla="*/ 64 w 371"/>
                <a:gd name="T7" fmla="*/ 219 h 324"/>
                <a:gd name="T8" fmla="*/ 84 w 371"/>
                <a:gd name="T9" fmla="*/ 135 h 324"/>
                <a:gd name="T10" fmla="*/ 43 w 371"/>
                <a:gd name="T11" fmla="*/ 163 h 324"/>
                <a:gd name="T12" fmla="*/ 46 w 371"/>
                <a:gd name="T13" fmla="*/ 198 h 324"/>
                <a:gd name="T14" fmla="*/ 45 w 371"/>
                <a:gd name="T15" fmla="*/ 227 h 324"/>
                <a:gd name="T16" fmla="*/ 76 w 371"/>
                <a:gd name="T17" fmla="*/ 248 h 324"/>
                <a:gd name="T18" fmla="*/ 99 w 371"/>
                <a:gd name="T19" fmla="*/ 261 h 324"/>
                <a:gd name="T20" fmla="*/ 77 w 371"/>
                <a:gd name="T21" fmla="*/ 281 h 324"/>
                <a:gd name="T22" fmla="*/ 41 w 371"/>
                <a:gd name="T23" fmla="*/ 272 h 324"/>
                <a:gd name="T24" fmla="*/ 25 w 371"/>
                <a:gd name="T25" fmla="*/ 290 h 324"/>
                <a:gd name="T26" fmla="*/ 30 w 371"/>
                <a:gd name="T27" fmla="*/ 249 h 324"/>
                <a:gd name="T28" fmla="*/ 0 w 371"/>
                <a:gd name="T29" fmla="*/ 290 h 324"/>
                <a:gd name="T30" fmla="*/ 80 w 371"/>
                <a:gd name="T31" fmla="*/ 317 h 324"/>
                <a:gd name="T32" fmla="*/ 163 w 371"/>
                <a:gd name="T33" fmla="*/ 290 h 324"/>
                <a:gd name="T34" fmla="*/ 133 w 371"/>
                <a:gd name="T35" fmla="*/ 249 h 324"/>
                <a:gd name="T36" fmla="*/ 138 w 371"/>
                <a:gd name="T37" fmla="*/ 290 h 324"/>
                <a:gd name="T38" fmla="*/ 110 w 371"/>
                <a:gd name="T39" fmla="*/ 289 h 324"/>
                <a:gd name="T40" fmla="*/ 108 w 371"/>
                <a:gd name="T41" fmla="*/ 243 h 324"/>
                <a:gd name="T42" fmla="*/ 114 w 371"/>
                <a:gd name="T43" fmla="*/ 196 h 324"/>
                <a:gd name="T44" fmla="*/ 69 w 371"/>
                <a:gd name="T45" fmla="*/ 172 h 324"/>
                <a:gd name="T46" fmla="*/ 83 w 371"/>
                <a:gd name="T47" fmla="*/ 151 h 324"/>
                <a:gd name="T48" fmla="*/ 114 w 371"/>
                <a:gd name="T49" fmla="*/ 159 h 324"/>
                <a:gd name="T50" fmla="*/ 102 w 371"/>
                <a:gd name="T51" fmla="*/ 136 h 324"/>
                <a:gd name="T52" fmla="*/ 346 w 371"/>
                <a:gd name="T53" fmla="*/ 222 h 324"/>
                <a:gd name="T54" fmla="*/ 289 w 371"/>
                <a:gd name="T55" fmla="*/ 14 h 324"/>
                <a:gd name="T56" fmla="*/ 371 w 371"/>
                <a:gd name="T57" fmla="*/ 223 h 324"/>
                <a:gd name="T58" fmla="*/ 353 w 371"/>
                <a:gd name="T59" fmla="*/ 222 h 324"/>
                <a:gd name="T60" fmla="*/ 295 w 371"/>
                <a:gd name="T61" fmla="*/ 4 h 324"/>
                <a:gd name="T62" fmla="*/ 289 w 371"/>
                <a:gd name="T63" fmla="*/ 1 h 324"/>
                <a:gd name="T64" fmla="*/ 77 w 371"/>
                <a:gd name="T65" fmla="*/ 75 h 324"/>
                <a:gd name="T66" fmla="*/ 78 w 371"/>
                <a:gd name="T67" fmla="*/ 78 h 324"/>
                <a:gd name="T68" fmla="*/ 72 w 371"/>
                <a:gd name="T69" fmla="*/ 126 h 324"/>
                <a:gd name="T70" fmla="*/ 94 w 371"/>
                <a:gd name="T71" fmla="*/ 126 h 324"/>
                <a:gd name="T72" fmla="*/ 87 w 371"/>
                <a:gd name="T73" fmla="*/ 77 h 324"/>
                <a:gd name="T74" fmla="*/ 181 w 371"/>
                <a:gd name="T75" fmla="*/ 308 h 324"/>
                <a:gd name="T76" fmla="*/ 236 w 371"/>
                <a:gd name="T77" fmla="*/ 324 h 324"/>
                <a:gd name="T78" fmla="*/ 191 w 371"/>
                <a:gd name="T79" fmla="*/ 43 h 324"/>
                <a:gd name="T80" fmla="*/ 283 w 371"/>
                <a:gd name="T81" fmla="*/ 13 h 324"/>
                <a:gd name="T82" fmla="*/ 208 w 371"/>
                <a:gd name="T83" fmla="*/ 222 h 324"/>
                <a:gd name="T84" fmla="*/ 288 w 371"/>
                <a:gd name="T85" fmla="*/ 24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1" h="324">
                  <a:moveTo>
                    <a:pt x="61" y="211"/>
                  </a:moveTo>
                  <a:cubicBezTo>
                    <a:pt x="61" y="207"/>
                    <a:pt x="62" y="204"/>
                    <a:pt x="65" y="201"/>
                  </a:cubicBezTo>
                  <a:cubicBezTo>
                    <a:pt x="67" y="198"/>
                    <a:pt x="70" y="196"/>
                    <a:pt x="74" y="195"/>
                  </a:cubicBezTo>
                  <a:cubicBezTo>
                    <a:pt x="85" y="198"/>
                    <a:pt x="92" y="202"/>
                    <a:pt x="97" y="205"/>
                  </a:cubicBezTo>
                  <a:cubicBezTo>
                    <a:pt x="101" y="209"/>
                    <a:pt x="103" y="213"/>
                    <a:pt x="103" y="218"/>
                  </a:cubicBezTo>
                  <a:cubicBezTo>
                    <a:pt x="103" y="225"/>
                    <a:pt x="99" y="231"/>
                    <a:pt x="92" y="236"/>
                  </a:cubicBezTo>
                  <a:cubicBezTo>
                    <a:pt x="82" y="232"/>
                    <a:pt x="75" y="229"/>
                    <a:pt x="72" y="226"/>
                  </a:cubicBezTo>
                  <a:cubicBezTo>
                    <a:pt x="68" y="224"/>
                    <a:pt x="65" y="222"/>
                    <a:pt x="64" y="219"/>
                  </a:cubicBezTo>
                  <a:cubicBezTo>
                    <a:pt x="62" y="217"/>
                    <a:pt x="61" y="214"/>
                    <a:pt x="61" y="211"/>
                  </a:cubicBezTo>
                  <a:moveTo>
                    <a:pt x="84" y="135"/>
                  </a:moveTo>
                  <a:cubicBezTo>
                    <a:pt x="72" y="135"/>
                    <a:pt x="61" y="137"/>
                    <a:pt x="54" y="142"/>
                  </a:cubicBezTo>
                  <a:cubicBezTo>
                    <a:pt x="46" y="147"/>
                    <a:pt x="43" y="154"/>
                    <a:pt x="43" y="163"/>
                  </a:cubicBezTo>
                  <a:cubicBezTo>
                    <a:pt x="43" y="173"/>
                    <a:pt x="48" y="181"/>
                    <a:pt x="58" y="187"/>
                  </a:cubicBezTo>
                  <a:cubicBezTo>
                    <a:pt x="53" y="190"/>
                    <a:pt x="49" y="194"/>
                    <a:pt x="46" y="198"/>
                  </a:cubicBezTo>
                  <a:cubicBezTo>
                    <a:pt x="44" y="203"/>
                    <a:pt x="42" y="208"/>
                    <a:pt x="42" y="213"/>
                  </a:cubicBezTo>
                  <a:cubicBezTo>
                    <a:pt x="42" y="218"/>
                    <a:pt x="43" y="223"/>
                    <a:pt x="45" y="227"/>
                  </a:cubicBezTo>
                  <a:cubicBezTo>
                    <a:pt x="48" y="231"/>
                    <a:pt x="51" y="235"/>
                    <a:pt x="55" y="238"/>
                  </a:cubicBezTo>
                  <a:cubicBezTo>
                    <a:pt x="60" y="241"/>
                    <a:pt x="67" y="245"/>
                    <a:pt x="76" y="248"/>
                  </a:cubicBezTo>
                  <a:cubicBezTo>
                    <a:pt x="83" y="251"/>
                    <a:pt x="88" y="253"/>
                    <a:pt x="92" y="255"/>
                  </a:cubicBezTo>
                  <a:cubicBezTo>
                    <a:pt x="95" y="257"/>
                    <a:pt x="97" y="259"/>
                    <a:pt x="99" y="261"/>
                  </a:cubicBezTo>
                  <a:cubicBezTo>
                    <a:pt x="100" y="262"/>
                    <a:pt x="101" y="265"/>
                    <a:pt x="101" y="268"/>
                  </a:cubicBezTo>
                  <a:cubicBezTo>
                    <a:pt x="101" y="277"/>
                    <a:pt x="93" y="281"/>
                    <a:pt x="77" y="281"/>
                  </a:cubicBezTo>
                  <a:cubicBezTo>
                    <a:pt x="71" y="281"/>
                    <a:pt x="65" y="280"/>
                    <a:pt x="59" y="279"/>
                  </a:cubicBezTo>
                  <a:cubicBezTo>
                    <a:pt x="52" y="277"/>
                    <a:pt x="46" y="275"/>
                    <a:pt x="41" y="272"/>
                  </a:cubicBezTo>
                  <a:cubicBezTo>
                    <a:pt x="41" y="290"/>
                    <a:pt x="41" y="290"/>
                    <a:pt x="41" y="290"/>
                  </a:cubicBezTo>
                  <a:cubicBezTo>
                    <a:pt x="25" y="290"/>
                    <a:pt x="25" y="290"/>
                    <a:pt x="25" y="290"/>
                  </a:cubicBezTo>
                  <a:cubicBezTo>
                    <a:pt x="36" y="249"/>
                    <a:pt x="36" y="249"/>
                    <a:pt x="36" y="249"/>
                  </a:cubicBezTo>
                  <a:cubicBezTo>
                    <a:pt x="30" y="249"/>
                    <a:pt x="30" y="249"/>
                    <a:pt x="30" y="249"/>
                  </a:cubicBezTo>
                  <a:cubicBezTo>
                    <a:pt x="18" y="290"/>
                    <a:pt x="18" y="290"/>
                    <a:pt x="18" y="290"/>
                  </a:cubicBezTo>
                  <a:cubicBezTo>
                    <a:pt x="0" y="290"/>
                    <a:pt x="0" y="290"/>
                    <a:pt x="0" y="290"/>
                  </a:cubicBezTo>
                  <a:cubicBezTo>
                    <a:pt x="0" y="291"/>
                    <a:pt x="0" y="291"/>
                    <a:pt x="0" y="291"/>
                  </a:cubicBezTo>
                  <a:cubicBezTo>
                    <a:pt x="0" y="291"/>
                    <a:pt x="22" y="317"/>
                    <a:pt x="80" y="317"/>
                  </a:cubicBezTo>
                  <a:cubicBezTo>
                    <a:pt x="138" y="317"/>
                    <a:pt x="163" y="291"/>
                    <a:pt x="163" y="291"/>
                  </a:cubicBezTo>
                  <a:cubicBezTo>
                    <a:pt x="163" y="290"/>
                    <a:pt x="163" y="290"/>
                    <a:pt x="163" y="290"/>
                  </a:cubicBezTo>
                  <a:cubicBezTo>
                    <a:pt x="145" y="290"/>
                    <a:pt x="145" y="290"/>
                    <a:pt x="145" y="290"/>
                  </a:cubicBezTo>
                  <a:cubicBezTo>
                    <a:pt x="133" y="249"/>
                    <a:pt x="133" y="249"/>
                    <a:pt x="133" y="249"/>
                  </a:cubicBezTo>
                  <a:cubicBezTo>
                    <a:pt x="126" y="249"/>
                    <a:pt x="126" y="249"/>
                    <a:pt x="126" y="249"/>
                  </a:cubicBezTo>
                  <a:cubicBezTo>
                    <a:pt x="138" y="290"/>
                    <a:pt x="138" y="290"/>
                    <a:pt x="138" y="290"/>
                  </a:cubicBezTo>
                  <a:cubicBezTo>
                    <a:pt x="108" y="290"/>
                    <a:pt x="108" y="290"/>
                    <a:pt x="108" y="290"/>
                  </a:cubicBezTo>
                  <a:cubicBezTo>
                    <a:pt x="109" y="290"/>
                    <a:pt x="109" y="289"/>
                    <a:pt x="110" y="289"/>
                  </a:cubicBezTo>
                  <a:cubicBezTo>
                    <a:pt x="118" y="283"/>
                    <a:pt x="122" y="276"/>
                    <a:pt x="122" y="266"/>
                  </a:cubicBezTo>
                  <a:cubicBezTo>
                    <a:pt x="122" y="256"/>
                    <a:pt x="117" y="249"/>
                    <a:pt x="108" y="243"/>
                  </a:cubicBezTo>
                  <a:cubicBezTo>
                    <a:pt x="117" y="237"/>
                    <a:pt x="122" y="228"/>
                    <a:pt x="122" y="216"/>
                  </a:cubicBezTo>
                  <a:cubicBezTo>
                    <a:pt x="122" y="208"/>
                    <a:pt x="120" y="202"/>
                    <a:pt x="114" y="196"/>
                  </a:cubicBezTo>
                  <a:cubicBezTo>
                    <a:pt x="109" y="191"/>
                    <a:pt x="101" y="186"/>
                    <a:pt x="89" y="181"/>
                  </a:cubicBezTo>
                  <a:cubicBezTo>
                    <a:pt x="79" y="178"/>
                    <a:pt x="73" y="175"/>
                    <a:pt x="69" y="172"/>
                  </a:cubicBezTo>
                  <a:cubicBezTo>
                    <a:pt x="65" y="169"/>
                    <a:pt x="63" y="166"/>
                    <a:pt x="63" y="162"/>
                  </a:cubicBezTo>
                  <a:cubicBezTo>
                    <a:pt x="63" y="155"/>
                    <a:pt x="70" y="151"/>
                    <a:pt x="83" y="151"/>
                  </a:cubicBezTo>
                  <a:cubicBezTo>
                    <a:pt x="88" y="151"/>
                    <a:pt x="92" y="152"/>
                    <a:pt x="96" y="153"/>
                  </a:cubicBezTo>
                  <a:cubicBezTo>
                    <a:pt x="100" y="153"/>
                    <a:pt x="106" y="156"/>
                    <a:pt x="114" y="159"/>
                  </a:cubicBezTo>
                  <a:cubicBezTo>
                    <a:pt x="121" y="142"/>
                    <a:pt x="121" y="142"/>
                    <a:pt x="121" y="142"/>
                  </a:cubicBezTo>
                  <a:cubicBezTo>
                    <a:pt x="114" y="139"/>
                    <a:pt x="108" y="137"/>
                    <a:pt x="102" y="136"/>
                  </a:cubicBezTo>
                  <a:cubicBezTo>
                    <a:pt x="96" y="135"/>
                    <a:pt x="90" y="135"/>
                    <a:pt x="84" y="135"/>
                  </a:cubicBezTo>
                  <a:moveTo>
                    <a:pt x="346" y="222"/>
                  </a:moveTo>
                  <a:cubicBezTo>
                    <a:pt x="232" y="222"/>
                    <a:pt x="232" y="222"/>
                    <a:pt x="232" y="222"/>
                  </a:cubicBezTo>
                  <a:cubicBezTo>
                    <a:pt x="289" y="14"/>
                    <a:pt x="289" y="14"/>
                    <a:pt x="289" y="14"/>
                  </a:cubicBezTo>
                  <a:lnTo>
                    <a:pt x="346" y="222"/>
                  </a:lnTo>
                  <a:close/>
                  <a:moveTo>
                    <a:pt x="371" y="223"/>
                  </a:moveTo>
                  <a:cubicBezTo>
                    <a:pt x="371" y="222"/>
                    <a:pt x="371" y="222"/>
                    <a:pt x="371" y="222"/>
                  </a:cubicBezTo>
                  <a:cubicBezTo>
                    <a:pt x="353" y="222"/>
                    <a:pt x="353" y="222"/>
                    <a:pt x="353" y="222"/>
                  </a:cubicBezTo>
                  <a:cubicBezTo>
                    <a:pt x="295" y="9"/>
                    <a:pt x="295" y="9"/>
                    <a:pt x="295" y="9"/>
                  </a:cubicBezTo>
                  <a:cubicBezTo>
                    <a:pt x="295" y="8"/>
                    <a:pt x="296" y="6"/>
                    <a:pt x="295" y="4"/>
                  </a:cubicBezTo>
                  <a:cubicBezTo>
                    <a:pt x="295" y="4"/>
                    <a:pt x="295" y="4"/>
                    <a:pt x="295" y="4"/>
                  </a:cubicBezTo>
                  <a:cubicBezTo>
                    <a:pt x="295" y="4"/>
                    <a:pt x="294" y="0"/>
                    <a:pt x="289" y="1"/>
                  </a:cubicBezTo>
                  <a:cubicBezTo>
                    <a:pt x="79" y="69"/>
                    <a:pt x="79" y="69"/>
                    <a:pt x="79" y="69"/>
                  </a:cubicBezTo>
                  <a:cubicBezTo>
                    <a:pt x="79" y="69"/>
                    <a:pt x="75" y="71"/>
                    <a:pt x="77" y="75"/>
                  </a:cubicBezTo>
                  <a:cubicBezTo>
                    <a:pt x="77" y="75"/>
                    <a:pt x="77" y="75"/>
                    <a:pt x="77" y="75"/>
                  </a:cubicBezTo>
                  <a:cubicBezTo>
                    <a:pt x="77" y="75"/>
                    <a:pt x="77" y="77"/>
                    <a:pt x="78" y="78"/>
                  </a:cubicBezTo>
                  <a:cubicBezTo>
                    <a:pt x="65" y="126"/>
                    <a:pt x="65" y="126"/>
                    <a:pt x="65" y="126"/>
                  </a:cubicBezTo>
                  <a:cubicBezTo>
                    <a:pt x="72" y="126"/>
                    <a:pt x="72" y="126"/>
                    <a:pt x="72" y="126"/>
                  </a:cubicBezTo>
                  <a:cubicBezTo>
                    <a:pt x="83" y="85"/>
                    <a:pt x="83" y="85"/>
                    <a:pt x="83" y="85"/>
                  </a:cubicBezTo>
                  <a:cubicBezTo>
                    <a:pt x="94" y="126"/>
                    <a:pt x="94" y="126"/>
                    <a:pt x="94" y="126"/>
                  </a:cubicBezTo>
                  <a:cubicBezTo>
                    <a:pt x="101" y="126"/>
                    <a:pt x="101" y="126"/>
                    <a:pt x="101" y="126"/>
                  </a:cubicBezTo>
                  <a:cubicBezTo>
                    <a:pt x="87" y="77"/>
                    <a:pt x="87" y="77"/>
                    <a:pt x="87" y="77"/>
                  </a:cubicBezTo>
                  <a:cubicBezTo>
                    <a:pt x="181" y="46"/>
                    <a:pt x="181" y="46"/>
                    <a:pt x="181" y="46"/>
                  </a:cubicBezTo>
                  <a:cubicBezTo>
                    <a:pt x="181" y="308"/>
                    <a:pt x="181" y="308"/>
                    <a:pt x="181" y="308"/>
                  </a:cubicBezTo>
                  <a:cubicBezTo>
                    <a:pt x="148" y="309"/>
                    <a:pt x="136" y="324"/>
                    <a:pt x="136" y="324"/>
                  </a:cubicBezTo>
                  <a:cubicBezTo>
                    <a:pt x="236" y="324"/>
                    <a:pt x="236" y="324"/>
                    <a:pt x="236" y="324"/>
                  </a:cubicBezTo>
                  <a:cubicBezTo>
                    <a:pt x="236" y="324"/>
                    <a:pt x="222" y="310"/>
                    <a:pt x="191" y="308"/>
                  </a:cubicBezTo>
                  <a:cubicBezTo>
                    <a:pt x="191" y="43"/>
                    <a:pt x="191" y="43"/>
                    <a:pt x="191" y="43"/>
                  </a:cubicBezTo>
                  <a:cubicBezTo>
                    <a:pt x="280" y="14"/>
                    <a:pt x="280" y="14"/>
                    <a:pt x="280" y="14"/>
                  </a:cubicBezTo>
                  <a:cubicBezTo>
                    <a:pt x="283" y="13"/>
                    <a:pt x="283" y="13"/>
                    <a:pt x="283" y="13"/>
                  </a:cubicBezTo>
                  <a:cubicBezTo>
                    <a:pt x="226" y="222"/>
                    <a:pt x="226" y="222"/>
                    <a:pt x="226" y="222"/>
                  </a:cubicBezTo>
                  <a:cubicBezTo>
                    <a:pt x="208" y="222"/>
                    <a:pt x="208" y="222"/>
                    <a:pt x="208" y="222"/>
                  </a:cubicBezTo>
                  <a:cubicBezTo>
                    <a:pt x="208" y="223"/>
                    <a:pt x="208" y="223"/>
                    <a:pt x="208" y="223"/>
                  </a:cubicBezTo>
                  <a:cubicBezTo>
                    <a:pt x="208" y="223"/>
                    <a:pt x="230" y="249"/>
                    <a:pt x="288" y="249"/>
                  </a:cubicBezTo>
                  <a:cubicBezTo>
                    <a:pt x="346" y="249"/>
                    <a:pt x="371" y="223"/>
                    <a:pt x="371" y="223"/>
                  </a:cubicBezTo>
                </a:path>
              </a:pathLst>
            </a:custGeom>
            <a:solidFill>
              <a:srgbClr val="E5329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 name="Gruppieren 96">
              <a:extLst>
                <a:ext uri="{FF2B5EF4-FFF2-40B4-BE49-F238E27FC236}">
                  <a16:creationId xmlns:a16="http://schemas.microsoft.com/office/drawing/2014/main" xmlns="" id="{BD28ADE7-9940-4DBE-9B4D-D2230FE33ECD}"/>
                </a:ext>
              </a:extLst>
            </p:cNvPr>
            <p:cNvGrpSpPr/>
            <p:nvPr/>
          </p:nvGrpSpPr>
          <p:grpSpPr>
            <a:xfrm>
              <a:off x="3800110" y="4560336"/>
              <a:ext cx="411727" cy="402270"/>
              <a:chOff x="7704138" y="3649663"/>
              <a:chExt cx="898526" cy="877888"/>
            </a:xfrm>
            <a:solidFill>
              <a:schemeClr val="tx2"/>
            </a:solidFill>
          </p:grpSpPr>
          <p:sp>
            <p:nvSpPr>
              <p:cNvPr id="98" name="Freeform 36">
                <a:extLst>
                  <a:ext uri="{FF2B5EF4-FFF2-40B4-BE49-F238E27FC236}">
                    <a16:creationId xmlns:a16="http://schemas.microsoft.com/office/drawing/2014/main" xmlns="" id="{CE6A7B44-8D82-48BD-B2CD-B65165589EB5}"/>
                  </a:ext>
                </a:extLst>
              </p:cNvPr>
              <p:cNvSpPr>
                <a:spLocks/>
              </p:cNvSpPr>
              <p:nvPr/>
            </p:nvSpPr>
            <p:spPr bwMode="auto">
              <a:xfrm>
                <a:off x="7704138" y="3649663"/>
                <a:ext cx="487363" cy="877888"/>
              </a:xfrm>
              <a:custGeom>
                <a:avLst/>
                <a:gdLst>
                  <a:gd name="T0" fmla="*/ 188 w 213"/>
                  <a:gd name="T1" fmla="*/ 122 h 383"/>
                  <a:gd name="T2" fmla="*/ 198 w 213"/>
                  <a:gd name="T3" fmla="*/ 94 h 383"/>
                  <a:gd name="T4" fmla="*/ 153 w 213"/>
                  <a:gd name="T5" fmla="*/ 49 h 383"/>
                  <a:gd name="T6" fmla="*/ 151 w 213"/>
                  <a:gd name="T7" fmla="*/ 49 h 383"/>
                  <a:gd name="T8" fmla="*/ 152 w 213"/>
                  <a:gd name="T9" fmla="*/ 39 h 383"/>
                  <a:gd name="T10" fmla="*/ 113 w 213"/>
                  <a:gd name="T11" fmla="*/ 0 h 383"/>
                  <a:gd name="T12" fmla="*/ 74 w 213"/>
                  <a:gd name="T13" fmla="*/ 39 h 383"/>
                  <a:gd name="T14" fmla="*/ 74 w 213"/>
                  <a:gd name="T15" fmla="*/ 40 h 383"/>
                  <a:gd name="T16" fmla="*/ 25 w 213"/>
                  <a:gd name="T17" fmla="*/ 91 h 383"/>
                  <a:gd name="T18" fmla="*/ 28 w 213"/>
                  <a:gd name="T19" fmla="*/ 105 h 383"/>
                  <a:gd name="T20" fmla="*/ 0 w 213"/>
                  <a:gd name="T21" fmla="*/ 155 h 383"/>
                  <a:gd name="T22" fmla="*/ 30 w 213"/>
                  <a:gd name="T23" fmla="*/ 207 h 383"/>
                  <a:gd name="T24" fmla="*/ 29 w 213"/>
                  <a:gd name="T25" fmla="*/ 215 h 383"/>
                  <a:gd name="T26" fmla="*/ 79 w 213"/>
                  <a:gd name="T27" fmla="*/ 265 h 383"/>
                  <a:gd name="T28" fmla="*/ 98 w 213"/>
                  <a:gd name="T29" fmla="*/ 261 h 383"/>
                  <a:gd name="T30" fmla="*/ 101 w 213"/>
                  <a:gd name="T31" fmla="*/ 261 h 383"/>
                  <a:gd name="T32" fmla="*/ 101 w 213"/>
                  <a:gd name="T33" fmla="*/ 383 h 383"/>
                  <a:gd name="T34" fmla="*/ 132 w 213"/>
                  <a:gd name="T35" fmla="*/ 383 h 383"/>
                  <a:gd name="T36" fmla="*/ 132 w 213"/>
                  <a:gd name="T37" fmla="*/ 267 h 383"/>
                  <a:gd name="T38" fmla="*/ 147 w 213"/>
                  <a:gd name="T39" fmla="*/ 270 h 383"/>
                  <a:gd name="T40" fmla="*/ 170 w 213"/>
                  <a:gd name="T41" fmla="*/ 264 h 383"/>
                  <a:gd name="T42" fmla="*/ 146 w 213"/>
                  <a:gd name="T43" fmla="*/ 221 h 383"/>
                  <a:gd name="T44" fmla="*/ 188 w 213"/>
                  <a:gd name="T45" fmla="*/ 169 h 383"/>
                  <a:gd name="T46" fmla="*/ 213 w 213"/>
                  <a:gd name="T47" fmla="*/ 144 h 383"/>
                  <a:gd name="T48" fmla="*/ 188 w 213"/>
                  <a:gd name="T49" fmla="*/ 12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383">
                    <a:moveTo>
                      <a:pt x="188" y="122"/>
                    </a:moveTo>
                    <a:cubicBezTo>
                      <a:pt x="194" y="114"/>
                      <a:pt x="198" y="105"/>
                      <a:pt x="198" y="94"/>
                    </a:cubicBezTo>
                    <a:cubicBezTo>
                      <a:pt x="198" y="69"/>
                      <a:pt x="178" y="49"/>
                      <a:pt x="153" y="49"/>
                    </a:cubicBezTo>
                    <a:cubicBezTo>
                      <a:pt x="152" y="49"/>
                      <a:pt x="152" y="49"/>
                      <a:pt x="151" y="49"/>
                    </a:cubicBezTo>
                    <a:cubicBezTo>
                      <a:pt x="152" y="46"/>
                      <a:pt x="152" y="43"/>
                      <a:pt x="152" y="39"/>
                    </a:cubicBezTo>
                    <a:cubicBezTo>
                      <a:pt x="152" y="17"/>
                      <a:pt x="135" y="0"/>
                      <a:pt x="113" y="0"/>
                    </a:cubicBezTo>
                    <a:cubicBezTo>
                      <a:pt x="91" y="0"/>
                      <a:pt x="74" y="17"/>
                      <a:pt x="74" y="39"/>
                    </a:cubicBezTo>
                    <a:cubicBezTo>
                      <a:pt x="74" y="40"/>
                      <a:pt x="74" y="40"/>
                      <a:pt x="74" y="40"/>
                    </a:cubicBezTo>
                    <a:cubicBezTo>
                      <a:pt x="47" y="41"/>
                      <a:pt x="25" y="63"/>
                      <a:pt x="25" y="91"/>
                    </a:cubicBezTo>
                    <a:cubicBezTo>
                      <a:pt x="25" y="96"/>
                      <a:pt x="26" y="101"/>
                      <a:pt x="28" y="105"/>
                    </a:cubicBezTo>
                    <a:cubicBezTo>
                      <a:pt x="11" y="116"/>
                      <a:pt x="0" y="134"/>
                      <a:pt x="0" y="155"/>
                    </a:cubicBezTo>
                    <a:cubicBezTo>
                      <a:pt x="0" y="178"/>
                      <a:pt x="12" y="197"/>
                      <a:pt x="30" y="207"/>
                    </a:cubicBezTo>
                    <a:cubicBezTo>
                      <a:pt x="29" y="209"/>
                      <a:pt x="29" y="212"/>
                      <a:pt x="29" y="215"/>
                    </a:cubicBezTo>
                    <a:cubicBezTo>
                      <a:pt x="29" y="243"/>
                      <a:pt x="51" y="265"/>
                      <a:pt x="79" y="265"/>
                    </a:cubicBezTo>
                    <a:cubicBezTo>
                      <a:pt x="86" y="265"/>
                      <a:pt x="92" y="264"/>
                      <a:pt x="98" y="261"/>
                    </a:cubicBezTo>
                    <a:cubicBezTo>
                      <a:pt x="99" y="261"/>
                      <a:pt x="100" y="261"/>
                      <a:pt x="101" y="261"/>
                    </a:cubicBezTo>
                    <a:cubicBezTo>
                      <a:pt x="101" y="383"/>
                      <a:pt x="101" y="383"/>
                      <a:pt x="101" y="383"/>
                    </a:cubicBezTo>
                    <a:cubicBezTo>
                      <a:pt x="132" y="383"/>
                      <a:pt x="132" y="383"/>
                      <a:pt x="132" y="383"/>
                    </a:cubicBezTo>
                    <a:cubicBezTo>
                      <a:pt x="132" y="267"/>
                      <a:pt x="132" y="267"/>
                      <a:pt x="132" y="267"/>
                    </a:cubicBezTo>
                    <a:cubicBezTo>
                      <a:pt x="137" y="269"/>
                      <a:pt x="142" y="270"/>
                      <a:pt x="147" y="270"/>
                    </a:cubicBezTo>
                    <a:cubicBezTo>
                      <a:pt x="155" y="270"/>
                      <a:pt x="163" y="268"/>
                      <a:pt x="170" y="264"/>
                    </a:cubicBezTo>
                    <a:cubicBezTo>
                      <a:pt x="155" y="255"/>
                      <a:pt x="146" y="239"/>
                      <a:pt x="146" y="221"/>
                    </a:cubicBezTo>
                    <a:cubicBezTo>
                      <a:pt x="146" y="195"/>
                      <a:pt x="164" y="174"/>
                      <a:pt x="188" y="169"/>
                    </a:cubicBezTo>
                    <a:cubicBezTo>
                      <a:pt x="193" y="158"/>
                      <a:pt x="202" y="149"/>
                      <a:pt x="213" y="144"/>
                    </a:cubicBezTo>
                    <a:cubicBezTo>
                      <a:pt x="207" y="134"/>
                      <a:pt x="198" y="127"/>
                      <a:pt x="188" y="122"/>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37">
                <a:extLst>
                  <a:ext uri="{FF2B5EF4-FFF2-40B4-BE49-F238E27FC236}">
                    <a16:creationId xmlns:a16="http://schemas.microsoft.com/office/drawing/2014/main" xmlns="" id="{BDEF46B1-8621-4418-BA23-0E1EB0B75F6E}"/>
                  </a:ext>
                </a:extLst>
              </p:cNvPr>
              <p:cNvSpPr>
                <a:spLocks/>
              </p:cNvSpPr>
              <p:nvPr/>
            </p:nvSpPr>
            <p:spPr bwMode="auto">
              <a:xfrm>
                <a:off x="8083551" y="3911601"/>
                <a:ext cx="519113" cy="615950"/>
              </a:xfrm>
              <a:custGeom>
                <a:avLst/>
                <a:gdLst>
                  <a:gd name="T0" fmla="*/ 227 w 227"/>
                  <a:gd name="T1" fmla="*/ 113 h 269"/>
                  <a:gd name="T2" fmla="*/ 191 w 227"/>
                  <a:gd name="T3" fmla="*/ 63 h 269"/>
                  <a:gd name="T4" fmla="*/ 151 w 227"/>
                  <a:gd name="T5" fmla="*/ 30 h 269"/>
                  <a:gd name="T6" fmla="*/ 147 w 227"/>
                  <a:gd name="T7" fmla="*/ 31 h 269"/>
                  <a:gd name="T8" fmla="*/ 112 w 227"/>
                  <a:gd name="T9" fmla="*/ 0 h 269"/>
                  <a:gd name="T10" fmla="*/ 78 w 227"/>
                  <a:gd name="T11" fmla="*/ 27 h 269"/>
                  <a:gd name="T12" fmla="*/ 42 w 227"/>
                  <a:gd name="T13" fmla="*/ 55 h 269"/>
                  <a:gd name="T14" fmla="*/ 0 w 227"/>
                  <a:gd name="T15" fmla="*/ 107 h 269"/>
                  <a:gd name="T16" fmla="*/ 39 w 227"/>
                  <a:gd name="T17" fmla="*/ 157 h 269"/>
                  <a:gd name="T18" fmla="*/ 75 w 227"/>
                  <a:gd name="T19" fmla="*/ 191 h 269"/>
                  <a:gd name="T20" fmla="*/ 100 w 227"/>
                  <a:gd name="T21" fmla="*/ 206 h 269"/>
                  <a:gd name="T22" fmla="*/ 107 w 227"/>
                  <a:gd name="T23" fmla="*/ 205 h 269"/>
                  <a:gd name="T24" fmla="*/ 107 w 227"/>
                  <a:gd name="T25" fmla="*/ 269 h 269"/>
                  <a:gd name="T26" fmla="*/ 125 w 227"/>
                  <a:gd name="T27" fmla="*/ 269 h 269"/>
                  <a:gd name="T28" fmla="*/ 125 w 227"/>
                  <a:gd name="T29" fmla="*/ 191 h 269"/>
                  <a:gd name="T30" fmla="*/ 125 w 227"/>
                  <a:gd name="T31" fmla="*/ 191 h 269"/>
                  <a:gd name="T32" fmla="*/ 144 w 227"/>
                  <a:gd name="T33" fmla="*/ 195 h 269"/>
                  <a:gd name="T34" fmla="*/ 186 w 227"/>
                  <a:gd name="T35" fmla="*/ 165 h 269"/>
                  <a:gd name="T36" fmla="*/ 227 w 227"/>
                  <a:gd name="T37" fmla="*/ 11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7" h="269">
                    <a:moveTo>
                      <a:pt x="227" y="113"/>
                    </a:moveTo>
                    <a:cubicBezTo>
                      <a:pt x="227" y="90"/>
                      <a:pt x="212" y="70"/>
                      <a:pt x="191" y="63"/>
                    </a:cubicBezTo>
                    <a:cubicBezTo>
                      <a:pt x="187" y="45"/>
                      <a:pt x="171" y="30"/>
                      <a:pt x="151" y="30"/>
                    </a:cubicBezTo>
                    <a:cubicBezTo>
                      <a:pt x="150" y="30"/>
                      <a:pt x="148" y="30"/>
                      <a:pt x="147" y="31"/>
                    </a:cubicBezTo>
                    <a:cubicBezTo>
                      <a:pt x="144" y="13"/>
                      <a:pt x="129" y="0"/>
                      <a:pt x="112" y="0"/>
                    </a:cubicBezTo>
                    <a:cubicBezTo>
                      <a:pt x="95" y="0"/>
                      <a:pt x="82" y="12"/>
                      <a:pt x="78" y="27"/>
                    </a:cubicBezTo>
                    <a:cubicBezTo>
                      <a:pt x="61" y="29"/>
                      <a:pt x="48" y="40"/>
                      <a:pt x="42" y="55"/>
                    </a:cubicBezTo>
                    <a:cubicBezTo>
                      <a:pt x="18" y="60"/>
                      <a:pt x="0" y="81"/>
                      <a:pt x="0" y="107"/>
                    </a:cubicBezTo>
                    <a:cubicBezTo>
                      <a:pt x="0" y="131"/>
                      <a:pt x="17" y="152"/>
                      <a:pt x="39" y="157"/>
                    </a:cubicBezTo>
                    <a:cubicBezTo>
                      <a:pt x="43" y="174"/>
                      <a:pt x="57" y="188"/>
                      <a:pt x="75" y="191"/>
                    </a:cubicBezTo>
                    <a:cubicBezTo>
                      <a:pt x="80" y="200"/>
                      <a:pt x="89" y="206"/>
                      <a:pt x="100" y="206"/>
                    </a:cubicBezTo>
                    <a:cubicBezTo>
                      <a:pt x="103" y="206"/>
                      <a:pt x="105" y="206"/>
                      <a:pt x="107" y="205"/>
                    </a:cubicBezTo>
                    <a:cubicBezTo>
                      <a:pt x="107" y="269"/>
                      <a:pt x="107" y="269"/>
                      <a:pt x="107" y="269"/>
                    </a:cubicBezTo>
                    <a:cubicBezTo>
                      <a:pt x="125" y="269"/>
                      <a:pt x="125" y="269"/>
                      <a:pt x="125" y="269"/>
                    </a:cubicBezTo>
                    <a:cubicBezTo>
                      <a:pt x="125" y="191"/>
                      <a:pt x="125" y="191"/>
                      <a:pt x="125" y="191"/>
                    </a:cubicBezTo>
                    <a:cubicBezTo>
                      <a:pt x="125" y="191"/>
                      <a:pt x="125" y="191"/>
                      <a:pt x="125" y="191"/>
                    </a:cubicBezTo>
                    <a:cubicBezTo>
                      <a:pt x="131" y="194"/>
                      <a:pt x="137" y="195"/>
                      <a:pt x="144" y="195"/>
                    </a:cubicBezTo>
                    <a:cubicBezTo>
                      <a:pt x="164" y="195"/>
                      <a:pt x="180" y="182"/>
                      <a:pt x="186" y="165"/>
                    </a:cubicBezTo>
                    <a:cubicBezTo>
                      <a:pt x="209" y="159"/>
                      <a:pt x="227" y="138"/>
                      <a:pt x="227" y="113"/>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0" name="Ellipse 61">
              <a:extLst>
                <a:ext uri="{FF2B5EF4-FFF2-40B4-BE49-F238E27FC236}">
                  <a16:creationId xmlns:a16="http://schemas.microsoft.com/office/drawing/2014/main" xmlns="" id="{4828CF2B-D0E3-4C99-9333-51FBA80A3DE0}"/>
                </a:ext>
              </a:extLst>
            </p:cNvPr>
            <p:cNvSpPr>
              <a:spLocks/>
            </p:cNvSpPr>
            <p:nvPr/>
          </p:nvSpPr>
          <p:spPr>
            <a:xfrm rot="5400000">
              <a:off x="2979644" y="1284648"/>
              <a:ext cx="432000" cy="1507777"/>
            </a:xfrm>
            <a:prstGeom prst="rect">
              <a:avLst/>
            </a:prstGeom>
            <a:noFill/>
            <a:ln>
              <a:noFill/>
            </a:ln>
          </p:spPr>
          <p:txBody>
            <a:bodyPr vert="vert270" wrap="square" lIns="0" tIns="0" rIns="0" bIns="0" rtlCol="0" anchor="ctr" anchorCtr="0"/>
            <a:lstStyle/>
            <a:p>
              <a:pPr algn="ctr">
                <a:spcAft>
                  <a:spcPts val="600"/>
                </a:spcAft>
              </a:pPr>
              <a:r>
                <a:rPr lang="en-GB" sz="1600" dirty="0"/>
                <a:t>Político / Jurídico</a:t>
              </a:r>
              <a:br>
                <a:rPr lang="en-GB" sz="1600" dirty="0"/>
              </a:br>
              <a:r>
                <a:rPr lang="en-GB" dirty="0"/>
                <a:t>Medio ambiente</a:t>
              </a:r>
              <a:endParaRPr lang="en-GB" sz="1600" dirty="0">
                <a:cs typeface="Calibri"/>
              </a:endParaRPr>
            </a:p>
          </p:txBody>
        </p:sp>
        <p:sp>
          <p:nvSpPr>
            <p:cNvPr id="101" name="Ellipse 61">
              <a:extLst>
                <a:ext uri="{FF2B5EF4-FFF2-40B4-BE49-F238E27FC236}">
                  <a16:creationId xmlns:a16="http://schemas.microsoft.com/office/drawing/2014/main" xmlns="" id="{1F121331-B9EE-43A0-8D37-FC03A4F13E2F}"/>
                </a:ext>
              </a:extLst>
            </p:cNvPr>
            <p:cNvSpPr>
              <a:spLocks/>
            </p:cNvSpPr>
            <p:nvPr/>
          </p:nvSpPr>
          <p:spPr>
            <a:xfrm rot="5400000">
              <a:off x="8790645" y="1318536"/>
              <a:ext cx="432000" cy="1440000"/>
            </a:xfrm>
            <a:prstGeom prst="rect">
              <a:avLst/>
            </a:prstGeom>
            <a:noFill/>
            <a:ln>
              <a:noFill/>
            </a:ln>
          </p:spPr>
          <p:txBody>
            <a:bodyPr vert="vert270" wrap="square" lIns="0" tIns="0" rIns="0" bIns="0" rtlCol="0" anchor="ctr" anchorCtr="0"/>
            <a:lstStyle/>
            <a:p>
              <a:pPr algn="ctr">
                <a:spcAft>
                  <a:spcPts val="600"/>
                </a:spcAft>
              </a:pPr>
              <a:r>
                <a:rPr lang="en-GB" sz="1600" dirty="0"/>
                <a:t>Económico </a:t>
              </a:r>
              <a:br>
                <a:rPr lang="en-GB" sz="1600" dirty="0"/>
              </a:br>
              <a:r>
                <a:rPr lang="en-GB" sz="1600" dirty="0"/>
                <a:t>Medio ambiente</a:t>
              </a:r>
              <a:endParaRPr lang="en-GB" sz="1600" dirty="0">
                <a:cs typeface="Calibri"/>
              </a:endParaRPr>
            </a:p>
          </p:txBody>
        </p:sp>
        <p:sp>
          <p:nvSpPr>
            <p:cNvPr id="102" name="Ellipse 61">
              <a:extLst>
                <a:ext uri="{FF2B5EF4-FFF2-40B4-BE49-F238E27FC236}">
                  <a16:creationId xmlns:a16="http://schemas.microsoft.com/office/drawing/2014/main" xmlns="" id="{A0000FED-6E92-42B8-BA47-345EDB9A31CB}"/>
                </a:ext>
              </a:extLst>
            </p:cNvPr>
            <p:cNvSpPr>
              <a:spLocks/>
            </p:cNvSpPr>
            <p:nvPr/>
          </p:nvSpPr>
          <p:spPr>
            <a:xfrm rot="5400000">
              <a:off x="8790645" y="4377654"/>
              <a:ext cx="432000" cy="1440000"/>
            </a:xfrm>
            <a:prstGeom prst="rect">
              <a:avLst/>
            </a:prstGeom>
            <a:noFill/>
            <a:ln>
              <a:noFill/>
            </a:ln>
          </p:spPr>
          <p:txBody>
            <a:bodyPr vert="vert270" wrap="square" lIns="0" tIns="0" rIns="0" bIns="0" rtlCol="0" anchor="ctr" anchorCtr="0"/>
            <a:lstStyle/>
            <a:p>
              <a:pPr algn="ctr">
                <a:spcAft>
                  <a:spcPts val="600"/>
                </a:spcAft>
              </a:pPr>
              <a:r>
                <a:rPr lang="en-GB" sz="1600" dirty="0"/>
                <a:t>Entorno social</a:t>
              </a:r>
              <a:endParaRPr lang="en-GB" sz="1600" dirty="0">
                <a:cs typeface="Calibri"/>
              </a:endParaRPr>
            </a:p>
          </p:txBody>
        </p:sp>
        <p:sp>
          <p:nvSpPr>
            <p:cNvPr id="103" name="Ellipse 61">
              <a:extLst>
                <a:ext uri="{FF2B5EF4-FFF2-40B4-BE49-F238E27FC236}">
                  <a16:creationId xmlns:a16="http://schemas.microsoft.com/office/drawing/2014/main" xmlns="" id="{9092344C-388A-4616-89F5-8EAFC10AB22F}"/>
                </a:ext>
              </a:extLst>
            </p:cNvPr>
            <p:cNvSpPr>
              <a:spLocks/>
            </p:cNvSpPr>
            <p:nvPr/>
          </p:nvSpPr>
          <p:spPr>
            <a:xfrm rot="5400000">
              <a:off x="2994539" y="4377654"/>
              <a:ext cx="432000" cy="1440000"/>
            </a:xfrm>
            <a:prstGeom prst="rect">
              <a:avLst/>
            </a:prstGeom>
            <a:noFill/>
            <a:ln>
              <a:noFill/>
            </a:ln>
          </p:spPr>
          <p:txBody>
            <a:bodyPr vert="vert270" wrap="square" lIns="0" tIns="0" rIns="0" bIns="0" rtlCol="0" anchor="ctr" anchorCtr="0"/>
            <a:lstStyle/>
            <a:p>
              <a:pPr algn="ctr">
                <a:spcAft>
                  <a:spcPts val="600"/>
                </a:spcAft>
              </a:pPr>
              <a:r>
                <a:rPr lang="en-GB" sz="1600" dirty="0"/>
                <a:t>Ecológico</a:t>
              </a:r>
              <a:br>
                <a:rPr lang="en-GB" sz="1600" dirty="0"/>
              </a:br>
              <a:r>
                <a:rPr lang="en-GB" sz="1600" dirty="0"/>
                <a:t>Medio ambiente</a:t>
              </a:r>
              <a:r>
                <a:rPr lang="en-GB" sz="1400" dirty="0"/>
                <a:t/>
              </a:r>
              <a:br>
                <a:rPr lang="en-GB" sz="1400" dirty="0"/>
              </a:br>
              <a:endParaRPr lang="en-GB" sz="1400" dirty="0"/>
            </a:p>
          </p:txBody>
        </p:sp>
        <p:sp>
          <p:nvSpPr>
            <p:cNvPr id="104" name="Ellipse 61">
              <a:extLst>
                <a:ext uri="{FF2B5EF4-FFF2-40B4-BE49-F238E27FC236}">
                  <a16:creationId xmlns:a16="http://schemas.microsoft.com/office/drawing/2014/main" xmlns="" id="{3447823A-AC12-4EA8-8E99-3320DA809566}"/>
                </a:ext>
              </a:extLst>
            </p:cNvPr>
            <p:cNvSpPr>
              <a:spLocks/>
            </p:cNvSpPr>
            <p:nvPr/>
          </p:nvSpPr>
          <p:spPr>
            <a:xfrm rot="5400000">
              <a:off x="6125180" y="5218493"/>
              <a:ext cx="206741" cy="2399491"/>
            </a:xfrm>
            <a:prstGeom prst="rect">
              <a:avLst/>
            </a:prstGeom>
            <a:noFill/>
            <a:ln>
              <a:noFill/>
            </a:ln>
          </p:spPr>
          <p:txBody>
            <a:bodyPr vert="vert270" wrap="square" lIns="0" tIns="0" rIns="0" bIns="0" rtlCol="0" anchor="ctr" anchorCtr="0"/>
            <a:lstStyle/>
            <a:p>
              <a:pPr algn="ctr">
                <a:spcAft>
                  <a:spcPts val="600"/>
                </a:spcAft>
              </a:pPr>
              <a:r>
                <a:rPr lang="en-GB" sz="1600" dirty="0"/>
                <a:t>Entorno tecnológico</a:t>
              </a:r>
              <a:endParaRPr lang="en-US" sz="1600">
                <a:cs typeface="Calibri"/>
              </a:endParaRPr>
            </a:p>
          </p:txBody>
        </p:sp>
        <p:sp>
          <p:nvSpPr>
            <p:cNvPr id="105" name="AutoShape 36">
              <a:extLst>
                <a:ext uri="{FF2B5EF4-FFF2-40B4-BE49-F238E27FC236}">
                  <a16:creationId xmlns:a16="http://schemas.microsoft.com/office/drawing/2014/main" xmlns="" id="{5763F6DC-32B5-48D1-8A1E-7654A5C5961C}"/>
                </a:ext>
              </a:extLst>
            </p:cNvPr>
            <p:cNvSpPr txBox="1">
              <a:spLocks noChangeAspect="1"/>
            </p:cNvSpPr>
            <p:nvPr/>
          </p:nvSpPr>
          <p:spPr bwMode="gray">
            <a:xfrm rot="2700000">
              <a:off x="4808310" y="2349472"/>
              <a:ext cx="212308" cy="216000"/>
            </a:xfrm>
            <a:prstGeom prst="chevron">
              <a:avLst>
                <a:gd name="adj" fmla="val 35010"/>
              </a:avLst>
            </a:prstGeom>
            <a:solidFill>
              <a:srgbClr val="E53292"/>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6" name="AutoShape 36">
              <a:extLst>
                <a:ext uri="{FF2B5EF4-FFF2-40B4-BE49-F238E27FC236}">
                  <a16:creationId xmlns:a16="http://schemas.microsoft.com/office/drawing/2014/main" xmlns="" id="{70E66169-A105-4EE3-B42F-7EDBEE3F5906}"/>
                </a:ext>
              </a:extLst>
            </p:cNvPr>
            <p:cNvSpPr txBox="1">
              <a:spLocks noChangeAspect="1"/>
            </p:cNvSpPr>
            <p:nvPr/>
          </p:nvSpPr>
          <p:spPr bwMode="gray">
            <a:xfrm rot="19569900">
              <a:off x="4399338" y="4510433"/>
              <a:ext cx="212308" cy="216000"/>
            </a:xfrm>
            <a:prstGeom prst="chevron">
              <a:avLst>
                <a:gd name="adj" fmla="val 35010"/>
              </a:avLst>
            </a:prstGeom>
            <a:solidFill>
              <a:srgbClr val="002060"/>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7" name="AutoShape 36">
              <a:extLst>
                <a:ext uri="{FF2B5EF4-FFF2-40B4-BE49-F238E27FC236}">
                  <a16:creationId xmlns:a16="http://schemas.microsoft.com/office/drawing/2014/main" xmlns="" id="{38825D42-82F4-4F4C-802C-0A586AA0E9E7}"/>
                </a:ext>
              </a:extLst>
            </p:cNvPr>
            <p:cNvSpPr txBox="1">
              <a:spLocks noChangeAspect="1"/>
            </p:cNvSpPr>
            <p:nvPr/>
          </p:nvSpPr>
          <p:spPr bwMode="gray">
            <a:xfrm rot="8100000">
              <a:off x="7317013" y="2529226"/>
              <a:ext cx="212308" cy="216000"/>
            </a:xfrm>
            <a:prstGeom prst="chevron">
              <a:avLst>
                <a:gd name="adj" fmla="val 35010"/>
              </a:avLst>
            </a:prstGeom>
            <a:solidFill>
              <a:schemeClr val="accent2"/>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8" name="AutoShape 36">
              <a:extLst>
                <a:ext uri="{FF2B5EF4-FFF2-40B4-BE49-F238E27FC236}">
                  <a16:creationId xmlns:a16="http://schemas.microsoft.com/office/drawing/2014/main" xmlns="" id="{9CD7BEBF-CEE2-4B99-8EEE-4723A42A344E}"/>
                </a:ext>
              </a:extLst>
            </p:cNvPr>
            <p:cNvSpPr txBox="1">
              <a:spLocks noChangeAspect="1"/>
            </p:cNvSpPr>
            <p:nvPr/>
          </p:nvSpPr>
          <p:spPr bwMode="gray">
            <a:xfrm rot="2267131" flipH="1" flipV="1">
              <a:off x="7509808" y="4661526"/>
              <a:ext cx="212308" cy="216000"/>
            </a:xfrm>
            <a:prstGeom prst="chevron">
              <a:avLst>
                <a:gd name="adj" fmla="val 35010"/>
              </a:avLst>
            </a:prstGeom>
            <a:solidFill>
              <a:schemeClr val="accent5"/>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9" name="AutoShape 36">
              <a:extLst>
                <a:ext uri="{FF2B5EF4-FFF2-40B4-BE49-F238E27FC236}">
                  <a16:creationId xmlns:a16="http://schemas.microsoft.com/office/drawing/2014/main" xmlns="" id="{692520F7-5B85-4F78-BD86-5878B39AEF78}"/>
                </a:ext>
              </a:extLst>
            </p:cNvPr>
            <p:cNvSpPr txBox="1">
              <a:spLocks noChangeAspect="1"/>
            </p:cNvSpPr>
            <p:nvPr/>
          </p:nvSpPr>
          <p:spPr bwMode="gray">
            <a:xfrm rot="16200000">
              <a:off x="6002038" y="5518250"/>
              <a:ext cx="212308" cy="216000"/>
            </a:xfrm>
            <a:prstGeom prst="chevron">
              <a:avLst>
                <a:gd name="adj" fmla="val 35010"/>
              </a:avLst>
            </a:prstGeom>
            <a:solidFill>
              <a:srgbClr val="00B050"/>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grpSp>
    </p:spTree>
    <p:extLst>
      <p:ext uri="{BB962C8B-B14F-4D97-AF65-F5344CB8AC3E}">
        <p14:creationId xmlns:p14="http://schemas.microsoft.com/office/powerpoint/2010/main" val="35851180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5147" y="623992"/>
            <a:ext cx="8852375" cy="697353"/>
          </a:xfrm>
        </p:spPr>
        <p:txBody>
          <a:bodyPr>
            <a:normAutofit/>
          </a:bodyPr>
          <a:lstStyle/>
          <a:p>
            <a:r>
              <a:rPr lang="en-GB" dirty="0"/>
              <a:t>Concepto de reestructuración: Análisis de la carter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1650" y="1887509"/>
            <a:ext cx="2977843" cy="448358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análisis de cartera es el proceso de revisión o evaluación de los elementos de toda la cartera de valores o productos de una empresa. La revisión se realiza para analizar cuidadosamente el riesgo y la rentabilidad. El análisis también ayuda a la correcta asignación de recursos/activos a los diferentes elementos de la cartera.</a:t>
            </a:r>
            <a:endParaRPr lang="en-US" sz="2200" dirty="0">
              <a:solidFill>
                <a:srgbClr val="245473"/>
              </a:solidFill>
            </a:endParaRPr>
          </a:p>
        </p:txBody>
      </p:sp>
      <p:grpSp>
        <p:nvGrpSpPr>
          <p:cNvPr id="5" name="Gruppieren 4">
            <a:extLst>
              <a:ext uri="{FF2B5EF4-FFF2-40B4-BE49-F238E27FC236}">
                <a16:creationId xmlns:a16="http://schemas.microsoft.com/office/drawing/2014/main" xmlns="" id="{1B76796B-C9AA-4190-88E6-D0119F3A7C57}"/>
              </a:ext>
            </a:extLst>
          </p:cNvPr>
          <p:cNvGrpSpPr/>
          <p:nvPr/>
        </p:nvGrpSpPr>
        <p:grpSpPr>
          <a:xfrm>
            <a:off x="3361938" y="1715096"/>
            <a:ext cx="8560427" cy="4596025"/>
            <a:chOff x="1824636" y="1854550"/>
            <a:chExt cx="8560427" cy="4596025"/>
          </a:xfrm>
        </p:grpSpPr>
        <p:sp>
          <p:nvSpPr>
            <p:cNvPr id="53" name="Textplatzhalter 3">
              <a:extLst>
                <a:ext uri="{FF2B5EF4-FFF2-40B4-BE49-F238E27FC236}">
                  <a16:creationId xmlns:a16="http://schemas.microsoft.com/office/drawing/2014/main" xmlns="" id="{89F04E0E-6200-4D6B-85E5-B64304DBEA4D}"/>
                </a:ext>
              </a:extLst>
            </p:cNvPr>
            <p:cNvSpPr txBox="1">
              <a:spLocks/>
            </p:cNvSpPr>
            <p:nvPr/>
          </p:nvSpPr>
          <p:spPr bwMode="gray">
            <a:xfrm>
              <a:off x="2371227" y="4025212"/>
              <a:ext cx="3950462" cy="1941321"/>
            </a:xfrm>
            <a:prstGeom prst="rect">
              <a:avLst/>
            </a:prstGeom>
            <a:solidFill>
              <a:srgbClr val="E53292"/>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Pobres perros</a:t>
              </a:r>
            </a:p>
          </p:txBody>
        </p:sp>
        <p:sp>
          <p:nvSpPr>
            <p:cNvPr id="54" name="Textplatzhalter 3">
              <a:extLst>
                <a:ext uri="{FF2B5EF4-FFF2-40B4-BE49-F238E27FC236}">
                  <a16:creationId xmlns:a16="http://schemas.microsoft.com/office/drawing/2014/main" xmlns="" id="{5B97D2D6-5395-4C78-9417-079579A7E4D3}"/>
                </a:ext>
              </a:extLst>
            </p:cNvPr>
            <p:cNvSpPr txBox="1">
              <a:spLocks/>
            </p:cNvSpPr>
            <p:nvPr/>
          </p:nvSpPr>
          <p:spPr bwMode="gray">
            <a:xfrm>
              <a:off x="6393688" y="4025212"/>
              <a:ext cx="3950462" cy="1941322"/>
            </a:xfrm>
            <a:prstGeom prst="rect">
              <a:avLst/>
            </a:prstGeom>
            <a:solidFill>
              <a:schemeClr val="tx1">
                <a:lumMod val="50000"/>
                <a:lumOff val="50000"/>
              </a:schemeClr>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Vacas de pago</a:t>
              </a:r>
            </a:p>
          </p:txBody>
        </p:sp>
        <p:sp>
          <p:nvSpPr>
            <p:cNvPr id="55" name="Textplatzhalter 3">
              <a:extLst>
                <a:ext uri="{FF2B5EF4-FFF2-40B4-BE49-F238E27FC236}">
                  <a16:creationId xmlns:a16="http://schemas.microsoft.com/office/drawing/2014/main" xmlns="" id="{8BEDD873-E64C-40F4-B182-FB5F5CDAD1C9}"/>
                </a:ext>
              </a:extLst>
            </p:cNvPr>
            <p:cNvSpPr txBox="1">
              <a:spLocks/>
            </p:cNvSpPr>
            <p:nvPr/>
          </p:nvSpPr>
          <p:spPr bwMode="gray">
            <a:xfrm>
              <a:off x="6393689" y="2011890"/>
              <a:ext cx="3950461" cy="1941322"/>
            </a:xfrm>
            <a:prstGeom prst="rect">
              <a:avLst/>
            </a:prstGeom>
            <a:solidFill>
              <a:schemeClr val="accent6"/>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Estrellas</a:t>
              </a:r>
            </a:p>
          </p:txBody>
        </p:sp>
        <p:sp>
          <p:nvSpPr>
            <p:cNvPr id="56" name="Textplatzhalter 3">
              <a:extLst>
                <a:ext uri="{FF2B5EF4-FFF2-40B4-BE49-F238E27FC236}">
                  <a16:creationId xmlns:a16="http://schemas.microsoft.com/office/drawing/2014/main" xmlns="" id="{3A478D9D-309E-4A47-9781-A3641C71BD29}"/>
                </a:ext>
              </a:extLst>
            </p:cNvPr>
            <p:cNvSpPr txBox="1">
              <a:spLocks/>
            </p:cNvSpPr>
            <p:nvPr/>
          </p:nvSpPr>
          <p:spPr bwMode="gray">
            <a:xfrm>
              <a:off x="2371228" y="2011891"/>
              <a:ext cx="3950461" cy="1941321"/>
            </a:xfrm>
            <a:prstGeom prst="rect">
              <a:avLst/>
            </a:prstGeom>
            <a:solidFill>
              <a:schemeClr val="bg1">
                <a:lumMod val="95000"/>
              </a:schemeClr>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Signos de interrogación</a:t>
              </a:r>
            </a:p>
          </p:txBody>
        </p:sp>
        <p:cxnSp>
          <p:nvCxnSpPr>
            <p:cNvPr id="57" name="Gerade Verbindung mit Pfeil 56">
              <a:extLst>
                <a:ext uri="{FF2B5EF4-FFF2-40B4-BE49-F238E27FC236}">
                  <a16:creationId xmlns:a16="http://schemas.microsoft.com/office/drawing/2014/main" xmlns="" id="{6972CBF0-9DF4-4EA3-B20D-DD9C1FC6A4D7}"/>
                </a:ext>
              </a:extLst>
            </p:cNvPr>
            <p:cNvCxnSpPr/>
            <p:nvPr/>
          </p:nvCxnSpPr>
          <p:spPr>
            <a:xfrm>
              <a:off x="1994232" y="2337411"/>
              <a:ext cx="0" cy="3243255"/>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8" name="Gruppieren 57">
              <a:extLst>
                <a:ext uri="{FF2B5EF4-FFF2-40B4-BE49-F238E27FC236}">
                  <a16:creationId xmlns:a16="http://schemas.microsoft.com/office/drawing/2014/main" xmlns="" id="{14DFE472-6EC6-413C-9FF1-C4DE02E0BDAA}"/>
                </a:ext>
              </a:extLst>
            </p:cNvPr>
            <p:cNvGrpSpPr>
              <a:grpSpLocks noChangeAspect="1"/>
            </p:cNvGrpSpPr>
            <p:nvPr/>
          </p:nvGrpSpPr>
          <p:grpSpPr>
            <a:xfrm>
              <a:off x="1880349" y="2000399"/>
              <a:ext cx="227766" cy="227766"/>
              <a:chOff x="275183" y="2200270"/>
              <a:chExt cx="576064" cy="576064"/>
            </a:xfrm>
          </p:grpSpPr>
          <p:sp>
            <p:nvSpPr>
              <p:cNvPr id="59" name="Ellipse 58">
                <a:extLst>
                  <a:ext uri="{FF2B5EF4-FFF2-40B4-BE49-F238E27FC236}">
                    <a16:creationId xmlns:a16="http://schemas.microsoft.com/office/drawing/2014/main" xmlns="" id="{3D4810D7-DAD4-4A8B-AFF6-B0121A170660}"/>
                  </a:ext>
                </a:extLst>
              </p:cNvPr>
              <p:cNvSpPr/>
              <p:nvPr/>
            </p:nvSpPr>
            <p:spPr>
              <a:xfrm>
                <a:off x="275183" y="2200270"/>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0" name="Kreuz 59">
                <a:extLst>
                  <a:ext uri="{FF2B5EF4-FFF2-40B4-BE49-F238E27FC236}">
                    <a16:creationId xmlns:a16="http://schemas.microsoft.com/office/drawing/2014/main" xmlns="" id="{105A27FD-DBB2-450C-901C-122FCC745779}"/>
                  </a:ext>
                </a:extLst>
              </p:cNvPr>
              <p:cNvSpPr/>
              <p:nvPr/>
            </p:nvSpPr>
            <p:spPr>
              <a:xfrm>
                <a:off x="383195" y="2308282"/>
                <a:ext cx="360040" cy="360040"/>
              </a:xfrm>
              <a:prstGeom prst="plus">
                <a:avLst>
                  <a:gd name="adj" fmla="val 355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1" name="Gruppieren 60">
              <a:extLst>
                <a:ext uri="{FF2B5EF4-FFF2-40B4-BE49-F238E27FC236}">
                  <a16:creationId xmlns:a16="http://schemas.microsoft.com/office/drawing/2014/main" xmlns="" id="{A408DBFB-DE36-491A-9F19-80FAA4ED1F08}"/>
                </a:ext>
              </a:extLst>
            </p:cNvPr>
            <p:cNvGrpSpPr>
              <a:grpSpLocks noChangeAspect="1"/>
            </p:cNvGrpSpPr>
            <p:nvPr/>
          </p:nvGrpSpPr>
          <p:grpSpPr>
            <a:xfrm>
              <a:off x="1880349" y="5700420"/>
              <a:ext cx="227766" cy="227766"/>
              <a:chOff x="244903" y="2763008"/>
              <a:chExt cx="576064" cy="576064"/>
            </a:xfrm>
          </p:grpSpPr>
          <p:sp>
            <p:nvSpPr>
              <p:cNvPr id="62" name="Ellipse 61">
                <a:extLst>
                  <a:ext uri="{FF2B5EF4-FFF2-40B4-BE49-F238E27FC236}">
                    <a16:creationId xmlns:a16="http://schemas.microsoft.com/office/drawing/2014/main" xmlns="" id="{756F1197-5375-4289-B10C-16143B972D60}"/>
                  </a:ext>
                </a:extLst>
              </p:cNvPr>
              <p:cNvSpPr/>
              <p:nvPr/>
            </p:nvSpPr>
            <p:spPr>
              <a:xfrm>
                <a:off x="244903" y="2763008"/>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3" name="Rechteck 62">
                <a:extLst>
                  <a:ext uri="{FF2B5EF4-FFF2-40B4-BE49-F238E27FC236}">
                    <a16:creationId xmlns:a16="http://schemas.microsoft.com/office/drawing/2014/main" xmlns="" id="{94326DED-EDE4-46DC-8E23-6163F22094D7}"/>
                  </a:ext>
                </a:extLst>
              </p:cNvPr>
              <p:cNvSpPr/>
              <p:nvPr/>
            </p:nvSpPr>
            <p:spPr>
              <a:xfrm>
                <a:off x="379880" y="3002079"/>
                <a:ext cx="306110" cy="979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4" name="Gruppieren 63">
              <a:extLst>
                <a:ext uri="{FF2B5EF4-FFF2-40B4-BE49-F238E27FC236}">
                  <a16:creationId xmlns:a16="http://schemas.microsoft.com/office/drawing/2014/main" xmlns="" id="{1A70AA40-DFCD-460D-86A0-792F6A2AF927}"/>
                </a:ext>
              </a:extLst>
            </p:cNvPr>
            <p:cNvGrpSpPr>
              <a:grpSpLocks noChangeAspect="1"/>
            </p:cNvGrpSpPr>
            <p:nvPr/>
          </p:nvGrpSpPr>
          <p:grpSpPr>
            <a:xfrm>
              <a:off x="10109225" y="6192395"/>
              <a:ext cx="227766" cy="227766"/>
              <a:chOff x="275183" y="2200270"/>
              <a:chExt cx="576064" cy="576064"/>
            </a:xfrm>
          </p:grpSpPr>
          <p:sp>
            <p:nvSpPr>
              <p:cNvPr id="65" name="Ellipse 64">
                <a:extLst>
                  <a:ext uri="{FF2B5EF4-FFF2-40B4-BE49-F238E27FC236}">
                    <a16:creationId xmlns:a16="http://schemas.microsoft.com/office/drawing/2014/main" xmlns="" id="{3BCF5B43-42BB-4357-BBF8-A7E23B171D17}"/>
                  </a:ext>
                </a:extLst>
              </p:cNvPr>
              <p:cNvSpPr/>
              <p:nvPr/>
            </p:nvSpPr>
            <p:spPr>
              <a:xfrm>
                <a:off x="275183" y="2200270"/>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6" name="Kreuz 65">
                <a:extLst>
                  <a:ext uri="{FF2B5EF4-FFF2-40B4-BE49-F238E27FC236}">
                    <a16:creationId xmlns:a16="http://schemas.microsoft.com/office/drawing/2014/main" xmlns="" id="{0A8F5FB2-61B0-4EEB-880C-95CE0F492F77}"/>
                  </a:ext>
                </a:extLst>
              </p:cNvPr>
              <p:cNvSpPr/>
              <p:nvPr/>
            </p:nvSpPr>
            <p:spPr>
              <a:xfrm>
                <a:off x="383195" y="2308282"/>
                <a:ext cx="360040" cy="360040"/>
              </a:xfrm>
              <a:prstGeom prst="plus">
                <a:avLst>
                  <a:gd name="adj" fmla="val 355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7" name="Gruppieren 66">
              <a:extLst>
                <a:ext uri="{FF2B5EF4-FFF2-40B4-BE49-F238E27FC236}">
                  <a16:creationId xmlns:a16="http://schemas.microsoft.com/office/drawing/2014/main" xmlns="" id="{462146D2-A48B-445C-AD08-AF8445AA8378}"/>
                </a:ext>
              </a:extLst>
            </p:cNvPr>
            <p:cNvGrpSpPr>
              <a:grpSpLocks noChangeAspect="1"/>
            </p:cNvGrpSpPr>
            <p:nvPr/>
          </p:nvGrpSpPr>
          <p:grpSpPr>
            <a:xfrm>
              <a:off x="2369863" y="6192395"/>
              <a:ext cx="227766" cy="227766"/>
              <a:chOff x="244903" y="2763008"/>
              <a:chExt cx="576064" cy="576064"/>
            </a:xfrm>
          </p:grpSpPr>
          <p:sp>
            <p:nvSpPr>
              <p:cNvPr id="68" name="Ellipse 67">
                <a:extLst>
                  <a:ext uri="{FF2B5EF4-FFF2-40B4-BE49-F238E27FC236}">
                    <a16:creationId xmlns:a16="http://schemas.microsoft.com/office/drawing/2014/main" xmlns="" id="{42DB0DDA-EABF-4237-A4CB-DE82EE200560}"/>
                  </a:ext>
                </a:extLst>
              </p:cNvPr>
              <p:cNvSpPr/>
              <p:nvPr/>
            </p:nvSpPr>
            <p:spPr>
              <a:xfrm>
                <a:off x="244903" y="2763008"/>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9" name="Rechteck 68">
                <a:extLst>
                  <a:ext uri="{FF2B5EF4-FFF2-40B4-BE49-F238E27FC236}">
                    <a16:creationId xmlns:a16="http://schemas.microsoft.com/office/drawing/2014/main" xmlns="" id="{D7E294AE-519D-4FC6-8BCD-35CBDA3A1936}"/>
                  </a:ext>
                </a:extLst>
              </p:cNvPr>
              <p:cNvSpPr/>
              <p:nvPr/>
            </p:nvSpPr>
            <p:spPr>
              <a:xfrm>
                <a:off x="379880" y="3002079"/>
                <a:ext cx="306110" cy="979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cxnSp>
          <p:nvCxnSpPr>
            <p:cNvPr id="70" name="Gerade Verbindung mit Pfeil 69">
              <a:extLst>
                <a:ext uri="{FF2B5EF4-FFF2-40B4-BE49-F238E27FC236}">
                  <a16:creationId xmlns:a16="http://schemas.microsoft.com/office/drawing/2014/main" xmlns="" id="{C9A97610-A3DD-421B-AE1B-942C5959E68B}"/>
                </a:ext>
              </a:extLst>
            </p:cNvPr>
            <p:cNvCxnSpPr/>
            <p:nvPr/>
          </p:nvCxnSpPr>
          <p:spPr>
            <a:xfrm>
              <a:off x="2826914" y="6306278"/>
              <a:ext cx="7054609" cy="0"/>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0" name="Text Box 20">
              <a:extLst>
                <a:ext uri="{FF2B5EF4-FFF2-40B4-BE49-F238E27FC236}">
                  <a16:creationId xmlns:a16="http://schemas.microsoft.com/office/drawing/2014/main" xmlns="" id="{FEBC49F3-C35F-4B85-8846-9586AD9BE82E}"/>
                </a:ext>
              </a:extLst>
            </p:cNvPr>
            <p:cNvSpPr txBox="1">
              <a:spLocks noChangeArrowheads="1"/>
            </p:cNvSpPr>
            <p:nvPr/>
          </p:nvSpPr>
          <p:spPr bwMode="auto">
            <a:xfrm>
              <a:off x="5380496" y="6111379"/>
              <a:ext cx="2000292" cy="339196"/>
            </a:xfrm>
            <a:prstGeom prst="rect">
              <a:avLst/>
            </a:prstGeom>
            <a:solidFill>
              <a:schemeClr val="bg1"/>
            </a:solidFill>
            <a:ln>
              <a:noFill/>
            </a:ln>
          </p:spPr>
          <p:txBody>
            <a:bodyPr wrap="none" lIns="92075" tIns="46038" rIns="92075" bIns="46038" anchor="t">
              <a:spAutoFit/>
            </a:bodyPr>
            <a:lstStyle>
              <a:lvl1pPr>
                <a:spcAft>
                  <a:spcPct val="0"/>
                </a:spcAft>
                <a:defRPr>
                  <a:solidFill>
                    <a:schemeClr val="tx1"/>
                  </a:solidFill>
                  <a:latin typeface="Arial" charset="0"/>
                </a:defRPr>
              </a:lvl1pPr>
              <a:lvl2pPr marL="742950" indent="-285750">
                <a:spcAft>
                  <a:spcPct val="0"/>
                </a:spcAft>
                <a:defRPr>
                  <a:solidFill>
                    <a:schemeClr val="tx1"/>
                  </a:solidFill>
                  <a:latin typeface="Arial" charset="0"/>
                </a:defRPr>
              </a:lvl2pPr>
              <a:lvl3pPr marL="1143000" indent="-228600">
                <a:spcAft>
                  <a:spcPct val="0"/>
                </a:spcAft>
                <a:defRPr>
                  <a:solidFill>
                    <a:schemeClr val="tx1"/>
                  </a:solidFill>
                  <a:latin typeface="Arial" charset="0"/>
                </a:defRPr>
              </a:lvl3pPr>
              <a:lvl4pPr marL="1600200" indent="-228600">
                <a:spcAft>
                  <a:spcPct val="0"/>
                </a:spcAft>
                <a:defRPr>
                  <a:solidFill>
                    <a:schemeClr val="tx1"/>
                  </a:solidFill>
                  <a:latin typeface="Arial" charset="0"/>
                </a:defRPr>
              </a:lvl4pPr>
              <a:lvl5pPr marL="2057400" indent="-228600">
                <a:spcAft>
                  <a:spcPct val="0"/>
                </a:spcAft>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SzTx/>
                <a:buFontTx/>
                <a:buNone/>
              </a:pPr>
              <a:r>
                <a:rPr lang="en-GB" sz="1600" dirty="0">
                  <a:latin typeface="+mn-lt"/>
                </a:rPr>
                <a:t>Cuota de mercado relativa</a:t>
              </a:r>
              <a:endParaRPr lang="en-GB" sz="1600" dirty="0">
                <a:latin typeface="+mn-lt"/>
                <a:cs typeface="Calibri"/>
              </a:endParaRPr>
            </a:p>
          </p:txBody>
        </p:sp>
        <p:sp>
          <p:nvSpPr>
            <p:cNvPr id="111" name="Text Box 25">
              <a:extLst>
                <a:ext uri="{FF2B5EF4-FFF2-40B4-BE49-F238E27FC236}">
                  <a16:creationId xmlns:a16="http://schemas.microsoft.com/office/drawing/2014/main" xmlns="" id="{29D91A77-EE5E-4C0F-92CB-03C34DD424AF}"/>
                </a:ext>
              </a:extLst>
            </p:cNvPr>
            <p:cNvSpPr txBox="1">
              <a:spLocks noChangeArrowheads="1"/>
            </p:cNvSpPr>
            <p:nvPr/>
          </p:nvSpPr>
          <p:spPr bwMode="auto">
            <a:xfrm rot="16200000">
              <a:off x="1153681" y="3811211"/>
              <a:ext cx="1681105" cy="339196"/>
            </a:xfrm>
            <a:prstGeom prst="rect">
              <a:avLst/>
            </a:prstGeom>
            <a:solidFill>
              <a:schemeClr val="bg1"/>
            </a:solidFill>
            <a:ln>
              <a:noFill/>
            </a:ln>
          </p:spPr>
          <p:txBody>
            <a:bodyPr wrap="square" lIns="92075" tIns="46038" rIns="92075" bIns="46038" anchor="t">
              <a:spAutoFit/>
            </a:bodyPr>
            <a:lstStyle>
              <a:lvl1pPr>
                <a:spcAft>
                  <a:spcPct val="0"/>
                </a:spcAft>
                <a:defRPr>
                  <a:solidFill>
                    <a:schemeClr val="tx1"/>
                  </a:solidFill>
                  <a:latin typeface="Arial" charset="0"/>
                </a:defRPr>
              </a:lvl1pPr>
              <a:lvl2pPr marL="742950" indent="-285750">
                <a:spcAft>
                  <a:spcPct val="0"/>
                </a:spcAft>
                <a:defRPr>
                  <a:solidFill>
                    <a:schemeClr val="tx1"/>
                  </a:solidFill>
                  <a:latin typeface="Arial" charset="0"/>
                </a:defRPr>
              </a:lvl2pPr>
              <a:lvl3pPr marL="1143000" indent="-228600">
                <a:spcAft>
                  <a:spcPct val="0"/>
                </a:spcAft>
                <a:defRPr>
                  <a:solidFill>
                    <a:schemeClr val="tx1"/>
                  </a:solidFill>
                  <a:latin typeface="Arial" charset="0"/>
                </a:defRPr>
              </a:lvl3pPr>
              <a:lvl4pPr marL="1600200" indent="-228600">
                <a:spcAft>
                  <a:spcPct val="0"/>
                </a:spcAft>
                <a:defRPr>
                  <a:solidFill>
                    <a:schemeClr val="tx1"/>
                  </a:solidFill>
                  <a:latin typeface="Arial" charset="0"/>
                </a:defRPr>
              </a:lvl4pPr>
              <a:lvl5pPr marL="2057400" indent="-228600">
                <a:spcAft>
                  <a:spcPct val="0"/>
                </a:spcAft>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SzTx/>
                <a:buFontTx/>
                <a:buNone/>
              </a:pPr>
              <a:r>
                <a:rPr lang="en-GB" sz="1600" dirty="0">
                  <a:latin typeface="+mn-lt"/>
                </a:rPr>
                <a:t>Crecimiento del mercado</a:t>
              </a:r>
              <a:endParaRPr lang="en-GB" sz="1600" dirty="0">
                <a:latin typeface="+mn-lt"/>
                <a:cs typeface="Calibri"/>
              </a:endParaRPr>
            </a:p>
          </p:txBody>
        </p:sp>
        <p:sp>
          <p:nvSpPr>
            <p:cNvPr id="112" name="Freeform 5">
              <a:extLst>
                <a:ext uri="{FF2B5EF4-FFF2-40B4-BE49-F238E27FC236}">
                  <a16:creationId xmlns:a16="http://schemas.microsoft.com/office/drawing/2014/main" xmlns="" id="{8443DB19-1E0A-435C-948A-61967BE193B3}"/>
                </a:ext>
              </a:extLst>
            </p:cNvPr>
            <p:cNvSpPr>
              <a:spLocks/>
            </p:cNvSpPr>
            <p:nvPr/>
          </p:nvSpPr>
          <p:spPr bwMode="auto">
            <a:xfrm>
              <a:off x="3877428" y="4157724"/>
              <a:ext cx="713210" cy="503673"/>
            </a:xfrm>
            <a:custGeom>
              <a:avLst/>
              <a:gdLst>
                <a:gd name="T0" fmla="*/ 210 w 306"/>
                <a:gd name="T1" fmla="*/ 21 h 216"/>
                <a:gd name="T2" fmla="*/ 124 w 306"/>
                <a:gd name="T3" fmla="*/ 21 h 216"/>
                <a:gd name="T4" fmla="*/ 72 w 306"/>
                <a:gd name="T5" fmla="*/ 59 h 216"/>
                <a:gd name="T6" fmla="*/ 24 w 306"/>
                <a:gd name="T7" fmla="*/ 72 h 216"/>
                <a:gd name="T8" fmla="*/ 4 w 306"/>
                <a:gd name="T9" fmla="*/ 84 h 216"/>
                <a:gd name="T10" fmla="*/ 62 w 306"/>
                <a:gd name="T11" fmla="*/ 156 h 216"/>
                <a:gd name="T12" fmla="*/ 137 w 306"/>
                <a:gd name="T13" fmla="*/ 158 h 216"/>
                <a:gd name="T14" fmla="*/ 188 w 306"/>
                <a:gd name="T15" fmla="*/ 216 h 216"/>
                <a:gd name="T16" fmla="*/ 296 w 306"/>
                <a:gd name="T17" fmla="*/ 132 h 216"/>
                <a:gd name="T18" fmla="*/ 210 w 306"/>
                <a:gd name="T19"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216">
                  <a:moveTo>
                    <a:pt x="210" y="21"/>
                  </a:moveTo>
                  <a:cubicBezTo>
                    <a:pt x="159" y="0"/>
                    <a:pt x="132" y="15"/>
                    <a:pt x="124" y="21"/>
                  </a:cubicBezTo>
                  <a:cubicBezTo>
                    <a:pt x="117" y="26"/>
                    <a:pt x="117" y="46"/>
                    <a:pt x="72" y="59"/>
                  </a:cubicBezTo>
                  <a:cubicBezTo>
                    <a:pt x="28" y="72"/>
                    <a:pt x="31" y="72"/>
                    <a:pt x="24" y="72"/>
                  </a:cubicBezTo>
                  <a:cubicBezTo>
                    <a:pt x="16" y="72"/>
                    <a:pt x="7" y="65"/>
                    <a:pt x="4" y="84"/>
                  </a:cubicBezTo>
                  <a:cubicBezTo>
                    <a:pt x="0" y="121"/>
                    <a:pt x="35" y="152"/>
                    <a:pt x="62" y="156"/>
                  </a:cubicBezTo>
                  <a:cubicBezTo>
                    <a:pt x="89" y="160"/>
                    <a:pt x="93" y="139"/>
                    <a:pt x="137" y="158"/>
                  </a:cubicBezTo>
                  <a:cubicBezTo>
                    <a:pt x="181" y="177"/>
                    <a:pt x="188" y="216"/>
                    <a:pt x="188" y="216"/>
                  </a:cubicBezTo>
                  <a:cubicBezTo>
                    <a:pt x="188" y="216"/>
                    <a:pt x="306" y="158"/>
                    <a:pt x="296" y="132"/>
                  </a:cubicBezTo>
                  <a:cubicBezTo>
                    <a:pt x="283" y="97"/>
                    <a:pt x="210" y="21"/>
                    <a:pt x="210" y="21"/>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6">
              <a:extLst>
                <a:ext uri="{FF2B5EF4-FFF2-40B4-BE49-F238E27FC236}">
                  <a16:creationId xmlns:a16="http://schemas.microsoft.com/office/drawing/2014/main" xmlns="" id="{37E25A22-1212-48BC-9FC4-67390A62A94A}"/>
                </a:ext>
              </a:extLst>
            </p:cNvPr>
            <p:cNvSpPr>
              <a:spLocks/>
            </p:cNvSpPr>
            <p:nvPr/>
          </p:nvSpPr>
          <p:spPr bwMode="auto">
            <a:xfrm>
              <a:off x="4325029" y="4530560"/>
              <a:ext cx="1975345" cy="1432321"/>
            </a:xfrm>
            <a:custGeom>
              <a:avLst/>
              <a:gdLst>
                <a:gd name="T0" fmla="*/ 121 w 848"/>
                <a:gd name="T1" fmla="*/ 0 h 614"/>
                <a:gd name="T2" fmla="*/ 240 w 848"/>
                <a:gd name="T3" fmla="*/ 79 h 614"/>
                <a:gd name="T4" fmla="*/ 625 w 848"/>
                <a:gd name="T5" fmla="*/ 128 h 614"/>
                <a:gd name="T6" fmla="*/ 665 w 848"/>
                <a:gd name="T7" fmla="*/ 251 h 614"/>
                <a:gd name="T8" fmla="*/ 841 w 848"/>
                <a:gd name="T9" fmla="*/ 394 h 614"/>
                <a:gd name="T10" fmla="*/ 660 w 848"/>
                <a:gd name="T11" fmla="*/ 289 h 614"/>
                <a:gd name="T12" fmla="*/ 742 w 848"/>
                <a:gd name="T13" fmla="*/ 456 h 614"/>
                <a:gd name="T14" fmla="*/ 746 w 848"/>
                <a:gd name="T15" fmla="*/ 614 h 614"/>
                <a:gd name="T16" fmla="*/ 691 w 848"/>
                <a:gd name="T17" fmla="*/ 614 h 614"/>
                <a:gd name="T18" fmla="*/ 701 w 848"/>
                <a:gd name="T19" fmla="*/ 509 h 614"/>
                <a:gd name="T20" fmla="*/ 651 w 848"/>
                <a:gd name="T21" fmla="*/ 417 h 614"/>
                <a:gd name="T22" fmla="*/ 646 w 848"/>
                <a:gd name="T23" fmla="*/ 614 h 614"/>
                <a:gd name="T24" fmla="*/ 584 w 848"/>
                <a:gd name="T25" fmla="*/ 614 h 614"/>
                <a:gd name="T26" fmla="*/ 617 w 848"/>
                <a:gd name="T27" fmla="*/ 547 h 614"/>
                <a:gd name="T28" fmla="*/ 576 w 848"/>
                <a:gd name="T29" fmla="*/ 420 h 614"/>
                <a:gd name="T30" fmla="*/ 444 w 848"/>
                <a:gd name="T31" fmla="*/ 289 h 614"/>
                <a:gd name="T32" fmla="*/ 207 w 848"/>
                <a:gd name="T33" fmla="*/ 389 h 614"/>
                <a:gd name="T34" fmla="*/ 160 w 848"/>
                <a:gd name="T35" fmla="*/ 614 h 614"/>
                <a:gd name="T36" fmla="*/ 108 w 848"/>
                <a:gd name="T37" fmla="*/ 614 h 614"/>
                <a:gd name="T38" fmla="*/ 133 w 848"/>
                <a:gd name="T39" fmla="*/ 417 h 614"/>
                <a:gd name="T40" fmla="*/ 120 w 848"/>
                <a:gd name="T41" fmla="*/ 372 h 614"/>
                <a:gd name="T42" fmla="*/ 77 w 848"/>
                <a:gd name="T43" fmla="*/ 614 h 614"/>
                <a:gd name="T44" fmla="*/ 29 w 848"/>
                <a:gd name="T45" fmla="*/ 614 h 614"/>
                <a:gd name="T46" fmla="*/ 47 w 848"/>
                <a:gd name="T47" fmla="*/ 265 h 614"/>
                <a:gd name="T48" fmla="*/ 8 w 848"/>
                <a:gd name="T49" fmla="*/ 124 h 614"/>
                <a:gd name="T50" fmla="*/ 121 w 848"/>
                <a:gd name="T51"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8" h="614">
                  <a:moveTo>
                    <a:pt x="121" y="0"/>
                  </a:moveTo>
                  <a:cubicBezTo>
                    <a:pt x="123" y="10"/>
                    <a:pt x="180" y="67"/>
                    <a:pt x="240" y="79"/>
                  </a:cubicBezTo>
                  <a:cubicBezTo>
                    <a:pt x="299" y="90"/>
                    <a:pt x="587" y="68"/>
                    <a:pt x="625" y="128"/>
                  </a:cubicBezTo>
                  <a:cubicBezTo>
                    <a:pt x="664" y="188"/>
                    <a:pt x="661" y="243"/>
                    <a:pt x="665" y="251"/>
                  </a:cubicBezTo>
                  <a:cubicBezTo>
                    <a:pt x="707" y="335"/>
                    <a:pt x="848" y="389"/>
                    <a:pt x="841" y="394"/>
                  </a:cubicBezTo>
                  <a:cubicBezTo>
                    <a:pt x="831" y="399"/>
                    <a:pt x="766" y="398"/>
                    <a:pt x="660" y="289"/>
                  </a:cubicBezTo>
                  <a:cubicBezTo>
                    <a:pt x="633" y="261"/>
                    <a:pt x="727" y="439"/>
                    <a:pt x="742" y="456"/>
                  </a:cubicBezTo>
                  <a:cubicBezTo>
                    <a:pt x="762" y="479"/>
                    <a:pt x="749" y="603"/>
                    <a:pt x="746" y="614"/>
                  </a:cubicBezTo>
                  <a:cubicBezTo>
                    <a:pt x="691" y="614"/>
                    <a:pt x="691" y="614"/>
                    <a:pt x="691" y="614"/>
                  </a:cubicBezTo>
                  <a:cubicBezTo>
                    <a:pt x="691" y="614"/>
                    <a:pt x="719" y="555"/>
                    <a:pt x="701" y="509"/>
                  </a:cubicBezTo>
                  <a:cubicBezTo>
                    <a:pt x="686" y="469"/>
                    <a:pt x="651" y="417"/>
                    <a:pt x="651" y="417"/>
                  </a:cubicBezTo>
                  <a:cubicBezTo>
                    <a:pt x="651" y="417"/>
                    <a:pt x="684" y="537"/>
                    <a:pt x="646" y="614"/>
                  </a:cubicBezTo>
                  <a:cubicBezTo>
                    <a:pt x="584" y="614"/>
                    <a:pt x="584" y="614"/>
                    <a:pt x="584" y="614"/>
                  </a:cubicBezTo>
                  <a:cubicBezTo>
                    <a:pt x="584" y="614"/>
                    <a:pt x="614" y="568"/>
                    <a:pt x="617" y="547"/>
                  </a:cubicBezTo>
                  <a:cubicBezTo>
                    <a:pt x="621" y="526"/>
                    <a:pt x="623" y="475"/>
                    <a:pt x="576" y="420"/>
                  </a:cubicBezTo>
                  <a:cubicBezTo>
                    <a:pt x="529" y="365"/>
                    <a:pt x="473" y="290"/>
                    <a:pt x="444" y="289"/>
                  </a:cubicBezTo>
                  <a:cubicBezTo>
                    <a:pt x="389" y="286"/>
                    <a:pt x="260" y="338"/>
                    <a:pt x="207" y="389"/>
                  </a:cubicBezTo>
                  <a:cubicBezTo>
                    <a:pt x="179" y="415"/>
                    <a:pt x="162" y="573"/>
                    <a:pt x="160" y="614"/>
                  </a:cubicBezTo>
                  <a:cubicBezTo>
                    <a:pt x="108" y="614"/>
                    <a:pt x="108" y="614"/>
                    <a:pt x="108" y="614"/>
                  </a:cubicBezTo>
                  <a:cubicBezTo>
                    <a:pt x="108" y="614"/>
                    <a:pt x="138" y="384"/>
                    <a:pt x="133" y="417"/>
                  </a:cubicBezTo>
                  <a:cubicBezTo>
                    <a:pt x="130" y="434"/>
                    <a:pt x="138" y="367"/>
                    <a:pt x="120" y="372"/>
                  </a:cubicBezTo>
                  <a:cubicBezTo>
                    <a:pt x="105" y="376"/>
                    <a:pt x="77" y="614"/>
                    <a:pt x="77" y="614"/>
                  </a:cubicBezTo>
                  <a:cubicBezTo>
                    <a:pt x="29" y="614"/>
                    <a:pt x="29" y="614"/>
                    <a:pt x="29" y="614"/>
                  </a:cubicBezTo>
                  <a:cubicBezTo>
                    <a:pt x="29" y="614"/>
                    <a:pt x="73" y="333"/>
                    <a:pt x="47" y="265"/>
                  </a:cubicBezTo>
                  <a:cubicBezTo>
                    <a:pt x="27" y="211"/>
                    <a:pt x="0" y="162"/>
                    <a:pt x="8" y="124"/>
                  </a:cubicBezTo>
                  <a:cubicBezTo>
                    <a:pt x="20" y="65"/>
                    <a:pt x="121" y="0"/>
                    <a:pt x="121"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14">
              <a:extLst>
                <a:ext uri="{FF2B5EF4-FFF2-40B4-BE49-F238E27FC236}">
                  <a16:creationId xmlns:a16="http://schemas.microsoft.com/office/drawing/2014/main" xmlns="" id="{B04ED7D0-D251-43A6-82C5-4FD82E929B65}"/>
                </a:ext>
              </a:extLst>
            </p:cNvPr>
            <p:cNvSpPr>
              <a:spLocks/>
            </p:cNvSpPr>
            <p:nvPr/>
          </p:nvSpPr>
          <p:spPr bwMode="auto">
            <a:xfrm>
              <a:off x="8475110" y="2153439"/>
              <a:ext cx="1851534" cy="1762165"/>
            </a:xfrm>
            <a:custGeom>
              <a:avLst/>
              <a:gdLst>
                <a:gd name="T0" fmla="*/ 809 w 1616"/>
                <a:gd name="T1" fmla="*/ 0 h 1538"/>
                <a:gd name="T2" fmla="*/ 586 w 1616"/>
                <a:gd name="T3" fmla="*/ 543 h 1538"/>
                <a:gd name="T4" fmla="*/ 0 w 1616"/>
                <a:gd name="T5" fmla="*/ 586 h 1538"/>
                <a:gd name="T6" fmla="*/ 448 w 1616"/>
                <a:gd name="T7" fmla="*/ 966 h 1538"/>
                <a:gd name="T8" fmla="*/ 308 w 1616"/>
                <a:gd name="T9" fmla="*/ 1538 h 1538"/>
                <a:gd name="T10" fmla="*/ 809 w 1616"/>
                <a:gd name="T11" fmla="*/ 1229 h 1538"/>
                <a:gd name="T12" fmla="*/ 1307 w 1616"/>
                <a:gd name="T13" fmla="*/ 1538 h 1538"/>
                <a:gd name="T14" fmla="*/ 1167 w 1616"/>
                <a:gd name="T15" fmla="*/ 966 h 1538"/>
                <a:gd name="T16" fmla="*/ 1616 w 1616"/>
                <a:gd name="T17" fmla="*/ 586 h 1538"/>
                <a:gd name="T18" fmla="*/ 1029 w 1616"/>
                <a:gd name="T19" fmla="*/ 543 h 1538"/>
                <a:gd name="T20" fmla="*/ 809 w 1616"/>
                <a:gd name="T21"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6" h="1538">
                  <a:moveTo>
                    <a:pt x="809" y="0"/>
                  </a:moveTo>
                  <a:lnTo>
                    <a:pt x="586" y="543"/>
                  </a:lnTo>
                  <a:lnTo>
                    <a:pt x="0" y="586"/>
                  </a:lnTo>
                  <a:lnTo>
                    <a:pt x="448" y="966"/>
                  </a:lnTo>
                  <a:lnTo>
                    <a:pt x="308" y="1538"/>
                  </a:lnTo>
                  <a:lnTo>
                    <a:pt x="809" y="1229"/>
                  </a:lnTo>
                  <a:lnTo>
                    <a:pt x="1307" y="1538"/>
                  </a:lnTo>
                  <a:lnTo>
                    <a:pt x="1167" y="966"/>
                  </a:lnTo>
                  <a:lnTo>
                    <a:pt x="1616" y="586"/>
                  </a:lnTo>
                  <a:lnTo>
                    <a:pt x="1029" y="543"/>
                  </a:lnTo>
                  <a:lnTo>
                    <a:pt x="809"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5" name="Freeform 18">
              <a:extLst>
                <a:ext uri="{FF2B5EF4-FFF2-40B4-BE49-F238E27FC236}">
                  <a16:creationId xmlns:a16="http://schemas.microsoft.com/office/drawing/2014/main" xmlns="" id="{A85A1B15-A1BB-42EF-8603-1DCACDA12CE1}"/>
                </a:ext>
              </a:extLst>
            </p:cNvPr>
            <p:cNvSpPr>
              <a:spLocks noEditPoints="1"/>
            </p:cNvSpPr>
            <p:nvPr/>
          </p:nvSpPr>
          <p:spPr bwMode="auto">
            <a:xfrm>
              <a:off x="5122545" y="2112697"/>
              <a:ext cx="1123507" cy="1775061"/>
            </a:xfrm>
            <a:custGeom>
              <a:avLst/>
              <a:gdLst>
                <a:gd name="T0" fmla="*/ 263 w 474"/>
                <a:gd name="T1" fmla="*/ 590 h 750"/>
                <a:gd name="T2" fmla="*/ 195 w 474"/>
                <a:gd name="T3" fmla="*/ 562 h 750"/>
                <a:gd name="T4" fmla="*/ 126 w 474"/>
                <a:gd name="T5" fmla="*/ 590 h 750"/>
                <a:gd name="T6" fmla="*/ 97 w 474"/>
                <a:gd name="T7" fmla="*/ 656 h 750"/>
                <a:gd name="T8" fmla="*/ 126 w 474"/>
                <a:gd name="T9" fmla="*/ 722 h 750"/>
                <a:gd name="T10" fmla="*/ 195 w 474"/>
                <a:gd name="T11" fmla="*/ 750 h 750"/>
                <a:gd name="T12" fmla="*/ 263 w 474"/>
                <a:gd name="T13" fmla="*/ 722 h 750"/>
                <a:gd name="T14" fmla="*/ 292 w 474"/>
                <a:gd name="T15" fmla="*/ 656 h 750"/>
                <a:gd name="T16" fmla="*/ 263 w 474"/>
                <a:gd name="T17" fmla="*/ 590 h 750"/>
                <a:gd name="T18" fmla="*/ 406 w 474"/>
                <a:gd name="T19" fmla="*/ 58 h 750"/>
                <a:gd name="T20" fmla="*/ 226 w 474"/>
                <a:gd name="T21" fmla="*/ 0 h 750"/>
                <a:gd name="T22" fmla="*/ 66 w 474"/>
                <a:gd name="T23" fmla="*/ 41 h 750"/>
                <a:gd name="T24" fmla="*/ 0 w 474"/>
                <a:gd name="T25" fmla="*/ 139 h 750"/>
                <a:gd name="T26" fmla="*/ 22 w 474"/>
                <a:gd name="T27" fmla="*/ 199 h 750"/>
                <a:gd name="T28" fmla="*/ 83 w 474"/>
                <a:gd name="T29" fmla="*/ 223 h 750"/>
                <a:gd name="T30" fmla="*/ 147 w 474"/>
                <a:gd name="T31" fmla="*/ 204 h 750"/>
                <a:gd name="T32" fmla="*/ 170 w 474"/>
                <a:gd name="T33" fmla="*/ 149 h 750"/>
                <a:gd name="T34" fmla="*/ 163 w 474"/>
                <a:gd name="T35" fmla="*/ 102 h 750"/>
                <a:gd name="T36" fmla="*/ 151 w 474"/>
                <a:gd name="T37" fmla="*/ 60 h 750"/>
                <a:gd name="T38" fmla="*/ 182 w 474"/>
                <a:gd name="T39" fmla="*/ 46 h 750"/>
                <a:gd name="T40" fmla="*/ 219 w 474"/>
                <a:gd name="T41" fmla="*/ 42 h 750"/>
                <a:gd name="T42" fmla="*/ 297 w 474"/>
                <a:gd name="T43" fmla="*/ 75 h 750"/>
                <a:gd name="T44" fmla="*/ 327 w 474"/>
                <a:gd name="T45" fmla="*/ 164 h 750"/>
                <a:gd name="T46" fmla="*/ 285 w 474"/>
                <a:gd name="T47" fmla="*/ 273 h 750"/>
                <a:gd name="T48" fmla="*/ 170 w 474"/>
                <a:gd name="T49" fmla="*/ 320 h 750"/>
                <a:gd name="T50" fmla="*/ 170 w 474"/>
                <a:gd name="T51" fmla="*/ 517 h 750"/>
                <a:gd name="T52" fmla="*/ 215 w 474"/>
                <a:gd name="T53" fmla="*/ 517 h 750"/>
                <a:gd name="T54" fmla="*/ 218 w 474"/>
                <a:gd name="T55" fmla="*/ 448 h 750"/>
                <a:gd name="T56" fmla="*/ 405 w 474"/>
                <a:gd name="T57" fmla="*/ 375 h 750"/>
                <a:gd name="T58" fmla="*/ 474 w 474"/>
                <a:gd name="T59" fmla="*/ 210 h 750"/>
                <a:gd name="T60" fmla="*/ 406 w 474"/>
                <a:gd name="T61" fmla="*/ 58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4" h="750">
                  <a:moveTo>
                    <a:pt x="263" y="590"/>
                  </a:moveTo>
                  <a:cubicBezTo>
                    <a:pt x="244" y="571"/>
                    <a:pt x="221" y="562"/>
                    <a:pt x="195" y="562"/>
                  </a:cubicBezTo>
                  <a:cubicBezTo>
                    <a:pt x="169" y="562"/>
                    <a:pt x="146" y="571"/>
                    <a:pt x="126" y="590"/>
                  </a:cubicBezTo>
                  <a:cubicBezTo>
                    <a:pt x="107" y="608"/>
                    <a:pt x="97" y="631"/>
                    <a:pt x="97" y="656"/>
                  </a:cubicBezTo>
                  <a:cubicBezTo>
                    <a:pt x="97" y="682"/>
                    <a:pt x="107" y="704"/>
                    <a:pt x="126" y="722"/>
                  </a:cubicBezTo>
                  <a:cubicBezTo>
                    <a:pt x="146" y="741"/>
                    <a:pt x="169" y="750"/>
                    <a:pt x="195" y="750"/>
                  </a:cubicBezTo>
                  <a:cubicBezTo>
                    <a:pt x="221" y="750"/>
                    <a:pt x="244" y="741"/>
                    <a:pt x="263" y="722"/>
                  </a:cubicBezTo>
                  <a:cubicBezTo>
                    <a:pt x="282" y="704"/>
                    <a:pt x="292" y="682"/>
                    <a:pt x="292" y="656"/>
                  </a:cubicBezTo>
                  <a:cubicBezTo>
                    <a:pt x="292" y="631"/>
                    <a:pt x="282" y="608"/>
                    <a:pt x="263" y="590"/>
                  </a:cubicBezTo>
                  <a:moveTo>
                    <a:pt x="406" y="58"/>
                  </a:moveTo>
                  <a:cubicBezTo>
                    <a:pt x="360" y="19"/>
                    <a:pt x="300" y="0"/>
                    <a:pt x="226" y="0"/>
                  </a:cubicBezTo>
                  <a:cubicBezTo>
                    <a:pt x="164" y="0"/>
                    <a:pt x="111" y="14"/>
                    <a:pt x="66" y="41"/>
                  </a:cubicBezTo>
                  <a:cubicBezTo>
                    <a:pt x="22" y="68"/>
                    <a:pt x="0" y="101"/>
                    <a:pt x="0" y="139"/>
                  </a:cubicBezTo>
                  <a:cubicBezTo>
                    <a:pt x="0" y="163"/>
                    <a:pt x="7" y="183"/>
                    <a:pt x="22" y="199"/>
                  </a:cubicBezTo>
                  <a:cubicBezTo>
                    <a:pt x="37" y="215"/>
                    <a:pt x="57" y="223"/>
                    <a:pt x="83" y="223"/>
                  </a:cubicBezTo>
                  <a:cubicBezTo>
                    <a:pt x="110" y="223"/>
                    <a:pt x="131" y="217"/>
                    <a:pt x="147" y="204"/>
                  </a:cubicBezTo>
                  <a:cubicBezTo>
                    <a:pt x="162" y="191"/>
                    <a:pt x="170" y="173"/>
                    <a:pt x="170" y="149"/>
                  </a:cubicBezTo>
                  <a:cubicBezTo>
                    <a:pt x="170" y="135"/>
                    <a:pt x="167" y="119"/>
                    <a:pt x="163" y="102"/>
                  </a:cubicBezTo>
                  <a:cubicBezTo>
                    <a:pt x="158" y="85"/>
                    <a:pt x="154" y="71"/>
                    <a:pt x="151" y="60"/>
                  </a:cubicBezTo>
                  <a:cubicBezTo>
                    <a:pt x="161" y="54"/>
                    <a:pt x="171" y="49"/>
                    <a:pt x="182" y="46"/>
                  </a:cubicBezTo>
                  <a:cubicBezTo>
                    <a:pt x="193" y="44"/>
                    <a:pt x="205" y="42"/>
                    <a:pt x="219" y="42"/>
                  </a:cubicBezTo>
                  <a:cubicBezTo>
                    <a:pt x="252" y="42"/>
                    <a:pt x="278" y="53"/>
                    <a:pt x="297" y="75"/>
                  </a:cubicBezTo>
                  <a:cubicBezTo>
                    <a:pt x="317" y="97"/>
                    <a:pt x="327" y="127"/>
                    <a:pt x="327" y="164"/>
                  </a:cubicBezTo>
                  <a:cubicBezTo>
                    <a:pt x="327" y="210"/>
                    <a:pt x="313" y="246"/>
                    <a:pt x="285" y="273"/>
                  </a:cubicBezTo>
                  <a:cubicBezTo>
                    <a:pt x="257" y="300"/>
                    <a:pt x="219" y="316"/>
                    <a:pt x="170" y="320"/>
                  </a:cubicBezTo>
                  <a:cubicBezTo>
                    <a:pt x="170" y="517"/>
                    <a:pt x="170" y="517"/>
                    <a:pt x="170" y="517"/>
                  </a:cubicBezTo>
                  <a:cubicBezTo>
                    <a:pt x="215" y="517"/>
                    <a:pt x="215" y="517"/>
                    <a:pt x="215" y="517"/>
                  </a:cubicBezTo>
                  <a:cubicBezTo>
                    <a:pt x="218" y="448"/>
                    <a:pt x="218" y="448"/>
                    <a:pt x="218" y="448"/>
                  </a:cubicBezTo>
                  <a:cubicBezTo>
                    <a:pt x="296" y="442"/>
                    <a:pt x="358" y="418"/>
                    <a:pt x="405" y="375"/>
                  </a:cubicBezTo>
                  <a:cubicBezTo>
                    <a:pt x="451" y="333"/>
                    <a:pt x="474" y="278"/>
                    <a:pt x="474" y="210"/>
                  </a:cubicBezTo>
                  <a:cubicBezTo>
                    <a:pt x="474" y="147"/>
                    <a:pt x="452" y="96"/>
                    <a:pt x="406" y="58"/>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5">
              <a:extLst>
                <a:ext uri="{FF2B5EF4-FFF2-40B4-BE49-F238E27FC236}">
                  <a16:creationId xmlns:a16="http://schemas.microsoft.com/office/drawing/2014/main" xmlns="" id="{FECFE29F-B5A1-422E-8AEB-F2C0C4BBE3FE}"/>
                </a:ext>
              </a:extLst>
            </p:cNvPr>
            <p:cNvSpPr>
              <a:spLocks/>
            </p:cNvSpPr>
            <p:nvPr/>
          </p:nvSpPr>
          <p:spPr bwMode="auto">
            <a:xfrm>
              <a:off x="7438195" y="4141465"/>
              <a:ext cx="2829907" cy="1813505"/>
            </a:xfrm>
            <a:custGeom>
              <a:avLst/>
              <a:gdLst>
                <a:gd name="T0" fmla="*/ 453 w 1254"/>
                <a:gd name="T1" fmla="*/ 472 h 802"/>
                <a:gd name="T2" fmla="*/ 477 w 1254"/>
                <a:gd name="T3" fmla="*/ 762 h 802"/>
                <a:gd name="T4" fmla="*/ 460 w 1254"/>
                <a:gd name="T5" fmla="*/ 802 h 802"/>
                <a:gd name="T6" fmla="*/ 519 w 1254"/>
                <a:gd name="T7" fmla="*/ 802 h 802"/>
                <a:gd name="T8" fmla="*/ 548 w 1254"/>
                <a:gd name="T9" fmla="*/ 802 h 802"/>
                <a:gd name="T10" fmla="*/ 560 w 1254"/>
                <a:gd name="T11" fmla="*/ 541 h 802"/>
                <a:gd name="T12" fmla="*/ 729 w 1254"/>
                <a:gd name="T13" fmla="*/ 523 h 802"/>
                <a:gd name="T14" fmla="*/ 915 w 1254"/>
                <a:gd name="T15" fmla="*/ 469 h 802"/>
                <a:gd name="T16" fmla="*/ 960 w 1254"/>
                <a:gd name="T17" fmla="*/ 528 h 802"/>
                <a:gd name="T18" fmla="*/ 1048 w 1254"/>
                <a:gd name="T19" fmla="*/ 566 h 802"/>
                <a:gd name="T20" fmla="*/ 1023 w 1254"/>
                <a:gd name="T21" fmla="*/ 712 h 802"/>
                <a:gd name="T22" fmla="*/ 975 w 1254"/>
                <a:gd name="T23" fmla="*/ 802 h 802"/>
                <a:gd name="T24" fmla="*/ 1037 w 1254"/>
                <a:gd name="T25" fmla="*/ 802 h 802"/>
                <a:gd name="T26" fmla="*/ 1119 w 1254"/>
                <a:gd name="T27" fmla="*/ 605 h 802"/>
                <a:gd name="T28" fmla="*/ 1126 w 1254"/>
                <a:gd name="T29" fmla="*/ 802 h 802"/>
                <a:gd name="T30" fmla="*/ 1181 w 1254"/>
                <a:gd name="T31" fmla="*/ 802 h 802"/>
                <a:gd name="T32" fmla="*/ 1191 w 1254"/>
                <a:gd name="T33" fmla="*/ 397 h 802"/>
                <a:gd name="T34" fmla="*/ 1205 w 1254"/>
                <a:gd name="T35" fmla="*/ 268 h 802"/>
                <a:gd name="T36" fmla="*/ 1211 w 1254"/>
                <a:gd name="T37" fmla="*/ 569 h 802"/>
                <a:gd name="T38" fmla="*/ 1234 w 1254"/>
                <a:gd name="T39" fmla="*/ 545 h 802"/>
                <a:gd name="T40" fmla="*/ 1229 w 1254"/>
                <a:gd name="T41" fmla="*/ 172 h 802"/>
                <a:gd name="T42" fmla="*/ 1117 w 1254"/>
                <a:gd name="T43" fmla="*/ 71 h 802"/>
                <a:gd name="T44" fmla="*/ 460 w 1254"/>
                <a:gd name="T45" fmla="*/ 76 h 802"/>
                <a:gd name="T46" fmla="*/ 125 w 1254"/>
                <a:gd name="T47" fmla="*/ 41 h 802"/>
                <a:gd name="T48" fmla="*/ 97 w 1254"/>
                <a:gd name="T49" fmla="*/ 0 h 802"/>
                <a:gd name="T50" fmla="*/ 92 w 1254"/>
                <a:gd name="T51" fmla="*/ 62 h 802"/>
                <a:gd name="T52" fmla="*/ 80 w 1254"/>
                <a:gd name="T53" fmla="*/ 126 h 802"/>
                <a:gd name="T54" fmla="*/ 70 w 1254"/>
                <a:gd name="T55" fmla="*/ 169 h 802"/>
                <a:gd name="T56" fmla="*/ 37 w 1254"/>
                <a:gd name="T57" fmla="*/ 251 h 802"/>
                <a:gd name="T58" fmla="*/ 1 w 1254"/>
                <a:gd name="T59" fmla="*/ 293 h 802"/>
                <a:gd name="T60" fmla="*/ 73 w 1254"/>
                <a:gd name="T61" fmla="*/ 334 h 802"/>
                <a:gd name="T62" fmla="*/ 105 w 1254"/>
                <a:gd name="T63" fmla="*/ 312 h 802"/>
                <a:gd name="T64" fmla="*/ 226 w 1254"/>
                <a:gd name="T65" fmla="*/ 281 h 802"/>
                <a:gd name="T66" fmla="*/ 453 w 1254"/>
                <a:gd name="T67" fmla="*/ 47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4" h="802">
                  <a:moveTo>
                    <a:pt x="453" y="472"/>
                  </a:moveTo>
                  <a:cubicBezTo>
                    <a:pt x="474" y="492"/>
                    <a:pt x="508" y="554"/>
                    <a:pt x="477" y="762"/>
                  </a:cubicBezTo>
                  <a:cubicBezTo>
                    <a:pt x="475" y="780"/>
                    <a:pt x="456" y="793"/>
                    <a:pt x="460" y="802"/>
                  </a:cubicBezTo>
                  <a:cubicBezTo>
                    <a:pt x="460" y="802"/>
                    <a:pt x="484" y="802"/>
                    <a:pt x="519" y="802"/>
                  </a:cubicBezTo>
                  <a:cubicBezTo>
                    <a:pt x="548" y="802"/>
                    <a:pt x="548" y="802"/>
                    <a:pt x="548" y="802"/>
                  </a:cubicBezTo>
                  <a:cubicBezTo>
                    <a:pt x="564" y="802"/>
                    <a:pt x="561" y="556"/>
                    <a:pt x="560" y="541"/>
                  </a:cubicBezTo>
                  <a:cubicBezTo>
                    <a:pt x="558" y="505"/>
                    <a:pt x="630" y="545"/>
                    <a:pt x="729" y="523"/>
                  </a:cubicBezTo>
                  <a:cubicBezTo>
                    <a:pt x="810" y="505"/>
                    <a:pt x="902" y="481"/>
                    <a:pt x="915" y="469"/>
                  </a:cubicBezTo>
                  <a:cubicBezTo>
                    <a:pt x="929" y="458"/>
                    <a:pt x="932" y="503"/>
                    <a:pt x="960" y="528"/>
                  </a:cubicBezTo>
                  <a:cubicBezTo>
                    <a:pt x="988" y="553"/>
                    <a:pt x="1017" y="566"/>
                    <a:pt x="1048" y="566"/>
                  </a:cubicBezTo>
                  <a:cubicBezTo>
                    <a:pt x="1080" y="566"/>
                    <a:pt x="1053" y="659"/>
                    <a:pt x="1023" y="712"/>
                  </a:cubicBezTo>
                  <a:cubicBezTo>
                    <a:pt x="993" y="765"/>
                    <a:pt x="975" y="802"/>
                    <a:pt x="975" y="802"/>
                  </a:cubicBezTo>
                  <a:cubicBezTo>
                    <a:pt x="1037" y="802"/>
                    <a:pt x="1037" y="802"/>
                    <a:pt x="1037" y="802"/>
                  </a:cubicBezTo>
                  <a:cubicBezTo>
                    <a:pt x="1037" y="802"/>
                    <a:pt x="1105" y="634"/>
                    <a:pt x="1119" y="605"/>
                  </a:cubicBezTo>
                  <a:cubicBezTo>
                    <a:pt x="1133" y="575"/>
                    <a:pt x="1126" y="771"/>
                    <a:pt x="1126" y="802"/>
                  </a:cubicBezTo>
                  <a:cubicBezTo>
                    <a:pt x="1181" y="802"/>
                    <a:pt x="1181" y="802"/>
                    <a:pt x="1181" y="802"/>
                  </a:cubicBezTo>
                  <a:cubicBezTo>
                    <a:pt x="1182" y="708"/>
                    <a:pt x="1184" y="462"/>
                    <a:pt x="1191" y="397"/>
                  </a:cubicBezTo>
                  <a:cubicBezTo>
                    <a:pt x="1195" y="358"/>
                    <a:pt x="1197" y="262"/>
                    <a:pt x="1205" y="268"/>
                  </a:cubicBezTo>
                  <a:cubicBezTo>
                    <a:pt x="1210" y="272"/>
                    <a:pt x="1192" y="483"/>
                    <a:pt x="1211" y="569"/>
                  </a:cubicBezTo>
                  <a:cubicBezTo>
                    <a:pt x="1220" y="611"/>
                    <a:pt x="1243" y="569"/>
                    <a:pt x="1234" y="545"/>
                  </a:cubicBezTo>
                  <a:cubicBezTo>
                    <a:pt x="1217" y="496"/>
                    <a:pt x="1254" y="236"/>
                    <a:pt x="1229" y="172"/>
                  </a:cubicBezTo>
                  <a:cubicBezTo>
                    <a:pt x="1210" y="124"/>
                    <a:pt x="1243" y="71"/>
                    <a:pt x="1117" y="71"/>
                  </a:cubicBezTo>
                  <a:cubicBezTo>
                    <a:pt x="991" y="71"/>
                    <a:pt x="528" y="78"/>
                    <a:pt x="460" y="76"/>
                  </a:cubicBezTo>
                  <a:cubicBezTo>
                    <a:pt x="325" y="71"/>
                    <a:pt x="172" y="53"/>
                    <a:pt x="125" y="41"/>
                  </a:cubicBezTo>
                  <a:cubicBezTo>
                    <a:pt x="106" y="36"/>
                    <a:pt x="123" y="3"/>
                    <a:pt x="97" y="0"/>
                  </a:cubicBezTo>
                  <a:cubicBezTo>
                    <a:pt x="97" y="0"/>
                    <a:pt x="90" y="50"/>
                    <a:pt x="92" y="62"/>
                  </a:cubicBezTo>
                  <a:cubicBezTo>
                    <a:pt x="93" y="74"/>
                    <a:pt x="88" y="116"/>
                    <a:pt x="80" y="126"/>
                  </a:cubicBezTo>
                  <a:cubicBezTo>
                    <a:pt x="73" y="135"/>
                    <a:pt x="66" y="145"/>
                    <a:pt x="70" y="169"/>
                  </a:cubicBezTo>
                  <a:cubicBezTo>
                    <a:pt x="74" y="194"/>
                    <a:pt x="44" y="226"/>
                    <a:pt x="37" y="251"/>
                  </a:cubicBezTo>
                  <a:cubicBezTo>
                    <a:pt x="30" y="277"/>
                    <a:pt x="3" y="273"/>
                    <a:pt x="1" y="293"/>
                  </a:cubicBezTo>
                  <a:cubicBezTo>
                    <a:pt x="0" y="313"/>
                    <a:pt x="45" y="335"/>
                    <a:pt x="73" y="334"/>
                  </a:cubicBezTo>
                  <a:cubicBezTo>
                    <a:pt x="101" y="334"/>
                    <a:pt x="93" y="320"/>
                    <a:pt x="105" y="312"/>
                  </a:cubicBezTo>
                  <a:cubicBezTo>
                    <a:pt x="118" y="305"/>
                    <a:pt x="167" y="311"/>
                    <a:pt x="226" y="281"/>
                  </a:cubicBezTo>
                  <a:cubicBezTo>
                    <a:pt x="261" y="259"/>
                    <a:pt x="436" y="455"/>
                    <a:pt x="453" y="47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6">
              <a:extLst>
                <a:ext uri="{FF2B5EF4-FFF2-40B4-BE49-F238E27FC236}">
                  <a16:creationId xmlns:a16="http://schemas.microsoft.com/office/drawing/2014/main" xmlns="" id="{B4F75827-EFE5-42E6-A0BA-A5DBB816C47C}"/>
                </a:ext>
              </a:extLst>
            </p:cNvPr>
            <p:cNvSpPr>
              <a:spLocks/>
            </p:cNvSpPr>
            <p:nvPr/>
          </p:nvSpPr>
          <p:spPr bwMode="auto">
            <a:xfrm>
              <a:off x="7527821" y="4217743"/>
              <a:ext cx="90580" cy="102022"/>
            </a:xfrm>
            <a:custGeom>
              <a:avLst/>
              <a:gdLst>
                <a:gd name="T0" fmla="*/ 0 w 40"/>
                <a:gd name="T1" fmla="*/ 0 h 45"/>
                <a:gd name="T2" fmla="*/ 38 w 40"/>
                <a:gd name="T3" fmla="*/ 45 h 45"/>
                <a:gd name="T4" fmla="*/ 39 w 40"/>
                <a:gd name="T5" fmla="*/ 15 h 45"/>
                <a:gd name="T6" fmla="*/ 0 w 40"/>
                <a:gd name="T7" fmla="*/ 0 h 45"/>
              </a:gdLst>
              <a:ahLst/>
              <a:cxnLst>
                <a:cxn ang="0">
                  <a:pos x="T0" y="T1"/>
                </a:cxn>
                <a:cxn ang="0">
                  <a:pos x="T2" y="T3"/>
                </a:cxn>
                <a:cxn ang="0">
                  <a:pos x="T4" y="T5"/>
                </a:cxn>
                <a:cxn ang="0">
                  <a:pos x="T6" y="T7"/>
                </a:cxn>
              </a:cxnLst>
              <a:rect l="0" t="0" r="r" b="b"/>
              <a:pathLst>
                <a:path w="40" h="45">
                  <a:moveTo>
                    <a:pt x="0" y="0"/>
                  </a:moveTo>
                  <a:cubicBezTo>
                    <a:pt x="6" y="35"/>
                    <a:pt x="38" y="45"/>
                    <a:pt x="38" y="45"/>
                  </a:cubicBezTo>
                  <a:cubicBezTo>
                    <a:pt x="38" y="45"/>
                    <a:pt x="40" y="23"/>
                    <a:pt x="39" y="15"/>
                  </a:cubicBezTo>
                  <a:cubicBezTo>
                    <a:pt x="38" y="6"/>
                    <a:pt x="0" y="0"/>
                    <a:pt x="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118" name="Inhaltsplatzhalter 5">
              <a:extLst>
                <a:ext uri="{FF2B5EF4-FFF2-40B4-BE49-F238E27FC236}">
                  <a16:creationId xmlns:a16="http://schemas.microsoft.com/office/drawing/2014/main" xmlns="" id="{9D0CC4C0-D041-43A8-A749-3FC5CEF351EE}"/>
                </a:ext>
              </a:extLst>
            </p:cNvPr>
            <p:cNvGraphicFramePr>
              <a:graphicFrameLocks/>
            </p:cNvGraphicFramePr>
            <p:nvPr>
              <p:extLst>
                <p:ext uri="{D42A27DB-BD31-4B8C-83A1-F6EECF244321}">
                  <p14:modId xmlns:p14="http://schemas.microsoft.com/office/powerpoint/2010/main" val="853564255"/>
                </p:ext>
              </p:extLst>
            </p:nvPr>
          </p:nvGraphicFramePr>
          <p:xfrm>
            <a:off x="2448303" y="1854550"/>
            <a:ext cx="7936760" cy="4103054"/>
          </p:xfrm>
          <a:graphic>
            <a:graphicData uri="http://schemas.openxmlformats.org/drawingml/2006/chart">
              <c:chart xmlns:c="http://schemas.openxmlformats.org/drawingml/2006/chart" xmlns:r="http://schemas.openxmlformats.org/officeDocument/2006/relationships" r:id="rId3"/>
            </a:graphicData>
          </a:graphic>
        </p:graphicFrame>
      </p:grpSp>
    </p:spTree>
    <p:extLst>
      <p:ext uri="{BB962C8B-B14F-4D97-AF65-F5344CB8AC3E}">
        <p14:creationId xmlns:p14="http://schemas.microsoft.com/office/powerpoint/2010/main" val="22518495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36239" y="541947"/>
            <a:ext cx="8852375" cy="697353"/>
          </a:xfrm>
        </p:spPr>
        <p:txBody>
          <a:bodyPr>
            <a:normAutofit fontScale="92500"/>
          </a:bodyPr>
          <a:lstStyle/>
          <a:p>
            <a:r>
              <a:rPr lang="en-GB" dirty="0"/>
              <a:t>Opciones estratégicas en la crisis: Fases inicial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9348" y="2141017"/>
            <a:ext cx="2714538" cy="373722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esde el punto de vista empresarial, las alternativas estratégicas de actuación disminuyen a medida que avanza la crisis.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Cuanto antes se reconozca la crisis, mayor será la libertad estratégica.</a:t>
            </a:r>
            <a:endParaRPr lang="en-US" dirty="0">
              <a:solidFill>
                <a:srgbClr val="245473"/>
              </a:solidFill>
            </a:endParaRPr>
          </a:p>
          <a:p>
            <a:pPr algn="l">
              <a:lnSpc>
                <a:spcPts val="1500"/>
              </a:lnSpc>
              <a:spcBef>
                <a:spcPts val="600"/>
              </a:spcBef>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059140" y="1951884"/>
            <a:ext cx="6770233" cy="1034836"/>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isminución de la cuota de mercado</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umento de las reclamacione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alentización de las cuentas por cobrar y por pagar</a:t>
            </a:r>
          </a:p>
          <a:p>
            <a:pPr marL="182563" indent="-182563" algn="l">
              <a:lnSpc>
                <a:spcPts val="1313"/>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eterioro de los ratios financieros</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6" name="Trapezoid 5">
            <a:extLst>
              <a:ext uri="{FF2B5EF4-FFF2-40B4-BE49-F238E27FC236}">
                <a16:creationId xmlns:a16="http://schemas.microsoft.com/office/drawing/2014/main" xmlns="" id="{A20C0991-9A79-428E-ADBF-270B86B87DE6}"/>
              </a:ext>
            </a:extLst>
          </p:cNvPr>
          <p:cNvSpPr/>
          <p:nvPr/>
        </p:nvSpPr>
        <p:spPr>
          <a:xfrm rot="5400000">
            <a:off x="3447146" y="3091700"/>
            <a:ext cx="2272626" cy="1889760"/>
          </a:xfrm>
          <a:prstGeom prst="trapezoid">
            <a:avLst>
              <a:gd name="adj" fmla="val 148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3645252" y="3522341"/>
            <a:ext cx="1883088" cy="13741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800" b="1" dirty="0">
                <a:solidFill>
                  <a:schemeClr val="bg1"/>
                </a:solidFill>
                <a:latin typeface="+mj-lt"/>
                <a:ea typeface="Lato Light" panose="020F0502020204030203" pitchFamily="34" charset="0"/>
                <a:cs typeface="Mukta ExtraLight" panose="020B0000000000000000" pitchFamily="34" charset="77"/>
              </a:rPr>
              <a:t>Primeras fases de la crisis</a:t>
            </a:r>
            <a:br>
              <a:rPr lang="en-GB" sz="1800" b="1" dirty="0">
                <a:solidFill>
                  <a:schemeClr val="bg1"/>
                </a:solidFill>
                <a:latin typeface="+mj-lt"/>
                <a:ea typeface="Lato Light" panose="020F0502020204030203" pitchFamily="34" charset="0"/>
                <a:cs typeface="Mukta ExtraLight" panose="020B0000000000000000" pitchFamily="34" charset="77"/>
              </a:rPr>
            </a:br>
            <a:r>
              <a:rPr lang="en-GB" sz="1800" b="1" dirty="0">
                <a:solidFill>
                  <a:schemeClr val="bg1"/>
                </a:solidFill>
                <a:latin typeface="+mj-lt"/>
                <a:ea typeface="Lato Light" panose="020F0502020204030203" pitchFamily="34" charset="0"/>
                <a:cs typeface="Mukta ExtraLight" panose="020B0000000000000000" pitchFamily="34" charset="77"/>
              </a:rPr>
              <a:t/>
            </a:r>
            <a:br>
              <a:rPr lang="en-GB" sz="1800" b="1" dirty="0">
                <a:solidFill>
                  <a:schemeClr val="bg1"/>
                </a:solidFill>
                <a:latin typeface="+mj-lt"/>
                <a:ea typeface="Lato Light" panose="020F0502020204030203" pitchFamily="34" charset="0"/>
                <a:cs typeface="Mukta ExtraLight" panose="020B0000000000000000" pitchFamily="34" charset="77"/>
              </a:rPr>
            </a:br>
            <a:r>
              <a:rPr lang="en-GB" sz="1800" dirty="0">
                <a:solidFill>
                  <a:schemeClr val="bg1"/>
                </a:solidFill>
                <a:latin typeface="+mj-lt"/>
                <a:ea typeface="Lato Light" panose="020F0502020204030203" pitchFamily="34" charset="0"/>
                <a:cs typeface="Mukta ExtraLight" panose="020B0000000000000000" pitchFamily="34" charset="77"/>
              </a:rPr>
              <a:t>Rendimiento insuficiente</a:t>
            </a:r>
          </a:p>
          <a:p>
            <a:pPr>
              <a:lnSpc>
                <a:spcPts val="1313"/>
              </a:lnSpc>
            </a:pPr>
            <a:endPar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endParaRPr>
          </a:p>
          <a:p>
            <a:pPr>
              <a:lnSpc>
                <a:spcPts val="1313"/>
              </a:lnSpc>
            </a:pPr>
            <a: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Muchas opciones estratégicas</a:t>
            </a:r>
            <a:b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br>
            <a: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Opciones</a:t>
            </a:r>
          </a:p>
          <a:p>
            <a:pPr>
              <a:lnSpc>
                <a:spcPts val="1313"/>
              </a:lnSpc>
            </a:pP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45252" y="2060197"/>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64D92"/>
                </a:solidFill>
                <a:latin typeface="+mj-lt"/>
                <a:ea typeface="Lato Light" panose="020F0502020204030203" pitchFamily="34" charset="0"/>
                <a:cs typeface="Mukta ExtraLight" panose="020B0000000000000000" pitchFamily="34" charset="77"/>
              </a:rPr>
              <a:t>Los síntomas:</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319442" y="5006343"/>
            <a:ext cx="6770233" cy="100661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nfrentarse a la situació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scuchar a los cliente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vitalizar los planes estratégicos y operativo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ir la duración de los ciclos</a:t>
            </a:r>
          </a:p>
          <a:p>
            <a:pPr marL="285750" indent="-2857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fesionalizar los sistemas de información y contabilidad</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ir los costes variables + los gastos fijos</a:t>
            </a:r>
          </a:p>
          <a:p>
            <a:pPr marL="182245" indent="-182245"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45252"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64D92"/>
                </a:solidFill>
                <a:latin typeface="+mj-lt"/>
                <a:ea typeface="Lato Light" panose="020F0502020204030203" pitchFamily="34" charset="0"/>
                <a:cs typeface="Mukta ExtraLight" panose="020B0000000000000000" pitchFamily="34" charset="77"/>
              </a:rPr>
              <a:t>Acciones:</a:t>
            </a:r>
          </a:p>
        </p:txBody>
      </p:sp>
      <p:sp>
        <p:nvSpPr>
          <p:cNvPr id="12" name="Subtitle 2">
            <a:extLst>
              <a:ext uri="{FF2B5EF4-FFF2-40B4-BE49-F238E27FC236}">
                <a16:creationId xmlns:a16="http://schemas.microsoft.com/office/drawing/2014/main" xmlns="" id="{49C17D88-888D-43D7-83F4-B951773BB902}"/>
              </a:ext>
            </a:extLst>
          </p:cNvPr>
          <p:cNvSpPr txBox="1">
            <a:spLocks/>
          </p:cNvSpPr>
          <p:nvPr/>
        </p:nvSpPr>
        <p:spPr>
          <a:xfrm rot="16200000">
            <a:off x="2553713" y="3922889"/>
            <a:ext cx="1883088"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2000" b="1" dirty="0">
                <a:solidFill>
                  <a:srgbClr val="F95C2C"/>
                </a:solidFill>
                <a:latin typeface="+mj-lt"/>
                <a:ea typeface="Lato Light" panose="020F0502020204030203" pitchFamily="34" charset="0"/>
                <a:cs typeface="Mukta ExtraLight" panose="020B0000000000000000" pitchFamily="34" charset="77"/>
              </a:rPr>
              <a:t>Opciones estratégicas</a:t>
            </a:r>
          </a:p>
        </p:txBody>
      </p:sp>
    </p:spTree>
    <p:extLst>
      <p:ext uri="{BB962C8B-B14F-4D97-AF65-F5344CB8AC3E}">
        <p14:creationId xmlns:p14="http://schemas.microsoft.com/office/powerpoint/2010/main" val="11790862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Medidas para la gestión de la crisis: Lo básico</a:t>
            </a:r>
          </a:p>
          <a:p>
            <a:endParaRPr lang="en-GB" dirty="0"/>
          </a:p>
        </p:txBody>
      </p:sp>
    </p:spTree>
    <p:extLst>
      <p:ext uri="{BB962C8B-B14F-4D97-AF65-F5344CB8AC3E}">
        <p14:creationId xmlns:p14="http://schemas.microsoft.com/office/powerpoint/2010/main" val="25350111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39017" y="665903"/>
            <a:ext cx="8852375" cy="697353"/>
          </a:xfrm>
        </p:spPr>
        <p:txBody>
          <a:bodyPr>
            <a:normAutofit fontScale="85000" lnSpcReduction="10000"/>
          </a:bodyPr>
          <a:lstStyle/>
          <a:p>
            <a:r>
              <a:rPr lang="en-GB" dirty="0"/>
              <a:t>Medidas para la gestión de la crisis: Lo básic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0259" y="2134764"/>
            <a:ext cx="2392910" cy="21137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desarrollo de las medidas de reestructuración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sigue básicamente cuatro requisitos centrales.</a:t>
            </a:r>
          </a:p>
        </p:txBody>
      </p:sp>
      <p:sp>
        <p:nvSpPr>
          <p:cNvPr id="33" name="Freeform 39">
            <a:extLst>
              <a:ext uri="{FF2B5EF4-FFF2-40B4-BE49-F238E27FC236}">
                <a16:creationId xmlns:a16="http://schemas.microsoft.com/office/drawing/2014/main" xmlns="" id="{E307E59B-936A-46F0-B197-E4F3FA985B26}"/>
              </a:ext>
            </a:extLst>
          </p:cNvPr>
          <p:cNvSpPr>
            <a:spLocks/>
          </p:cNvSpPr>
          <p:nvPr/>
        </p:nvSpPr>
        <p:spPr bwMode="auto">
          <a:xfrm>
            <a:off x="2908777" y="2120434"/>
            <a:ext cx="4395834" cy="181393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4" name="Freeform 13">
            <a:extLst>
              <a:ext uri="{FF2B5EF4-FFF2-40B4-BE49-F238E27FC236}">
                <a16:creationId xmlns:a16="http://schemas.microsoft.com/office/drawing/2014/main" xmlns="" id="{1E2AF4C2-519B-4B35-9A82-D4D37E7DE282}"/>
              </a:ext>
            </a:extLst>
          </p:cNvPr>
          <p:cNvSpPr>
            <a:spLocks/>
          </p:cNvSpPr>
          <p:nvPr/>
        </p:nvSpPr>
        <p:spPr bwMode="auto">
          <a:xfrm>
            <a:off x="3322943" y="2120436"/>
            <a:ext cx="422969" cy="1806604"/>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5" name="Freeform 37">
            <a:extLst>
              <a:ext uri="{FF2B5EF4-FFF2-40B4-BE49-F238E27FC236}">
                <a16:creationId xmlns:a16="http://schemas.microsoft.com/office/drawing/2014/main" xmlns="" id="{41E6CB8C-A6FA-479A-931F-CA10DB775A99}"/>
              </a:ext>
            </a:extLst>
          </p:cNvPr>
          <p:cNvSpPr>
            <a:spLocks/>
          </p:cNvSpPr>
          <p:nvPr/>
        </p:nvSpPr>
        <p:spPr bwMode="auto">
          <a:xfrm>
            <a:off x="7393107" y="2110499"/>
            <a:ext cx="4540687" cy="1813931"/>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6" name="Freeform 15">
            <a:extLst>
              <a:ext uri="{FF2B5EF4-FFF2-40B4-BE49-F238E27FC236}">
                <a16:creationId xmlns:a16="http://schemas.microsoft.com/office/drawing/2014/main" xmlns="" id="{D064C426-8AA4-45AE-BC65-9727FA187731}"/>
              </a:ext>
            </a:extLst>
          </p:cNvPr>
          <p:cNvSpPr>
            <a:spLocks/>
          </p:cNvSpPr>
          <p:nvPr/>
        </p:nvSpPr>
        <p:spPr bwMode="auto">
          <a:xfrm>
            <a:off x="7725248" y="2449763"/>
            <a:ext cx="818717" cy="1467864"/>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7" name="Freeform 35">
            <a:extLst>
              <a:ext uri="{FF2B5EF4-FFF2-40B4-BE49-F238E27FC236}">
                <a16:creationId xmlns:a16="http://schemas.microsoft.com/office/drawing/2014/main" xmlns="" id="{EDFE4ADA-684F-43B5-A253-E78BADD5F456}"/>
              </a:ext>
            </a:extLst>
          </p:cNvPr>
          <p:cNvSpPr>
            <a:spLocks/>
          </p:cNvSpPr>
          <p:nvPr/>
        </p:nvSpPr>
        <p:spPr bwMode="auto">
          <a:xfrm>
            <a:off x="2783226" y="4224357"/>
            <a:ext cx="4527781" cy="1813931"/>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8" name="Freeform 16">
            <a:extLst>
              <a:ext uri="{FF2B5EF4-FFF2-40B4-BE49-F238E27FC236}">
                <a16:creationId xmlns:a16="http://schemas.microsoft.com/office/drawing/2014/main" xmlns="" id="{4D52DCEB-DFB6-42BA-A0E9-958A7DBB6CCA}"/>
              </a:ext>
            </a:extLst>
          </p:cNvPr>
          <p:cNvSpPr>
            <a:spLocks/>
          </p:cNvSpPr>
          <p:nvPr/>
        </p:nvSpPr>
        <p:spPr bwMode="auto">
          <a:xfrm>
            <a:off x="3188932" y="4608060"/>
            <a:ext cx="739150" cy="143022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9" name="Freeform 16">
            <a:extLst>
              <a:ext uri="{FF2B5EF4-FFF2-40B4-BE49-F238E27FC236}">
                <a16:creationId xmlns:a16="http://schemas.microsoft.com/office/drawing/2014/main" xmlns="" id="{4E99F8D4-9DA5-45E7-90C3-01358C079E46}"/>
              </a:ext>
            </a:extLst>
          </p:cNvPr>
          <p:cNvSpPr>
            <a:spLocks noEditPoints="1"/>
          </p:cNvSpPr>
          <p:nvPr/>
        </p:nvSpPr>
        <p:spPr bwMode="auto">
          <a:xfrm>
            <a:off x="7363561" y="4224357"/>
            <a:ext cx="4565070" cy="1813931"/>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0" name="Freeform 5">
            <a:extLst>
              <a:ext uri="{FF2B5EF4-FFF2-40B4-BE49-F238E27FC236}">
                <a16:creationId xmlns:a16="http://schemas.microsoft.com/office/drawing/2014/main" xmlns="" id="{1B0C1417-243B-4D46-901E-D7CD5B9DE3FB}"/>
              </a:ext>
            </a:extLst>
          </p:cNvPr>
          <p:cNvSpPr>
            <a:spLocks/>
          </p:cNvSpPr>
          <p:nvPr/>
        </p:nvSpPr>
        <p:spPr bwMode="auto">
          <a:xfrm>
            <a:off x="8118327" y="4224357"/>
            <a:ext cx="437733" cy="1813931"/>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1" name="TextBox 27">
            <a:extLst>
              <a:ext uri="{FF2B5EF4-FFF2-40B4-BE49-F238E27FC236}">
                <a16:creationId xmlns:a16="http://schemas.microsoft.com/office/drawing/2014/main" xmlns="" id="{157EBE67-A33C-4BCE-A078-E2B0F31E255F}"/>
              </a:ext>
            </a:extLst>
          </p:cNvPr>
          <p:cNvSpPr txBox="1"/>
          <p:nvPr/>
        </p:nvSpPr>
        <p:spPr>
          <a:xfrm>
            <a:off x="8448991" y="4563052"/>
            <a:ext cx="3484803" cy="977575"/>
          </a:xfrm>
          <a:prstGeom prst="rect">
            <a:avLst/>
          </a:prstGeom>
          <a:noFill/>
        </p:spPr>
        <p:txBody>
          <a:bodyPr wrap="square" rtlCol="0">
            <a:spAutoFit/>
          </a:bodyPr>
          <a:lstStyle/>
          <a:p>
            <a:pPr>
              <a:lnSpc>
                <a:spcPts val="1665"/>
              </a:lnSpc>
            </a:pPr>
            <a:r>
              <a:rPr lang="en-GB" sz="2000" dirty="0">
                <a:solidFill>
                  <a:schemeClr val="bg1"/>
                </a:solidFill>
                <a:latin typeface="+mj-lt"/>
                <a:ea typeface="Lato Light" charset="0"/>
                <a:cs typeface="Lato Light" charset="0"/>
              </a:rPr>
              <a:t>En general, la rehabilitación sostenible requiere un concepto claro para reforzar o recuperar la competitividad.</a:t>
            </a:r>
          </a:p>
        </p:txBody>
      </p:sp>
      <p:sp>
        <p:nvSpPr>
          <p:cNvPr id="42" name="TextBox 28">
            <a:extLst>
              <a:ext uri="{FF2B5EF4-FFF2-40B4-BE49-F238E27FC236}">
                <a16:creationId xmlns:a16="http://schemas.microsoft.com/office/drawing/2014/main" xmlns="" id="{368B1122-6E1D-4C73-8329-2127EE559E06}"/>
              </a:ext>
            </a:extLst>
          </p:cNvPr>
          <p:cNvSpPr txBox="1"/>
          <p:nvPr/>
        </p:nvSpPr>
        <p:spPr>
          <a:xfrm>
            <a:off x="8455473" y="4248466"/>
            <a:ext cx="3529812"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La competitividad sostenible como objetivo final</a:t>
            </a:r>
          </a:p>
        </p:txBody>
      </p:sp>
      <p:sp>
        <p:nvSpPr>
          <p:cNvPr id="43" name="TextBox 29">
            <a:extLst>
              <a:ext uri="{FF2B5EF4-FFF2-40B4-BE49-F238E27FC236}">
                <a16:creationId xmlns:a16="http://schemas.microsoft.com/office/drawing/2014/main" xmlns="" id="{39B7BE9A-4A12-4A3A-9E09-19CE818C3FBE}"/>
              </a:ext>
            </a:extLst>
          </p:cNvPr>
          <p:cNvSpPr txBox="1"/>
          <p:nvPr/>
        </p:nvSpPr>
        <p:spPr>
          <a:xfrm>
            <a:off x="3770232" y="4563052"/>
            <a:ext cx="3484803" cy="1406795"/>
          </a:xfrm>
          <a:prstGeom prst="rect">
            <a:avLst/>
          </a:prstGeom>
          <a:noFill/>
        </p:spPr>
        <p:txBody>
          <a:bodyPr wrap="square" rtlCol="0">
            <a:spAutoFit/>
          </a:bodyPr>
          <a:lstStyle/>
          <a:p>
            <a:pPr>
              <a:lnSpc>
                <a:spcPts val="1665"/>
              </a:lnSpc>
            </a:pPr>
            <a:r>
              <a:rPr lang="en-GB" dirty="0">
                <a:solidFill>
                  <a:schemeClr val="bg1"/>
                </a:solidFill>
                <a:latin typeface="+mj-lt"/>
                <a:ea typeface="Lato Light" charset="0"/>
                <a:cs typeface="Lato Light" charset="0"/>
              </a:rPr>
              <a:t>Las medidas están dirigidas a lograr la rentabilidad mediante programas de mejora de la eficiencia y reducción de costes y, por último, a la (re)orientación estratégica de la empresa.</a:t>
            </a:r>
          </a:p>
        </p:txBody>
      </p:sp>
      <p:sp>
        <p:nvSpPr>
          <p:cNvPr id="44" name="TextBox 30">
            <a:extLst>
              <a:ext uri="{FF2B5EF4-FFF2-40B4-BE49-F238E27FC236}">
                <a16:creationId xmlns:a16="http://schemas.microsoft.com/office/drawing/2014/main" xmlns="" id="{73D99BD9-9B17-4E44-8856-C99CB775BFB2}"/>
              </a:ext>
            </a:extLst>
          </p:cNvPr>
          <p:cNvSpPr txBox="1"/>
          <p:nvPr/>
        </p:nvSpPr>
        <p:spPr>
          <a:xfrm>
            <a:off x="3791572" y="4248466"/>
            <a:ext cx="2925985" cy="338554"/>
          </a:xfrm>
          <a:prstGeom prst="rect">
            <a:avLst/>
          </a:prstGeom>
          <a:noFill/>
        </p:spPr>
        <p:txBody>
          <a:bodyPr wrap="square" rtlCol="0">
            <a:spAutoFit/>
          </a:bodyPr>
          <a:lstStyle/>
          <a:p>
            <a:r>
              <a:rPr lang="en-GB" sz="1600" b="1">
                <a:solidFill>
                  <a:schemeClr val="bg1"/>
                </a:solidFill>
                <a:latin typeface="+mj-lt"/>
                <a:ea typeface="Roboto" charset="0"/>
                <a:cs typeface="Roboto" charset="0"/>
              </a:rPr>
              <a:t>La lucha contra el fuego antes de la sostenibilidad</a:t>
            </a:r>
            <a:endParaRPr lang="en-GB" sz="1600" b="1" dirty="0">
              <a:solidFill>
                <a:schemeClr val="bg1"/>
              </a:solidFill>
              <a:latin typeface="+mj-lt"/>
              <a:ea typeface="Roboto" charset="0"/>
              <a:cs typeface="Roboto" charset="0"/>
            </a:endParaRPr>
          </a:p>
        </p:txBody>
      </p:sp>
      <p:sp>
        <p:nvSpPr>
          <p:cNvPr id="45" name="TextBox 37">
            <a:extLst>
              <a:ext uri="{FF2B5EF4-FFF2-40B4-BE49-F238E27FC236}">
                <a16:creationId xmlns:a16="http://schemas.microsoft.com/office/drawing/2014/main" xmlns="" id="{DA2331B7-9CA6-40FB-BFC8-F50D69A63F78}"/>
              </a:ext>
            </a:extLst>
          </p:cNvPr>
          <p:cNvSpPr txBox="1"/>
          <p:nvPr/>
        </p:nvSpPr>
        <p:spPr>
          <a:xfrm>
            <a:off x="8448991" y="2378571"/>
            <a:ext cx="3572750" cy="1400383"/>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En función de la urgencia de la situación, las medidas de reestructuración se dirigen inicialmente a eliminar los posibles motivos de insolvencia, es decir, a garantizar la solvencia de la empresa (programa de salvaguarda de la liquidez) y a cubrir las deudas.</a:t>
            </a:r>
          </a:p>
        </p:txBody>
      </p:sp>
      <p:sp>
        <p:nvSpPr>
          <p:cNvPr id="46" name="TextBox 38">
            <a:extLst>
              <a:ext uri="{FF2B5EF4-FFF2-40B4-BE49-F238E27FC236}">
                <a16:creationId xmlns:a16="http://schemas.microsoft.com/office/drawing/2014/main" xmlns="" id="{B7661049-E557-43D7-A167-5AD18AD80BF2}"/>
              </a:ext>
            </a:extLst>
          </p:cNvPr>
          <p:cNvSpPr txBox="1"/>
          <p:nvPr/>
        </p:nvSpPr>
        <p:spPr>
          <a:xfrm>
            <a:off x="8470331" y="2087736"/>
            <a:ext cx="2703689"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La urgencia determina las medidas</a:t>
            </a:r>
          </a:p>
        </p:txBody>
      </p:sp>
      <p:sp>
        <p:nvSpPr>
          <p:cNvPr id="47" name="TextBox 39">
            <a:extLst>
              <a:ext uri="{FF2B5EF4-FFF2-40B4-BE49-F238E27FC236}">
                <a16:creationId xmlns:a16="http://schemas.microsoft.com/office/drawing/2014/main" xmlns="" id="{E236226E-206C-4200-A2C4-3A2E2C217F5A}"/>
              </a:ext>
            </a:extLst>
          </p:cNvPr>
          <p:cNvSpPr txBox="1"/>
          <p:nvPr/>
        </p:nvSpPr>
        <p:spPr>
          <a:xfrm>
            <a:off x="3770232" y="2437946"/>
            <a:ext cx="3484803" cy="970779"/>
          </a:xfrm>
          <a:prstGeom prst="rect">
            <a:avLst/>
          </a:prstGeom>
          <a:noFill/>
        </p:spPr>
        <p:txBody>
          <a:bodyPr wrap="square" rtlCol="0">
            <a:spAutoFit/>
          </a:bodyPr>
          <a:lstStyle/>
          <a:p>
            <a:pPr>
              <a:lnSpc>
                <a:spcPts val="1665"/>
              </a:lnSpc>
            </a:pPr>
            <a:r>
              <a:rPr lang="en-GB" sz="2000" dirty="0">
                <a:solidFill>
                  <a:schemeClr val="bg1"/>
                </a:solidFill>
                <a:latin typeface="+mj-lt"/>
                <a:ea typeface="Lato Light" charset="0"/>
                <a:cs typeface="Lato Light" charset="0"/>
              </a:rPr>
              <a:t>La etapa respectiva de la crisis determina el contenido y las medidas del concepto de reestructuración</a:t>
            </a:r>
          </a:p>
        </p:txBody>
      </p:sp>
      <p:sp>
        <p:nvSpPr>
          <p:cNvPr id="48" name="TextBox 40">
            <a:extLst>
              <a:ext uri="{FF2B5EF4-FFF2-40B4-BE49-F238E27FC236}">
                <a16:creationId xmlns:a16="http://schemas.microsoft.com/office/drawing/2014/main" xmlns="" id="{805FE2B6-A322-4AEF-B55F-50D02789EFB7}"/>
              </a:ext>
            </a:extLst>
          </p:cNvPr>
          <p:cNvSpPr txBox="1"/>
          <p:nvPr/>
        </p:nvSpPr>
        <p:spPr>
          <a:xfrm>
            <a:off x="3791573" y="2123361"/>
            <a:ext cx="2990306"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La fase de crisis determina las medidas</a:t>
            </a:r>
          </a:p>
        </p:txBody>
      </p:sp>
    </p:spTree>
    <p:extLst>
      <p:ext uri="{BB962C8B-B14F-4D97-AF65-F5344CB8AC3E}">
        <p14:creationId xmlns:p14="http://schemas.microsoft.com/office/powerpoint/2010/main" val="25164740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64470" y="721841"/>
            <a:ext cx="8852375" cy="697353"/>
          </a:xfrm>
        </p:spPr>
        <p:txBody>
          <a:bodyPr>
            <a:normAutofit/>
          </a:bodyPr>
          <a:lstStyle/>
          <a:p>
            <a:r>
              <a:rPr lang="en-GB" dirty="0"/>
              <a:t>Superar una crisis de liquidez</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1607" y="1963498"/>
            <a:ext cx="4088249" cy="523763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Para superar la crisis de liquidez, hay que movilizar las reservas de liquidez aún disponibles en la empresa y cerrar las brechas restantes externamente, ya sea inyectando fondos líquidos o mediante acuerdos de suspensión de pagos con los acreedores.</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recuperación de la solvencia suficiente también requiere que la empresa pueda mejorar su calificación y ofrecer garantías suficientes</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demás de los préstamos adicionales o las aportaciones de los accionistas, cabe mencionar las siguientes posibilidades</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20" name="Group 18204">
            <a:extLst>
              <a:ext uri="{FF2B5EF4-FFF2-40B4-BE49-F238E27FC236}">
                <a16:creationId xmlns:a16="http://schemas.microsoft.com/office/drawing/2014/main" xmlns="" id="{E83DAD49-A45B-4067-8612-3F8C2E8BBF26}"/>
              </a:ext>
            </a:extLst>
          </p:cNvPr>
          <p:cNvGrpSpPr/>
          <p:nvPr/>
        </p:nvGrpSpPr>
        <p:grpSpPr>
          <a:xfrm>
            <a:off x="4653352" y="3229654"/>
            <a:ext cx="1415796" cy="1577513"/>
            <a:chOff x="0" y="0"/>
            <a:chExt cx="1905957" cy="2123662"/>
          </a:xfrm>
        </p:grpSpPr>
        <p:sp>
          <p:nvSpPr>
            <p:cNvPr id="21" name="Shape 18202">
              <a:extLst>
                <a:ext uri="{FF2B5EF4-FFF2-40B4-BE49-F238E27FC236}">
                  <a16:creationId xmlns:a16="http://schemas.microsoft.com/office/drawing/2014/main" xmlns="" id="{DBB4B7F1-082D-4C2B-806E-79BFDF06BCC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2" name="Shape 18203">
              <a:extLst>
                <a:ext uri="{FF2B5EF4-FFF2-40B4-BE49-F238E27FC236}">
                  <a16:creationId xmlns:a16="http://schemas.microsoft.com/office/drawing/2014/main" xmlns="" id="{94B22DDC-324D-4C7A-A0D0-EA8DA63E2F84}"/>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23" name="Group 18207">
            <a:extLst>
              <a:ext uri="{FF2B5EF4-FFF2-40B4-BE49-F238E27FC236}">
                <a16:creationId xmlns:a16="http://schemas.microsoft.com/office/drawing/2014/main" xmlns="" id="{8746039E-5B2D-419D-9671-97D8D31C01B8}"/>
              </a:ext>
            </a:extLst>
          </p:cNvPr>
          <p:cNvGrpSpPr/>
          <p:nvPr/>
        </p:nvGrpSpPr>
        <p:grpSpPr>
          <a:xfrm>
            <a:off x="8579908" y="2431675"/>
            <a:ext cx="1733782" cy="2063284"/>
            <a:chOff x="0" y="0"/>
            <a:chExt cx="2334032" cy="2777611"/>
          </a:xfrm>
        </p:grpSpPr>
        <p:sp>
          <p:nvSpPr>
            <p:cNvPr id="24" name="Shape 18205">
              <a:extLst>
                <a:ext uri="{FF2B5EF4-FFF2-40B4-BE49-F238E27FC236}">
                  <a16:creationId xmlns:a16="http://schemas.microsoft.com/office/drawing/2014/main" xmlns="" id="{6E764A43-7907-47A2-B2C4-BEAE8C95A667}"/>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5" name="Shape 18206">
              <a:extLst>
                <a:ext uri="{FF2B5EF4-FFF2-40B4-BE49-F238E27FC236}">
                  <a16:creationId xmlns:a16="http://schemas.microsoft.com/office/drawing/2014/main" xmlns="" id="{AA2C67E6-85E2-4E94-9223-D932F0B21E4F}"/>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26" name="Group 18211">
            <a:extLst>
              <a:ext uri="{FF2B5EF4-FFF2-40B4-BE49-F238E27FC236}">
                <a16:creationId xmlns:a16="http://schemas.microsoft.com/office/drawing/2014/main" xmlns="" id="{844CD7F4-65D6-4426-8FF4-0387B244436E}"/>
              </a:ext>
            </a:extLst>
          </p:cNvPr>
          <p:cNvGrpSpPr/>
          <p:nvPr/>
        </p:nvGrpSpPr>
        <p:grpSpPr>
          <a:xfrm>
            <a:off x="5590658" y="4122628"/>
            <a:ext cx="1347128" cy="1161728"/>
            <a:chOff x="0" y="0"/>
            <a:chExt cx="1813514" cy="1563927"/>
          </a:xfrm>
        </p:grpSpPr>
        <p:sp>
          <p:nvSpPr>
            <p:cNvPr id="27" name="Shape 18208">
              <a:extLst>
                <a:ext uri="{FF2B5EF4-FFF2-40B4-BE49-F238E27FC236}">
                  <a16:creationId xmlns:a16="http://schemas.microsoft.com/office/drawing/2014/main" xmlns="" id="{B261EB75-668D-40DD-A8D3-97791B05FD36}"/>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600" dirty="0">
                <a:latin typeface="+mj-lt"/>
                <a:ea typeface="Lato Light" panose="020F0502020204030203" pitchFamily="34" charset="0"/>
                <a:cs typeface="Lato Light" panose="020F0502020204030203" pitchFamily="34" charset="0"/>
              </a:endParaRPr>
            </a:p>
          </p:txBody>
        </p:sp>
        <p:sp>
          <p:nvSpPr>
            <p:cNvPr id="28" name="Shape 18209">
              <a:extLst>
                <a:ext uri="{FF2B5EF4-FFF2-40B4-BE49-F238E27FC236}">
                  <a16:creationId xmlns:a16="http://schemas.microsoft.com/office/drawing/2014/main" xmlns="" id="{49604B40-AF93-4136-953E-2DC49D0CCC36}"/>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9" name="Shape 18210">
              <a:extLst>
                <a:ext uri="{FF2B5EF4-FFF2-40B4-BE49-F238E27FC236}">
                  <a16:creationId xmlns:a16="http://schemas.microsoft.com/office/drawing/2014/main" xmlns="" id="{0A7591FD-FC0D-4C04-9C74-8FBC9D272FA1}"/>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30" name="Group 18215">
            <a:extLst>
              <a:ext uri="{FF2B5EF4-FFF2-40B4-BE49-F238E27FC236}">
                <a16:creationId xmlns:a16="http://schemas.microsoft.com/office/drawing/2014/main" xmlns="" id="{1E28D54D-C0A3-45C1-8960-DCD5AED2F1C9}"/>
              </a:ext>
            </a:extLst>
          </p:cNvPr>
          <p:cNvGrpSpPr/>
          <p:nvPr/>
        </p:nvGrpSpPr>
        <p:grpSpPr>
          <a:xfrm>
            <a:off x="6996619" y="4407620"/>
            <a:ext cx="1172470" cy="898958"/>
            <a:chOff x="0" y="0"/>
            <a:chExt cx="1578389" cy="1210186"/>
          </a:xfrm>
        </p:grpSpPr>
        <p:sp>
          <p:nvSpPr>
            <p:cNvPr id="31" name="Shape 18212">
              <a:extLst>
                <a:ext uri="{FF2B5EF4-FFF2-40B4-BE49-F238E27FC236}">
                  <a16:creationId xmlns:a16="http://schemas.microsoft.com/office/drawing/2014/main" xmlns="" id="{3E906520-B17F-480A-87A5-2A4850DB207E}"/>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32" name="Shape 18213">
              <a:extLst>
                <a:ext uri="{FF2B5EF4-FFF2-40B4-BE49-F238E27FC236}">
                  <a16:creationId xmlns:a16="http://schemas.microsoft.com/office/drawing/2014/main" xmlns="" id="{547CA99F-FD5D-4122-BB63-54C35396B167}"/>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49" name="Shape 18214">
              <a:extLst>
                <a:ext uri="{FF2B5EF4-FFF2-40B4-BE49-F238E27FC236}">
                  <a16:creationId xmlns:a16="http://schemas.microsoft.com/office/drawing/2014/main" xmlns="" id="{914293A5-4921-41D0-9CF0-5CCC1A952056}"/>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50" name="Group 18219">
            <a:extLst>
              <a:ext uri="{FF2B5EF4-FFF2-40B4-BE49-F238E27FC236}">
                <a16:creationId xmlns:a16="http://schemas.microsoft.com/office/drawing/2014/main" xmlns="" id="{EC4A7FB9-A62C-48E8-B2BD-DA65D487DD93}"/>
              </a:ext>
            </a:extLst>
          </p:cNvPr>
          <p:cNvGrpSpPr/>
          <p:nvPr/>
        </p:nvGrpSpPr>
        <p:grpSpPr>
          <a:xfrm>
            <a:off x="7921261" y="4027632"/>
            <a:ext cx="1394113" cy="1126387"/>
            <a:chOff x="0" y="0"/>
            <a:chExt cx="1876767" cy="1516352"/>
          </a:xfrm>
        </p:grpSpPr>
        <p:sp>
          <p:nvSpPr>
            <p:cNvPr id="51" name="Shape 18216">
              <a:extLst>
                <a:ext uri="{FF2B5EF4-FFF2-40B4-BE49-F238E27FC236}">
                  <a16:creationId xmlns:a16="http://schemas.microsoft.com/office/drawing/2014/main" xmlns="" id="{B374F26B-D853-42D5-86DF-259A99D3E71E}"/>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52" name="Shape 18217">
              <a:extLst>
                <a:ext uri="{FF2B5EF4-FFF2-40B4-BE49-F238E27FC236}">
                  <a16:creationId xmlns:a16="http://schemas.microsoft.com/office/drawing/2014/main" xmlns="" id="{53FBD17D-7707-421A-9518-2324D64F3E68}"/>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53" name="Shape 18218">
              <a:extLst>
                <a:ext uri="{FF2B5EF4-FFF2-40B4-BE49-F238E27FC236}">
                  <a16:creationId xmlns:a16="http://schemas.microsoft.com/office/drawing/2014/main" xmlns="" id="{17E2FADA-F82E-4E49-AFF3-CF3E1086258A}"/>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sp>
        <p:nvSpPr>
          <p:cNvPr id="54" name="Shape 18237">
            <a:extLst>
              <a:ext uri="{FF2B5EF4-FFF2-40B4-BE49-F238E27FC236}">
                <a16:creationId xmlns:a16="http://schemas.microsoft.com/office/drawing/2014/main" xmlns="" id="{4652B7A9-0490-463E-8C0F-1AD4DFA1F225}"/>
              </a:ext>
            </a:extLst>
          </p:cNvPr>
          <p:cNvSpPr/>
          <p:nvPr/>
        </p:nvSpPr>
        <p:spPr>
          <a:xfrm>
            <a:off x="8153922" y="3088874"/>
            <a:ext cx="269327" cy="12852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5" name="Shape 18238">
            <a:extLst>
              <a:ext uri="{FF2B5EF4-FFF2-40B4-BE49-F238E27FC236}">
                <a16:creationId xmlns:a16="http://schemas.microsoft.com/office/drawing/2014/main" xmlns="" id="{87AD1332-5CB8-4888-BD27-E65B2989EDC5}"/>
              </a:ext>
            </a:extLst>
          </p:cNvPr>
          <p:cNvSpPr/>
          <p:nvPr/>
        </p:nvSpPr>
        <p:spPr>
          <a:xfrm>
            <a:off x="6402716" y="3457648"/>
            <a:ext cx="269327" cy="99798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6" name="Shape 18239">
            <a:extLst>
              <a:ext uri="{FF2B5EF4-FFF2-40B4-BE49-F238E27FC236}">
                <a16:creationId xmlns:a16="http://schemas.microsoft.com/office/drawing/2014/main" xmlns="" id="{1CA4B6F0-2D06-4A42-BD0B-3EA3C11AF4B9}"/>
              </a:ext>
            </a:extLst>
          </p:cNvPr>
          <p:cNvSpPr/>
          <p:nvPr/>
        </p:nvSpPr>
        <p:spPr>
          <a:xfrm>
            <a:off x="7547368" y="5149718"/>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7" name="Shape 18240">
            <a:extLst>
              <a:ext uri="{FF2B5EF4-FFF2-40B4-BE49-F238E27FC236}">
                <a16:creationId xmlns:a16="http://schemas.microsoft.com/office/drawing/2014/main" xmlns="" id="{E65A5F9F-3277-408A-92D0-7F4A4D61F70A}"/>
              </a:ext>
            </a:extLst>
          </p:cNvPr>
          <p:cNvSpPr/>
          <p:nvPr/>
        </p:nvSpPr>
        <p:spPr>
          <a:xfrm rot="5400000">
            <a:off x="10216401" y="3042944"/>
            <a:ext cx="293621" cy="843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8" name="Shape 18241">
            <a:extLst>
              <a:ext uri="{FF2B5EF4-FFF2-40B4-BE49-F238E27FC236}">
                <a16:creationId xmlns:a16="http://schemas.microsoft.com/office/drawing/2014/main" xmlns="" id="{57A54123-BE32-4A54-89F5-F987190A11E2}"/>
              </a:ext>
            </a:extLst>
          </p:cNvPr>
          <p:cNvSpPr/>
          <p:nvPr/>
        </p:nvSpPr>
        <p:spPr>
          <a:xfrm>
            <a:off x="4835654" y="4217518"/>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9" name="TextBox 45">
            <a:extLst>
              <a:ext uri="{FF2B5EF4-FFF2-40B4-BE49-F238E27FC236}">
                <a16:creationId xmlns:a16="http://schemas.microsoft.com/office/drawing/2014/main" xmlns="" id="{F0F89850-D6A4-4443-8D2D-A1FED454B979}"/>
              </a:ext>
            </a:extLst>
          </p:cNvPr>
          <p:cNvSpPr txBox="1"/>
          <p:nvPr/>
        </p:nvSpPr>
        <p:spPr>
          <a:xfrm>
            <a:off x="4308690" y="5648977"/>
            <a:ext cx="236540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Optimización de la gestión de inventarios/reducción de existencias</a:t>
            </a:r>
            <a:endParaRPr lang="en-GB" sz="1600" dirty="0">
              <a:latin typeface="+mj-lt"/>
              <a:ea typeface="Lato Light" panose="020F0502020204030203" pitchFamily="34" charset="0"/>
              <a:cs typeface="Lato Light" panose="020F0502020204030203" pitchFamily="34" charset="0"/>
            </a:endParaRPr>
          </a:p>
        </p:txBody>
      </p:sp>
      <p:sp>
        <p:nvSpPr>
          <p:cNvPr id="60" name="TextBox 46">
            <a:extLst>
              <a:ext uri="{FF2B5EF4-FFF2-40B4-BE49-F238E27FC236}">
                <a16:creationId xmlns:a16="http://schemas.microsoft.com/office/drawing/2014/main" xmlns="" id="{29BD9425-C95D-4CAE-8242-817AFB3152CD}"/>
              </a:ext>
            </a:extLst>
          </p:cNvPr>
          <p:cNvSpPr txBox="1"/>
          <p:nvPr/>
        </p:nvSpPr>
        <p:spPr>
          <a:xfrm>
            <a:off x="4308689" y="5406376"/>
            <a:ext cx="950453" cy="338554"/>
          </a:xfrm>
          <a:prstGeom prst="rect">
            <a:avLst/>
          </a:prstGeom>
          <a:noFill/>
        </p:spPr>
        <p:txBody>
          <a:bodyPr wrap="none" rtlCol="0" anchor="t">
            <a:spAutoFit/>
          </a:bodyPr>
          <a:lstStyle/>
          <a:p>
            <a:r>
              <a:rPr lang="en-GB" sz="1600" b="1">
                <a:solidFill>
                  <a:schemeClr val="accent1"/>
                </a:solidFill>
                <a:latin typeface="+mj-lt"/>
                <a:ea typeface="Lato Light" panose="020F0502020204030203" pitchFamily="34" charset="0"/>
                <a:cs typeface="Poppins" pitchFamily="2" charset="77"/>
              </a:rPr>
              <a:t>Inventario</a:t>
            </a:r>
            <a:endParaRPr lang="en-GB" sz="1600" b="1" dirty="0">
              <a:solidFill>
                <a:schemeClr val="accent1"/>
              </a:solidFill>
              <a:latin typeface="+mj-lt"/>
              <a:ea typeface="Lato Light" panose="020F0502020204030203" pitchFamily="34" charset="0"/>
              <a:cs typeface="Poppins" pitchFamily="2" charset="77"/>
            </a:endParaRPr>
          </a:p>
        </p:txBody>
      </p:sp>
      <p:sp>
        <p:nvSpPr>
          <p:cNvPr id="61" name="TextBox 49">
            <a:extLst>
              <a:ext uri="{FF2B5EF4-FFF2-40B4-BE49-F238E27FC236}">
                <a16:creationId xmlns:a16="http://schemas.microsoft.com/office/drawing/2014/main" xmlns="" id="{9B0188C1-8DA1-4B32-8B35-A4F5EA16E5C1}"/>
              </a:ext>
            </a:extLst>
          </p:cNvPr>
          <p:cNvSpPr txBox="1"/>
          <p:nvPr/>
        </p:nvSpPr>
        <p:spPr>
          <a:xfrm>
            <a:off x="4308690" y="2513505"/>
            <a:ext cx="2365406" cy="771621"/>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Venta de créditos para reducir el tiempo de recepción del dinero y los riesgos de impago</a:t>
            </a:r>
            <a:endParaRPr lang="en-GB" sz="1600" dirty="0">
              <a:latin typeface="+mj-lt"/>
              <a:ea typeface="Lato Light" panose="020F0502020204030203" pitchFamily="34" charset="0"/>
              <a:cs typeface="Lato Light" panose="020F0502020204030203" pitchFamily="34" charset="0"/>
            </a:endParaRPr>
          </a:p>
        </p:txBody>
      </p:sp>
      <p:sp>
        <p:nvSpPr>
          <p:cNvPr id="62" name="TextBox 50">
            <a:extLst>
              <a:ext uri="{FF2B5EF4-FFF2-40B4-BE49-F238E27FC236}">
                <a16:creationId xmlns:a16="http://schemas.microsoft.com/office/drawing/2014/main" xmlns="" id="{2B804EFD-C218-4A28-A965-6261658DE351}"/>
              </a:ext>
            </a:extLst>
          </p:cNvPr>
          <p:cNvSpPr txBox="1"/>
          <p:nvPr/>
        </p:nvSpPr>
        <p:spPr>
          <a:xfrm>
            <a:off x="4308689" y="2270904"/>
            <a:ext cx="933782" cy="338554"/>
          </a:xfrm>
          <a:prstGeom prst="rect">
            <a:avLst/>
          </a:prstGeom>
          <a:noFill/>
        </p:spPr>
        <p:txBody>
          <a:bodyPr wrap="none" rtlCol="0" anchor="t">
            <a:spAutoFit/>
          </a:bodyPr>
          <a:lstStyle/>
          <a:p>
            <a:r>
              <a:rPr lang="en-GB" sz="1600" b="1">
                <a:solidFill>
                  <a:schemeClr val="accent2"/>
                </a:solidFill>
                <a:latin typeface="+mj-lt"/>
                <a:ea typeface="Lato Light" panose="020F0502020204030203" pitchFamily="34" charset="0"/>
                <a:cs typeface="Poppins" pitchFamily="2" charset="77"/>
              </a:rPr>
              <a:t>Factorización</a:t>
            </a:r>
            <a:endParaRPr lang="en-GB" sz="1600" b="1" dirty="0">
              <a:solidFill>
                <a:schemeClr val="accent2"/>
              </a:solidFill>
              <a:latin typeface="+mj-lt"/>
              <a:ea typeface="Lato Light" panose="020F0502020204030203" pitchFamily="34" charset="0"/>
              <a:cs typeface="Poppins" pitchFamily="2" charset="77"/>
            </a:endParaRPr>
          </a:p>
        </p:txBody>
      </p:sp>
      <p:sp>
        <p:nvSpPr>
          <p:cNvPr id="63" name="TextBox 52">
            <a:extLst>
              <a:ext uri="{FF2B5EF4-FFF2-40B4-BE49-F238E27FC236}">
                <a16:creationId xmlns:a16="http://schemas.microsoft.com/office/drawing/2014/main" xmlns="" id="{BE3B84A4-231C-4608-8C9A-3884315ED1AF}"/>
              </a:ext>
            </a:extLst>
          </p:cNvPr>
          <p:cNvSpPr txBox="1"/>
          <p:nvPr/>
        </p:nvSpPr>
        <p:spPr>
          <a:xfrm>
            <a:off x="7100783" y="2589894"/>
            <a:ext cx="236540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Subcontratación de funciones no esenciales para reducir los costes fijos </a:t>
            </a:r>
            <a:br>
              <a:rPr lang="en-GB" sz="1600">
                <a:latin typeface="+mj-lt"/>
                <a:ea typeface="Lato Light" panose="020F0502020204030203" pitchFamily="34" charset="0"/>
                <a:cs typeface="Lato Light" panose="020F0502020204030203" pitchFamily="34" charset="0"/>
              </a:rPr>
            </a:br>
            <a:r>
              <a:rPr lang="en-GB" sz="1600">
                <a:latin typeface="+mj-lt"/>
                <a:ea typeface="Lato Light" panose="020F0502020204030203" pitchFamily="34" charset="0"/>
                <a:cs typeface="Lato Light" panose="020F0502020204030203" pitchFamily="34" charset="0"/>
              </a:rPr>
              <a:t>costes fijos</a:t>
            </a:r>
            <a:endParaRPr lang="en-GB" sz="1600" dirty="0">
              <a:latin typeface="+mj-lt"/>
              <a:ea typeface="Lato Light" panose="020F0502020204030203" pitchFamily="34" charset="0"/>
              <a:cs typeface="Lato Light" panose="020F0502020204030203" pitchFamily="34" charset="0"/>
            </a:endParaRPr>
          </a:p>
        </p:txBody>
      </p:sp>
      <p:sp>
        <p:nvSpPr>
          <p:cNvPr id="64" name="TextBox 53">
            <a:extLst>
              <a:ext uri="{FF2B5EF4-FFF2-40B4-BE49-F238E27FC236}">
                <a16:creationId xmlns:a16="http://schemas.microsoft.com/office/drawing/2014/main" xmlns="" id="{9BBA2E5C-60EB-47C5-B992-42EB04B20165}"/>
              </a:ext>
            </a:extLst>
          </p:cNvPr>
          <p:cNvSpPr txBox="1"/>
          <p:nvPr/>
        </p:nvSpPr>
        <p:spPr>
          <a:xfrm>
            <a:off x="7100783" y="2347293"/>
            <a:ext cx="1169103" cy="338554"/>
          </a:xfrm>
          <a:prstGeom prst="rect">
            <a:avLst/>
          </a:prstGeom>
          <a:noFill/>
        </p:spPr>
        <p:txBody>
          <a:bodyPr wrap="none" rtlCol="0" anchor="t">
            <a:spAutoFit/>
          </a:bodyPr>
          <a:lstStyle/>
          <a:p>
            <a:r>
              <a:rPr lang="en-GB" sz="1600" b="1">
                <a:solidFill>
                  <a:schemeClr val="accent4"/>
                </a:solidFill>
                <a:latin typeface="+mj-lt"/>
                <a:ea typeface="Lato Light" panose="020F0502020204030203" pitchFamily="34" charset="0"/>
                <a:cs typeface="Poppins" pitchFamily="2" charset="77"/>
              </a:rPr>
              <a:t>Externalización</a:t>
            </a:r>
            <a:endParaRPr lang="en-GB" sz="1600" b="1" dirty="0">
              <a:solidFill>
                <a:schemeClr val="accent4"/>
              </a:solidFill>
              <a:latin typeface="+mj-lt"/>
              <a:ea typeface="Lato Light" panose="020F0502020204030203" pitchFamily="34" charset="0"/>
              <a:cs typeface="Poppins" pitchFamily="2" charset="77"/>
            </a:endParaRPr>
          </a:p>
        </p:txBody>
      </p:sp>
      <p:sp>
        <p:nvSpPr>
          <p:cNvPr id="65" name="TextBox 55">
            <a:extLst>
              <a:ext uri="{FF2B5EF4-FFF2-40B4-BE49-F238E27FC236}">
                <a16:creationId xmlns:a16="http://schemas.microsoft.com/office/drawing/2014/main" xmlns="" id="{3EDBF91F-3268-418D-BBF1-D2A887D7ACF6}"/>
              </a:ext>
            </a:extLst>
          </p:cNvPr>
          <p:cNvSpPr txBox="1"/>
          <p:nvPr/>
        </p:nvSpPr>
        <p:spPr>
          <a:xfrm>
            <a:off x="8419691" y="5640204"/>
            <a:ext cx="2365406" cy="771621"/>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Reducción de los plazos de pago / consiguiente gestión de los cobros</a:t>
            </a:r>
            <a:endParaRPr lang="en-GB" sz="1600" dirty="0">
              <a:latin typeface="+mj-lt"/>
              <a:ea typeface="Lato Light" panose="020F0502020204030203" pitchFamily="34" charset="0"/>
              <a:cs typeface="Lato Light" panose="020F0502020204030203" pitchFamily="34" charset="0"/>
            </a:endParaRPr>
          </a:p>
        </p:txBody>
      </p:sp>
      <p:sp>
        <p:nvSpPr>
          <p:cNvPr id="66" name="TextBox 56">
            <a:extLst>
              <a:ext uri="{FF2B5EF4-FFF2-40B4-BE49-F238E27FC236}">
                <a16:creationId xmlns:a16="http://schemas.microsoft.com/office/drawing/2014/main" xmlns="" id="{A302633B-504E-42CF-B57B-98CEE520017C}"/>
              </a:ext>
            </a:extLst>
          </p:cNvPr>
          <p:cNvSpPr txBox="1"/>
          <p:nvPr/>
        </p:nvSpPr>
        <p:spPr>
          <a:xfrm>
            <a:off x="8419691" y="5397603"/>
            <a:ext cx="2250040" cy="338554"/>
          </a:xfrm>
          <a:prstGeom prst="rect">
            <a:avLst/>
          </a:prstGeom>
          <a:noFill/>
        </p:spPr>
        <p:txBody>
          <a:bodyPr wrap="none" rtlCol="0" anchor="t">
            <a:spAutoFit/>
          </a:bodyPr>
          <a:lstStyle/>
          <a:p>
            <a:r>
              <a:rPr lang="en-GB" sz="1600" b="1">
                <a:solidFill>
                  <a:schemeClr val="accent3"/>
                </a:solidFill>
                <a:latin typeface="+mj-lt"/>
                <a:ea typeface="Lato Light" panose="020F0502020204030203" pitchFamily="34" charset="0"/>
                <a:cs typeface="Poppins" pitchFamily="2" charset="77"/>
              </a:rPr>
              <a:t>Gestión de cuentas por cobrar</a:t>
            </a:r>
            <a:endParaRPr lang="en-GB" sz="1600" b="1" dirty="0">
              <a:solidFill>
                <a:schemeClr val="accent3"/>
              </a:solidFill>
              <a:latin typeface="+mj-lt"/>
              <a:ea typeface="Lato Light" panose="020F0502020204030203" pitchFamily="34" charset="0"/>
              <a:cs typeface="Poppins" pitchFamily="2" charset="77"/>
            </a:endParaRPr>
          </a:p>
        </p:txBody>
      </p:sp>
      <p:sp>
        <p:nvSpPr>
          <p:cNvPr id="67" name="TextBox 58">
            <a:extLst>
              <a:ext uri="{FF2B5EF4-FFF2-40B4-BE49-F238E27FC236}">
                <a16:creationId xmlns:a16="http://schemas.microsoft.com/office/drawing/2014/main" xmlns="" id="{52C378A8-80DF-4799-96C7-6ECF736DA5AF}"/>
              </a:ext>
            </a:extLst>
          </p:cNvPr>
          <p:cNvSpPr txBox="1"/>
          <p:nvPr/>
        </p:nvSpPr>
        <p:spPr>
          <a:xfrm>
            <a:off x="10894398" y="4010325"/>
            <a:ext cx="130325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Venta de activos fijos y lease back</a:t>
            </a:r>
            <a:endParaRPr lang="en-GB" sz="1600" dirty="0">
              <a:latin typeface="+mj-lt"/>
              <a:ea typeface="Lato Light" panose="020F0502020204030203" pitchFamily="34" charset="0"/>
              <a:cs typeface="Lato Light" panose="020F0502020204030203" pitchFamily="34" charset="0"/>
            </a:endParaRPr>
          </a:p>
        </p:txBody>
      </p:sp>
      <p:sp>
        <p:nvSpPr>
          <p:cNvPr id="68" name="TextBox 59">
            <a:extLst>
              <a:ext uri="{FF2B5EF4-FFF2-40B4-BE49-F238E27FC236}">
                <a16:creationId xmlns:a16="http://schemas.microsoft.com/office/drawing/2014/main" xmlns="" id="{6D8ACA0D-D7F5-482F-BAC8-E942FBB6ABDD}"/>
              </a:ext>
            </a:extLst>
          </p:cNvPr>
          <p:cNvSpPr txBox="1"/>
          <p:nvPr/>
        </p:nvSpPr>
        <p:spPr>
          <a:xfrm>
            <a:off x="10894399" y="3526185"/>
            <a:ext cx="1364476" cy="584775"/>
          </a:xfrm>
          <a:prstGeom prst="rect">
            <a:avLst/>
          </a:prstGeom>
          <a:noFill/>
        </p:spPr>
        <p:txBody>
          <a:bodyPr wrap="none" rtlCol="0" anchor="t">
            <a:spAutoFit/>
          </a:bodyPr>
          <a:lstStyle/>
          <a:p>
            <a:r>
              <a:rPr lang="en-GB" sz="1600" b="1">
                <a:solidFill>
                  <a:schemeClr val="accent5"/>
                </a:solidFill>
                <a:latin typeface="+mj-lt"/>
                <a:ea typeface="Lato Light" panose="020F0502020204030203" pitchFamily="34" charset="0"/>
                <a:cs typeface="Poppins" pitchFamily="2" charset="77"/>
              </a:rPr>
              <a:t>Venta y alquiler</a:t>
            </a:r>
            <a:br>
              <a:rPr lang="en-GB" sz="1600" b="1">
                <a:solidFill>
                  <a:schemeClr val="accent5"/>
                </a:solidFill>
                <a:latin typeface="+mj-lt"/>
                <a:ea typeface="Lato Light" panose="020F0502020204030203" pitchFamily="34" charset="0"/>
                <a:cs typeface="Poppins" pitchFamily="2" charset="77"/>
              </a:rPr>
            </a:br>
            <a:r>
              <a:rPr lang="en-GB" sz="1600" b="1">
                <a:solidFill>
                  <a:schemeClr val="accent5"/>
                </a:solidFill>
                <a:latin typeface="+mj-lt"/>
                <a:ea typeface="Lato Light" panose="020F0502020204030203" pitchFamily="34" charset="0"/>
                <a:cs typeface="Poppins" pitchFamily="2" charset="77"/>
              </a:rPr>
              <a:t>Volver</a:t>
            </a:r>
            <a:endParaRPr lang="en-GB" sz="1600" b="1" dirty="0">
              <a:solidFill>
                <a:schemeClr val="accent5"/>
              </a:solidFill>
              <a:latin typeface="+mj-lt"/>
              <a:ea typeface="Lato Light" panose="020F0502020204030203" pitchFamily="34" charset="0"/>
              <a:cs typeface="Poppins" pitchFamily="2" charset="77"/>
            </a:endParaRPr>
          </a:p>
        </p:txBody>
      </p:sp>
    </p:spTree>
    <p:extLst>
      <p:ext uri="{BB962C8B-B14F-4D97-AF65-F5344CB8AC3E}">
        <p14:creationId xmlns:p14="http://schemas.microsoft.com/office/powerpoint/2010/main" val="7110738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875255" y="466072"/>
            <a:ext cx="8852375" cy="697353"/>
          </a:xfrm>
        </p:spPr>
        <p:txBody>
          <a:bodyPr>
            <a:normAutofit/>
          </a:bodyPr>
          <a:lstStyle/>
          <a:p>
            <a:r>
              <a:rPr lang="en-GB" dirty="0"/>
              <a:t>Superar una crisis de liquidez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1944" y="1799727"/>
            <a:ext cx="3955623" cy="523763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Para superar la crisis de liquidez, hay que movilizar las reservas de liquidez aún disponibles en la empresa y cerrar las brechas restantes externamente, ya sea inyectando fondos líquidos o mediante acuerdos de suspensión de pagos con los acreedores.</a:t>
            </a:r>
            <a:endParaRPr lang="en-US" sz="2000" dirty="0">
              <a:solidFill>
                <a:srgbClr val="245473"/>
              </a:solidFill>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recuperación de la solvencia suficiente también requiere que la empresa pueda mejorar su calificación y ofrecer suficientes garantías</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demás de los préstamos adicionales o las aportaciones de los accionistas, las otras posibilidades son .…….</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75" name="Group 18204">
            <a:extLst>
              <a:ext uri="{FF2B5EF4-FFF2-40B4-BE49-F238E27FC236}">
                <a16:creationId xmlns:a16="http://schemas.microsoft.com/office/drawing/2014/main" xmlns="" id="{41B8DF88-D728-4A54-B092-F9AB55088C33}"/>
              </a:ext>
            </a:extLst>
          </p:cNvPr>
          <p:cNvGrpSpPr/>
          <p:nvPr/>
        </p:nvGrpSpPr>
        <p:grpSpPr>
          <a:xfrm>
            <a:off x="4339480" y="3188741"/>
            <a:ext cx="1415796" cy="1577513"/>
            <a:chOff x="0" y="0"/>
            <a:chExt cx="1905957" cy="2123662"/>
          </a:xfrm>
        </p:grpSpPr>
        <p:sp>
          <p:nvSpPr>
            <p:cNvPr id="76" name="Shape 18202">
              <a:extLst>
                <a:ext uri="{FF2B5EF4-FFF2-40B4-BE49-F238E27FC236}">
                  <a16:creationId xmlns:a16="http://schemas.microsoft.com/office/drawing/2014/main" xmlns="" id="{F6CBE937-68D8-42DB-A83F-52649AC5B494}"/>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77" name="Shape 18203">
              <a:extLst>
                <a:ext uri="{FF2B5EF4-FFF2-40B4-BE49-F238E27FC236}">
                  <a16:creationId xmlns:a16="http://schemas.microsoft.com/office/drawing/2014/main" xmlns="" id="{CC9EF858-94FE-431C-B4B4-FF47D0250217}"/>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78" name="Group 18207">
            <a:extLst>
              <a:ext uri="{FF2B5EF4-FFF2-40B4-BE49-F238E27FC236}">
                <a16:creationId xmlns:a16="http://schemas.microsoft.com/office/drawing/2014/main" xmlns="" id="{031BC639-2269-4565-B8EE-2F546F4370AA}"/>
              </a:ext>
            </a:extLst>
          </p:cNvPr>
          <p:cNvGrpSpPr/>
          <p:nvPr/>
        </p:nvGrpSpPr>
        <p:grpSpPr>
          <a:xfrm>
            <a:off x="8266036" y="2390762"/>
            <a:ext cx="1733782" cy="2063284"/>
            <a:chOff x="0" y="0"/>
            <a:chExt cx="2334032" cy="2777611"/>
          </a:xfrm>
        </p:grpSpPr>
        <p:sp>
          <p:nvSpPr>
            <p:cNvPr id="79" name="Shape 18205">
              <a:extLst>
                <a:ext uri="{FF2B5EF4-FFF2-40B4-BE49-F238E27FC236}">
                  <a16:creationId xmlns:a16="http://schemas.microsoft.com/office/drawing/2014/main" xmlns="" id="{85CCC825-863C-4CC5-A3D4-2616A10C2C48}"/>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0" name="Shape 18206">
              <a:extLst>
                <a:ext uri="{FF2B5EF4-FFF2-40B4-BE49-F238E27FC236}">
                  <a16:creationId xmlns:a16="http://schemas.microsoft.com/office/drawing/2014/main" xmlns="" id="{36DDA0C6-2E09-443D-960F-93A39EF1DACC}"/>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1" name="Group 18211">
            <a:extLst>
              <a:ext uri="{FF2B5EF4-FFF2-40B4-BE49-F238E27FC236}">
                <a16:creationId xmlns:a16="http://schemas.microsoft.com/office/drawing/2014/main" xmlns="" id="{E9F173B0-286C-4A05-B98D-E01602913BAB}"/>
              </a:ext>
            </a:extLst>
          </p:cNvPr>
          <p:cNvGrpSpPr/>
          <p:nvPr/>
        </p:nvGrpSpPr>
        <p:grpSpPr>
          <a:xfrm>
            <a:off x="5276786" y="4081715"/>
            <a:ext cx="1347128" cy="1161728"/>
            <a:chOff x="0" y="0"/>
            <a:chExt cx="1813514" cy="1563927"/>
          </a:xfrm>
        </p:grpSpPr>
        <p:sp>
          <p:nvSpPr>
            <p:cNvPr id="82" name="Shape 18208">
              <a:extLst>
                <a:ext uri="{FF2B5EF4-FFF2-40B4-BE49-F238E27FC236}">
                  <a16:creationId xmlns:a16="http://schemas.microsoft.com/office/drawing/2014/main" xmlns="" id="{37C6052E-73B1-4A4A-BAD8-75BDA545B260}"/>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600" dirty="0">
                <a:latin typeface="+mj-lt"/>
                <a:ea typeface="Lato Light" panose="020F0502020204030203" pitchFamily="34" charset="0"/>
                <a:cs typeface="Lato Light" panose="020F0502020204030203" pitchFamily="34" charset="0"/>
              </a:endParaRPr>
            </a:p>
          </p:txBody>
        </p:sp>
        <p:sp>
          <p:nvSpPr>
            <p:cNvPr id="83" name="Shape 18209">
              <a:extLst>
                <a:ext uri="{FF2B5EF4-FFF2-40B4-BE49-F238E27FC236}">
                  <a16:creationId xmlns:a16="http://schemas.microsoft.com/office/drawing/2014/main" xmlns="" id="{9C7E4312-839A-42E6-BDAA-0ECC7FB80571}"/>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4" name="Shape 18210">
              <a:extLst>
                <a:ext uri="{FF2B5EF4-FFF2-40B4-BE49-F238E27FC236}">
                  <a16:creationId xmlns:a16="http://schemas.microsoft.com/office/drawing/2014/main" xmlns="" id="{304ED873-4D9F-4203-B20A-ADEA10DD639E}"/>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5" name="Group 18215">
            <a:extLst>
              <a:ext uri="{FF2B5EF4-FFF2-40B4-BE49-F238E27FC236}">
                <a16:creationId xmlns:a16="http://schemas.microsoft.com/office/drawing/2014/main" xmlns="" id="{3F89A189-3028-4831-B6FC-DB027289F20E}"/>
              </a:ext>
            </a:extLst>
          </p:cNvPr>
          <p:cNvGrpSpPr/>
          <p:nvPr/>
        </p:nvGrpSpPr>
        <p:grpSpPr>
          <a:xfrm>
            <a:off x="6682747" y="4366707"/>
            <a:ext cx="1172470" cy="898958"/>
            <a:chOff x="0" y="0"/>
            <a:chExt cx="1578389" cy="1210186"/>
          </a:xfrm>
        </p:grpSpPr>
        <p:sp>
          <p:nvSpPr>
            <p:cNvPr id="86" name="Shape 18212">
              <a:extLst>
                <a:ext uri="{FF2B5EF4-FFF2-40B4-BE49-F238E27FC236}">
                  <a16:creationId xmlns:a16="http://schemas.microsoft.com/office/drawing/2014/main" xmlns="" id="{2EB5E428-6346-481A-ACF0-1D17FDF6315A}"/>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7" name="Shape 18213">
              <a:extLst>
                <a:ext uri="{FF2B5EF4-FFF2-40B4-BE49-F238E27FC236}">
                  <a16:creationId xmlns:a16="http://schemas.microsoft.com/office/drawing/2014/main" xmlns="" id="{8D15C762-A334-4A50-AD5A-AE1064CC7E39}"/>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8" name="Shape 18214">
              <a:extLst>
                <a:ext uri="{FF2B5EF4-FFF2-40B4-BE49-F238E27FC236}">
                  <a16:creationId xmlns:a16="http://schemas.microsoft.com/office/drawing/2014/main" xmlns="" id="{FDD610B6-E3BF-44A5-91BA-1F436881427B}"/>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9" name="Group 18219">
            <a:extLst>
              <a:ext uri="{FF2B5EF4-FFF2-40B4-BE49-F238E27FC236}">
                <a16:creationId xmlns:a16="http://schemas.microsoft.com/office/drawing/2014/main" xmlns="" id="{59478F0C-1244-43AD-AF93-7206AD4743DC}"/>
              </a:ext>
            </a:extLst>
          </p:cNvPr>
          <p:cNvGrpSpPr/>
          <p:nvPr/>
        </p:nvGrpSpPr>
        <p:grpSpPr>
          <a:xfrm>
            <a:off x="7607389" y="3986719"/>
            <a:ext cx="1394113" cy="1126387"/>
            <a:chOff x="0" y="0"/>
            <a:chExt cx="1876767" cy="1516352"/>
          </a:xfrm>
        </p:grpSpPr>
        <p:sp>
          <p:nvSpPr>
            <p:cNvPr id="90" name="Shape 18216">
              <a:extLst>
                <a:ext uri="{FF2B5EF4-FFF2-40B4-BE49-F238E27FC236}">
                  <a16:creationId xmlns:a16="http://schemas.microsoft.com/office/drawing/2014/main" xmlns="" id="{30B618C6-6F20-4D18-BCE8-3BE31F8E2DAB}"/>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91" name="Shape 18217">
              <a:extLst>
                <a:ext uri="{FF2B5EF4-FFF2-40B4-BE49-F238E27FC236}">
                  <a16:creationId xmlns:a16="http://schemas.microsoft.com/office/drawing/2014/main" xmlns="" id="{46A4B4C4-153B-4375-AE5A-752FB99EE170}"/>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92" name="Shape 18218">
              <a:extLst>
                <a:ext uri="{FF2B5EF4-FFF2-40B4-BE49-F238E27FC236}">
                  <a16:creationId xmlns:a16="http://schemas.microsoft.com/office/drawing/2014/main" xmlns="" id="{4F632239-0782-4D0B-A90C-8580B0ED7233}"/>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sp>
        <p:nvSpPr>
          <p:cNvPr id="93" name="Shape 18237">
            <a:extLst>
              <a:ext uri="{FF2B5EF4-FFF2-40B4-BE49-F238E27FC236}">
                <a16:creationId xmlns:a16="http://schemas.microsoft.com/office/drawing/2014/main" xmlns="" id="{3BADCD4D-6094-4BB5-9D43-2BBD6ABA129A}"/>
              </a:ext>
            </a:extLst>
          </p:cNvPr>
          <p:cNvSpPr/>
          <p:nvPr/>
        </p:nvSpPr>
        <p:spPr>
          <a:xfrm>
            <a:off x="7840050" y="3047961"/>
            <a:ext cx="269327" cy="12852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4" name="Shape 18238">
            <a:extLst>
              <a:ext uri="{FF2B5EF4-FFF2-40B4-BE49-F238E27FC236}">
                <a16:creationId xmlns:a16="http://schemas.microsoft.com/office/drawing/2014/main" xmlns="" id="{9887A5AF-B6B3-4DC7-961B-E89A48FC241C}"/>
              </a:ext>
            </a:extLst>
          </p:cNvPr>
          <p:cNvSpPr/>
          <p:nvPr/>
        </p:nvSpPr>
        <p:spPr>
          <a:xfrm>
            <a:off x="6088844" y="3416735"/>
            <a:ext cx="269327" cy="99798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5" name="Shape 18239">
            <a:extLst>
              <a:ext uri="{FF2B5EF4-FFF2-40B4-BE49-F238E27FC236}">
                <a16:creationId xmlns:a16="http://schemas.microsoft.com/office/drawing/2014/main" xmlns="" id="{77BFFF31-93DB-4FB8-9106-53B956ACB34E}"/>
              </a:ext>
            </a:extLst>
          </p:cNvPr>
          <p:cNvSpPr/>
          <p:nvPr/>
        </p:nvSpPr>
        <p:spPr>
          <a:xfrm>
            <a:off x="7233496" y="5005287"/>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6" name="Shape 18240">
            <a:extLst>
              <a:ext uri="{FF2B5EF4-FFF2-40B4-BE49-F238E27FC236}">
                <a16:creationId xmlns:a16="http://schemas.microsoft.com/office/drawing/2014/main" xmlns="" id="{C172D41A-C274-47D7-86AB-73C9E1F87100}"/>
              </a:ext>
            </a:extLst>
          </p:cNvPr>
          <p:cNvSpPr/>
          <p:nvPr/>
        </p:nvSpPr>
        <p:spPr>
          <a:xfrm rot="5400000" flipH="1">
            <a:off x="10043571" y="2003447"/>
            <a:ext cx="293200" cy="843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7" name="Shape 18241">
            <a:extLst>
              <a:ext uri="{FF2B5EF4-FFF2-40B4-BE49-F238E27FC236}">
                <a16:creationId xmlns:a16="http://schemas.microsoft.com/office/drawing/2014/main" xmlns="" id="{24E3E47A-8CE8-4477-8134-6AB33B0BE726}"/>
              </a:ext>
            </a:extLst>
          </p:cNvPr>
          <p:cNvSpPr/>
          <p:nvPr/>
        </p:nvSpPr>
        <p:spPr>
          <a:xfrm>
            <a:off x="4521782" y="4176605"/>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8" name="TextBox 45">
            <a:extLst>
              <a:ext uri="{FF2B5EF4-FFF2-40B4-BE49-F238E27FC236}">
                <a16:creationId xmlns:a16="http://schemas.microsoft.com/office/drawing/2014/main" xmlns="" id="{A472781F-A7FD-4CF7-B792-E246C713C1D4}"/>
              </a:ext>
            </a:extLst>
          </p:cNvPr>
          <p:cNvSpPr txBox="1"/>
          <p:nvPr/>
        </p:nvSpPr>
        <p:spPr>
          <a:xfrm>
            <a:off x="3994818" y="5608064"/>
            <a:ext cx="236540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Pago a las reservas de capital frente a la ampliación de capital</a:t>
            </a:r>
            <a:endParaRPr lang="en-GB" sz="1600" dirty="0">
              <a:latin typeface="+mj-lt"/>
              <a:ea typeface="Lato Light" panose="020F0502020204030203" pitchFamily="34" charset="0"/>
              <a:cs typeface="Lato Light" panose="020F0502020204030203" pitchFamily="34" charset="0"/>
            </a:endParaRPr>
          </a:p>
        </p:txBody>
      </p:sp>
      <p:sp>
        <p:nvSpPr>
          <p:cNvPr id="99" name="TextBox 46">
            <a:extLst>
              <a:ext uri="{FF2B5EF4-FFF2-40B4-BE49-F238E27FC236}">
                <a16:creationId xmlns:a16="http://schemas.microsoft.com/office/drawing/2014/main" xmlns="" id="{9EDCE622-3755-4616-A286-089B918C8092}"/>
              </a:ext>
            </a:extLst>
          </p:cNvPr>
          <p:cNvSpPr txBox="1"/>
          <p:nvPr/>
        </p:nvSpPr>
        <p:spPr>
          <a:xfrm>
            <a:off x="3994817" y="5365463"/>
            <a:ext cx="1419941" cy="338554"/>
          </a:xfrm>
          <a:prstGeom prst="rect">
            <a:avLst/>
          </a:prstGeom>
          <a:noFill/>
        </p:spPr>
        <p:txBody>
          <a:bodyPr wrap="none" rtlCol="0" anchor="t">
            <a:spAutoFit/>
          </a:bodyPr>
          <a:lstStyle/>
          <a:p>
            <a:r>
              <a:rPr lang="en-GB" sz="1600" b="1">
                <a:solidFill>
                  <a:schemeClr val="accent1"/>
                </a:solidFill>
                <a:latin typeface="+mj-lt"/>
                <a:ea typeface="Lato Light" panose="020F0502020204030203" pitchFamily="34" charset="0"/>
                <a:cs typeface="Poppins" pitchFamily="2" charset="77"/>
              </a:rPr>
              <a:t>Reserva de capital</a:t>
            </a:r>
            <a:endParaRPr lang="en-GB" sz="1600" b="1" dirty="0">
              <a:solidFill>
                <a:schemeClr val="accent1"/>
              </a:solidFill>
              <a:latin typeface="+mj-lt"/>
              <a:ea typeface="Lato Light" panose="020F0502020204030203" pitchFamily="34" charset="0"/>
              <a:cs typeface="Poppins" pitchFamily="2" charset="77"/>
            </a:endParaRPr>
          </a:p>
        </p:txBody>
      </p:sp>
      <p:sp>
        <p:nvSpPr>
          <p:cNvPr id="100" name="TextBox 49">
            <a:extLst>
              <a:ext uri="{FF2B5EF4-FFF2-40B4-BE49-F238E27FC236}">
                <a16:creationId xmlns:a16="http://schemas.microsoft.com/office/drawing/2014/main" xmlns="" id="{14F98727-D4E1-4EC2-B7D8-F45D7B618CC9}"/>
              </a:ext>
            </a:extLst>
          </p:cNvPr>
          <p:cNvSpPr txBox="1"/>
          <p:nvPr/>
        </p:nvSpPr>
        <p:spPr>
          <a:xfrm>
            <a:off x="3994818" y="2472592"/>
            <a:ext cx="2365406" cy="438197"/>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ción a través de inversores externos - Private Equity</a:t>
            </a:r>
            <a:endParaRPr lang="en-GB" sz="1600" dirty="0">
              <a:latin typeface="+mj-lt"/>
              <a:ea typeface="Lato Light" panose="020F0502020204030203" pitchFamily="34" charset="0"/>
              <a:cs typeface="Lato Light" panose="020F0502020204030203" pitchFamily="34" charset="0"/>
            </a:endParaRPr>
          </a:p>
        </p:txBody>
      </p:sp>
      <p:sp>
        <p:nvSpPr>
          <p:cNvPr id="101" name="TextBox 50">
            <a:extLst>
              <a:ext uri="{FF2B5EF4-FFF2-40B4-BE49-F238E27FC236}">
                <a16:creationId xmlns:a16="http://schemas.microsoft.com/office/drawing/2014/main" xmlns="" id="{307FB8D1-A563-4C0C-B801-4C6F4769E550}"/>
              </a:ext>
            </a:extLst>
          </p:cNvPr>
          <p:cNvSpPr txBox="1"/>
          <p:nvPr/>
        </p:nvSpPr>
        <p:spPr>
          <a:xfrm>
            <a:off x="3994817" y="2229991"/>
            <a:ext cx="909608" cy="338554"/>
          </a:xfrm>
          <a:prstGeom prst="rect">
            <a:avLst/>
          </a:prstGeom>
          <a:noFill/>
        </p:spPr>
        <p:txBody>
          <a:bodyPr wrap="none" rtlCol="0" anchor="t">
            <a:spAutoFit/>
          </a:bodyPr>
          <a:lstStyle/>
          <a:p>
            <a:r>
              <a:rPr lang="en-GB" sz="1600" b="1">
                <a:solidFill>
                  <a:schemeClr val="accent2"/>
                </a:solidFill>
                <a:latin typeface="+mj-lt"/>
                <a:ea typeface="Lato Light" panose="020F0502020204030203" pitchFamily="34" charset="0"/>
                <a:cs typeface="Poppins" pitchFamily="2" charset="77"/>
              </a:rPr>
              <a:t>Inversores</a:t>
            </a:r>
            <a:endParaRPr lang="en-GB" sz="1600" b="1" dirty="0">
              <a:solidFill>
                <a:schemeClr val="accent2"/>
              </a:solidFill>
              <a:latin typeface="+mj-lt"/>
              <a:ea typeface="Lato Light" panose="020F0502020204030203" pitchFamily="34" charset="0"/>
              <a:cs typeface="Poppins" pitchFamily="2" charset="77"/>
            </a:endParaRPr>
          </a:p>
        </p:txBody>
      </p:sp>
      <p:sp>
        <p:nvSpPr>
          <p:cNvPr id="102" name="TextBox 52">
            <a:extLst>
              <a:ext uri="{FF2B5EF4-FFF2-40B4-BE49-F238E27FC236}">
                <a16:creationId xmlns:a16="http://schemas.microsoft.com/office/drawing/2014/main" xmlns="" id="{0FD09A67-E0B9-4AFD-AA77-6376220F2C12}"/>
              </a:ext>
            </a:extLst>
          </p:cNvPr>
          <p:cNvSpPr txBox="1"/>
          <p:nvPr/>
        </p:nvSpPr>
        <p:spPr>
          <a:xfrm>
            <a:off x="6766455" y="2099053"/>
            <a:ext cx="2365406" cy="1105046"/>
          </a:xfrm>
          <a:prstGeom prst="rect">
            <a:avLst/>
          </a:prstGeom>
          <a:noFill/>
        </p:spPr>
        <p:txBody>
          <a:bodyPr wrap="square" lIns="91440" tIns="45720" rIns="91440" bIns="45720" rtlCol="0" anchor="t">
            <a:spAutoFit/>
          </a:bodyPr>
          <a:lstStyle/>
          <a:p>
            <a:pPr>
              <a:lnSpc>
                <a:spcPts val="1313"/>
              </a:lnSpc>
            </a:pPr>
            <a:r>
              <a:rPr lang="en-GB" sz="1600" dirty="0">
                <a:latin typeface="+mj-lt"/>
                <a:ea typeface="Lato Light" panose="020F0502020204030203" pitchFamily="34" charset="0"/>
                <a:cs typeface="Lato Light" panose="020F0502020204030203" pitchFamily="34" charset="0"/>
              </a:rPr>
              <a:t>Inyección de capital mezzanine (recursos financieros con una posición intermedia entre los fondos propios </a:t>
            </a:r>
            <a:br>
              <a:rPr lang="en-GB" sz="1600" dirty="0">
                <a:latin typeface="+mj-lt"/>
                <a:ea typeface="Lato Light" panose="020F0502020204030203" pitchFamily="34" charset="0"/>
                <a:cs typeface="Lato Light" panose="020F0502020204030203" pitchFamily="34" charset="0"/>
              </a:rPr>
            </a:br>
            <a:r>
              <a:rPr lang="en-GB" sz="1600">
                <a:latin typeface="+mj-lt"/>
                <a:ea typeface="Lato Light" panose="020F0502020204030203" pitchFamily="34" charset="0"/>
                <a:cs typeface="Lato Light" panose="020F0502020204030203" pitchFamily="34" charset="0"/>
              </a:rPr>
              <a:t>y los fondos propios)</a:t>
            </a:r>
          </a:p>
        </p:txBody>
      </p:sp>
      <p:sp>
        <p:nvSpPr>
          <p:cNvPr id="103" name="TextBox 53">
            <a:extLst>
              <a:ext uri="{FF2B5EF4-FFF2-40B4-BE49-F238E27FC236}">
                <a16:creationId xmlns:a16="http://schemas.microsoft.com/office/drawing/2014/main" xmlns="" id="{80F58013-4102-4EA5-810E-84CED3F9F405}"/>
              </a:ext>
            </a:extLst>
          </p:cNvPr>
          <p:cNvSpPr txBox="1"/>
          <p:nvPr/>
        </p:nvSpPr>
        <p:spPr>
          <a:xfrm>
            <a:off x="6766455" y="1820654"/>
            <a:ext cx="1625958" cy="338554"/>
          </a:xfrm>
          <a:prstGeom prst="rect">
            <a:avLst/>
          </a:prstGeom>
          <a:noFill/>
        </p:spPr>
        <p:txBody>
          <a:bodyPr wrap="none" rtlCol="0" anchor="t">
            <a:spAutoFit/>
          </a:bodyPr>
          <a:lstStyle/>
          <a:p>
            <a:r>
              <a:rPr lang="en-GB" sz="1600" b="1">
                <a:solidFill>
                  <a:schemeClr val="accent4"/>
                </a:solidFill>
                <a:latin typeface="+mj-lt"/>
                <a:ea typeface="Lato Light" panose="020F0502020204030203" pitchFamily="34" charset="0"/>
                <a:cs typeface="Poppins" pitchFamily="2" charset="77"/>
              </a:rPr>
              <a:t>Capital intermedio</a:t>
            </a:r>
            <a:endParaRPr lang="en-GB" sz="1600" b="1" dirty="0">
              <a:solidFill>
                <a:schemeClr val="accent4"/>
              </a:solidFill>
              <a:latin typeface="+mj-lt"/>
              <a:ea typeface="Lato Light" panose="020F0502020204030203" pitchFamily="34" charset="0"/>
              <a:cs typeface="Poppins" pitchFamily="2" charset="77"/>
            </a:endParaRPr>
          </a:p>
        </p:txBody>
      </p:sp>
      <p:sp>
        <p:nvSpPr>
          <p:cNvPr id="104" name="TextBox 55">
            <a:extLst>
              <a:ext uri="{FF2B5EF4-FFF2-40B4-BE49-F238E27FC236}">
                <a16:creationId xmlns:a16="http://schemas.microsoft.com/office/drawing/2014/main" xmlns="" id="{0A4CD48D-FC57-4CCC-BC0E-981552418266}"/>
              </a:ext>
            </a:extLst>
          </p:cNvPr>
          <p:cNvSpPr txBox="1"/>
          <p:nvPr/>
        </p:nvSpPr>
        <p:spPr>
          <a:xfrm>
            <a:off x="7085800" y="5495773"/>
            <a:ext cx="4968814" cy="938334"/>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Ampliación de capital nominal = conversión de reservas libres en capital de garantía (capital social y capital nominal)</a:t>
            </a:r>
          </a:p>
          <a:p>
            <a:pPr>
              <a:lnSpc>
                <a:spcPts val="1313"/>
              </a:lnSpc>
            </a:pPr>
            <a:r>
              <a:rPr lang="en-GB" sz="1600">
                <a:latin typeface="+mj-lt"/>
                <a:ea typeface="Lato Light" panose="020F0502020204030203" pitchFamily="34" charset="0"/>
                <a:cs typeface="Lato Light" panose="020F0502020204030203" pitchFamily="34" charset="0"/>
              </a:rPr>
              <a:t>Ampliación de capital efectiva = ampliación de capital contra aportaciones (dinerarias o no dinerarias), ampliación de capital autorizada o condicionada</a:t>
            </a:r>
            <a:endParaRPr lang="en-GB" sz="1600" dirty="0">
              <a:latin typeface="+mj-lt"/>
              <a:ea typeface="Lato Light" panose="020F0502020204030203" pitchFamily="34" charset="0"/>
              <a:cs typeface="Lato Light" panose="020F0502020204030203" pitchFamily="34" charset="0"/>
            </a:endParaRPr>
          </a:p>
        </p:txBody>
      </p:sp>
      <p:sp>
        <p:nvSpPr>
          <p:cNvPr id="105" name="TextBox 56">
            <a:extLst>
              <a:ext uri="{FF2B5EF4-FFF2-40B4-BE49-F238E27FC236}">
                <a16:creationId xmlns:a16="http://schemas.microsoft.com/office/drawing/2014/main" xmlns="" id="{FDED9551-93A9-4F4F-B401-C475951FA8B1}"/>
              </a:ext>
            </a:extLst>
          </p:cNvPr>
          <p:cNvSpPr txBox="1"/>
          <p:nvPr/>
        </p:nvSpPr>
        <p:spPr>
          <a:xfrm>
            <a:off x="8105819" y="5253172"/>
            <a:ext cx="3152210" cy="338554"/>
          </a:xfrm>
          <a:prstGeom prst="rect">
            <a:avLst/>
          </a:prstGeom>
          <a:noFill/>
        </p:spPr>
        <p:txBody>
          <a:bodyPr wrap="none" rtlCol="0" anchor="t">
            <a:spAutoFit/>
          </a:bodyPr>
          <a:lstStyle/>
          <a:p>
            <a:r>
              <a:rPr lang="en-GB" sz="1600" b="1">
                <a:solidFill>
                  <a:schemeClr val="accent3"/>
                </a:solidFill>
                <a:latin typeface="+mj-lt"/>
                <a:ea typeface="Lato Light" panose="020F0502020204030203" pitchFamily="34" charset="0"/>
                <a:cs typeface="Poppins" pitchFamily="2" charset="77"/>
              </a:rPr>
              <a:t>Ampliación de capital nominal frente a la efectiva</a:t>
            </a:r>
            <a:endParaRPr lang="en-GB" sz="1600" b="1" dirty="0">
              <a:solidFill>
                <a:schemeClr val="accent3"/>
              </a:solidFill>
              <a:latin typeface="+mj-lt"/>
              <a:ea typeface="Lato Light" panose="020F0502020204030203" pitchFamily="34" charset="0"/>
              <a:cs typeface="Poppins" pitchFamily="2" charset="77"/>
            </a:endParaRPr>
          </a:p>
        </p:txBody>
      </p:sp>
      <p:sp>
        <p:nvSpPr>
          <p:cNvPr id="106" name="TextBox 58">
            <a:extLst>
              <a:ext uri="{FF2B5EF4-FFF2-40B4-BE49-F238E27FC236}">
                <a16:creationId xmlns:a16="http://schemas.microsoft.com/office/drawing/2014/main" xmlns="" id="{E254644E-FB3C-44BC-BA30-603C22445203}"/>
              </a:ext>
            </a:extLst>
          </p:cNvPr>
          <p:cNvSpPr txBox="1"/>
          <p:nvPr/>
        </p:nvSpPr>
        <p:spPr>
          <a:xfrm>
            <a:off x="10172336" y="2571932"/>
            <a:ext cx="1711446" cy="2438745"/>
          </a:xfrm>
          <a:prstGeom prst="rect">
            <a:avLst/>
          </a:prstGeom>
          <a:noFill/>
        </p:spPr>
        <p:txBody>
          <a:bodyPr wrap="square" rtlCol="0" anchor="t">
            <a:spAutoFit/>
          </a:bodyPr>
          <a:lstStyle/>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Préstamo a los accionistas</a:t>
            </a:r>
          </a:p>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Asociación silenciosa atípica/típica</a:t>
            </a:r>
          </a:p>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Certificado de participación en beneficios</a:t>
            </a:r>
          </a:p>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Obligaciones opcionales y convertibles</a:t>
            </a:r>
          </a:p>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Préstamo subordinado (deuda junior o deuda subordinada)</a:t>
            </a:r>
          </a:p>
          <a:p>
            <a:pPr>
              <a:lnSpc>
                <a:spcPts val="1313"/>
              </a:lnSpc>
            </a:pPr>
            <a:endParaRPr lang="en-GB" sz="1600" dirty="0">
              <a:latin typeface="+mj-lt"/>
              <a:ea typeface="Lato Light" panose="020F0502020204030203" pitchFamily="34" charset="0"/>
              <a:cs typeface="Lato Light" panose="020F0502020204030203" pitchFamily="34" charset="0"/>
            </a:endParaRPr>
          </a:p>
        </p:txBody>
      </p:sp>
      <p:sp>
        <p:nvSpPr>
          <p:cNvPr id="107" name="TextBox 59">
            <a:extLst>
              <a:ext uri="{FF2B5EF4-FFF2-40B4-BE49-F238E27FC236}">
                <a16:creationId xmlns:a16="http://schemas.microsoft.com/office/drawing/2014/main" xmlns="" id="{1CFF7B76-9FA0-494D-8CD2-524EA55726B3}"/>
              </a:ext>
            </a:extLst>
          </p:cNvPr>
          <p:cNvSpPr txBox="1"/>
          <p:nvPr/>
        </p:nvSpPr>
        <p:spPr>
          <a:xfrm>
            <a:off x="10580527" y="2087792"/>
            <a:ext cx="728854" cy="338554"/>
          </a:xfrm>
          <a:prstGeom prst="rect">
            <a:avLst/>
          </a:prstGeom>
          <a:noFill/>
        </p:spPr>
        <p:txBody>
          <a:bodyPr wrap="none" rtlCol="0" anchor="t">
            <a:spAutoFit/>
          </a:bodyPr>
          <a:lstStyle/>
          <a:p>
            <a:r>
              <a:rPr lang="en-GB" sz="1600" b="1">
                <a:solidFill>
                  <a:schemeClr val="accent5"/>
                </a:solidFill>
                <a:latin typeface="+mj-lt"/>
                <a:ea typeface="Lato Light" panose="020F0502020204030203" pitchFamily="34" charset="0"/>
                <a:cs typeface="Poppins" pitchFamily="2" charset="77"/>
              </a:rPr>
              <a:t>Otros</a:t>
            </a:r>
            <a:endParaRPr lang="en-GB" sz="1600" b="1" dirty="0">
              <a:solidFill>
                <a:schemeClr val="accent5"/>
              </a:solidFill>
              <a:latin typeface="+mj-lt"/>
              <a:ea typeface="Lato Light" panose="020F0502020204030203" pitchFamily="34" charset="0"/>
              <a:cs typeface="Poppins" pitchFamily="2" charset="77"/>
            </a:endParaRPr>
          </a:p>
        </p:txBody>
      </p:sp>
    </p:spTree>
    <p:extLst>
      <p:ext uri="{BB962C8B-B14F-4D97-AF65-F5344CB8AC3E}">
        <p14:creationId xmlns:p14="http://schemas.microsoft.com/office/powerpoint/2010/main" val="7330673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36122" y="586408"/>
            <a:ext cx="8852375" cy="697353"/>
          </a:xfrm>
        </p:spPr>
        <p:txBody>
          <a:bodyPr>
            <a:normAutofit/>
          </a:bodyPr>
          <a:lstStyle/>
          <a:p>
            <a:r>
              <a:rPr lang="en-GB" dirty="0"/>
              <a:t>Superar una crisis de liquidez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00732" y="2017887"/>
            <a:ext cx="3016503" cy="429891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s extremadamente difícil adquirir capital externo en las fases avanzadas de la crisis. </a:t>
            </a:r>
            <a:endParaRPr lang="en-US" sz="2200"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 menudo, los bancos no pueden seguir actuando debido a la normativa sobre riesgos.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n principio, los financieros en una crisis exigen conceptos de reestructuración plausibles, garantías suficientes y tipos de interés más altos.</a:t>
            </a:r>
          </a:p>
        </p:txBody>
      </p:sp>
      <p:sp>
        <p:nvSpPr>
          <p:cNvPr id="37" name="Freeform 45">
            <a:extLst>
              <a:ext uri="{FF2B5EF4-FFF2-40B4-BE49-F238E27FC236}">
                <a16:creationId xmlns:a16="http://schemas.microsoft.com/office/drawing/2014/main" xmlns="" id="{84F898AE-A3F7-4A75-990F-4560D28792D6}"/>
              </a:ext>
            </a:extLst>
          </p:cNvPr>
          <p:cNvSpPr/>
          <p:nvPr/>
        </p:nvSpPr>
        <p:spPr>
          <a:xfrm>
            <a:off x="6955228" y="1921927"/>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8" name="Freeform 42">
            <a:extLst>
              <a:ext uri="{FF2B5EF4-FFF2-40B4-BE49-F238E27FC236}">
                <a16:creationId xmlns:a16="http://schemas.microsoft.com/office/drawing/2014/main" xmlns="" id="{2BA635C5-8B1A-4A12-8890-BC8D0678F95D}"/>
              </a:ext>
            </a:extLst>
          </p:cNvPr>
          <p:cNvSpPr/>
          <p:nvPr/>
        </p:nvSpPr>
        <p:spPr>
          <a:xfrm>
            <a:off x="7952502" y="2500540"/>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Freeform 41">
            <a:extLst>
              <a:ext uri="{FF2B5EF4-FFF2-40B4-BE49-F238E27FC236}">
                <a16:creationId xmlns:a16="http://schemas.microsoft.com/office/drawing/2014/main" xmlns="" id="{8E19D918-130D-4121-956A-E2F8FB7232F2}"/>
              </a:ext>
            </a:extLst>
          </p:cNvPr>
          <p:cNvSpPr/>
          <p:nvPr/>
        </p:nvSpPr>
        <p:spPr>
          <a:xfrm>
            <a:off x="6075853" y="2500907"/>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Freeform 37">
            <a:extLst>
              <a:ext uri="{FF2B5EF4-FFF2-40B4-BE49-F238E27FC236}">
                <a16:creationId xmlns:a16="http://schemas.microsoft.com/office/drawing/2014/main" xmlns="" id="{40DA72CA-FE52-422D-88DE-EF81D6498414}"/>
              </a:ext>
            </a:extLst>
          </p:cNvPr>
          <p:cNvSpPr/>
          <p:nvPr/>
        </p:nvSpPr>
        <p:spPr>
          <a:xfrm>
            <a:off x="8212126" y="3591264"/>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1" name="Freeform 36">
            <a:extLst>
              <a:ext uri="{FF2B5EF4-FFF2-40B4-BE49-F238E27FC236}">
                <a16:creationId xmlns:a16="http://schemas.microsoft.com/office/drawing/2014/main" xmlns="" id="{6D027986-0E11-4555-88E9-83580D56B424}"/>
              </a:ext>
            </a:extLst>
          </p:cNvPr>
          <p:cNvSpPr/>
          <p:nvPr/>
        </p:nvSpPr>
        <p:spPr>
          <a:xfrm>
            <a:off x="5700154" y="3601541"/>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2" name="Freeform 35">
            <a:extLst>
              <a:ext uri="{FF2B5EF4-FFF2-40B4-BE49-F238E27FC236}">
                <a16:creationId xmlns:a16="http://schemas.microsoft.com/office/drawing/2014/main" xmlns="" id="{93202081-7B2E-4D98-AF03-04AB4ADE8F92}"/>
              </a:ext>
            </a:extLst>
          </p:cNvPr>
          <p:cNvSpPr/>
          <p:nvPr/>
        </p:nvSpPr>
        <p:spPr>
          <a:xfrm>
            <a:off x="7636442" y="4428994"/>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Freeform 34">
            <a:extLst>
              <a:ext uri="{FF2B5EF4-FFF2-40B4-BE49-F238E27FC236}">
                <a16:creationId xmlns:a16="http://schemas.microsoft.com/office/drawing/2014/main" xmlns="" id="{CAA6782D-C519-4D61-B73E-5CA517151A93}"/>
              </a:ext>
            </a:extLst>
          </p:cNvPr>
          <p:cNvSpPr/>
          <p:nvPr/>
        </p:nvSpPr>
        <p:spPr>
          <a:xfrm>
            <a:off x="6408068" y="4430164"/>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TextBox 73">
            <a:extLst>
              <a:ext uri="{FF2B5EF4-FFF2-40B4-BE49-F238E27FC236}">
                <a16:creationId xmlns:a16="http://schemas.microsoft.com/office/drawing/2014/main" xmlns="" id="{925AE4B4-4483-48CE-AE22-7BECBB1E1658}"/>
              </a:ext>
            </a:extLst>
          </p:cNvPr>
          <p:cNvSpPr txBox="1"/>
          <p:nvPr/>
        </p:nvSpPr>
        <p:spPr>
          <a:xfrm>
            <a:off x="4702468" y="3845395"/>
            <a:ext cx="859531"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Arrendamiento</a:t>
            </a:r>
          </a:p>
        </p:txBody>
      </p:sp>
      <p:sp>
        <p:nvSpPr>
          <p:cNvPr id="53" name="TextBox 77">
            <a:extLst>
              <a:ext uri="{FF2B5EF4-FFF2-40B4-BE49-F238E27FC236}">
                <a16:creationId xmlns:a16="http://schemas.microsoft.com/office/drawing/2014/main" xmlns="" id="{CF2729CE-34A2-434A-B73B-139B78D1C0B6}"/>
              </a:ext>
            </a:extLst>
          </p:cNvPr>
          <p:cNvSpPr txBox="1"/>
          <p:nvPr/>
        </p:nvSpPr>
        <p:spPr>
          <a:xfrm>
            <a:off x="3707369" y="2684667"/>
            <a:ext cx="2195217" cy="646331"/>
          </a:xfrm>
          <a:prstGeom prst="rect">
            <a:avLst/>
          </a:prstGeom>
          <a:noFill/>
        </p:spPr>
        <p:txBody>
          <a:bodyPr wrap="none" lIns="91440" tIns="45720" rIns="91440" bIns="45720" rtlCol="0" anchor="b" anchorCtr="0">
            <a:spAutoFit/>
          </a:bodyPr>
          <a:lstStyle/>
          <a:p>
            <a:pPr algn="r"/>
            <a:r>
              <a:rPr lang="en-GB" b="1" dirty="0">
                <a:solidFill>
                  <a:schemeClr val="tx2"/>
                </a:solidFill>
                <a:latin typeface="+mj-lt"/>
                <a:ea typeface="League Spartan" charset="0"/>
                <a:cs typeface="Poppins" pitchFamily="2" charset="77"/>
              </a:rPr>
              <a:t>Préstamos de clientes</a:t>
            </a:r>
            <a:r>
              <a:rPr lang="en-GB" b="1" dirty="0">
                <a:latin typeface="+mj-lt"/>
                <a:ea typeface="League Spartan" charset="0"/>
                <a:cs typeface="Poppins" pitchFamily="2" charset="77"/>
              </a:rPr>
              <a:t/>
            </a:r>
            <a:br>
              <a:rPr lang="en-GB" b="1" dirty="0">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anticipos</a:t>
            </a:r>
          </a:p>
        </p:txBody>
      </p:sp>
      <p:sp>
        <p:nvSpPr>
          <p:cNvPr id="55" name="TextBox 38">
            <a:extLst>
              <a:ext uri="{FF2B5EF4-FFF2-40B4-BE49-F238E27FC236}">
                <a16:creationId xmlns:a16="http://schemas.microsoft.com/office/drawing/2014/main" xmlns="" id="{B169B7DE-AF7D-4153-91DA-2FF62C80F3FC}"/>
              </a:ext>
            </a:extLst>
          </p:cNvPr>
          <p:cNvSpPr txBox="1"/>
          <p:nvPr/>
        </p:nvSpPr>
        <p:spPr>
          <a:xfrm>
            <a:off x="9122950" y="2076406"/>
            <a:ext cx="3097323" cy="646331"/>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Nuevos préstamos de financiadores</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réstamos estacionales / préstamos puente)</a:t>
            </a:r>
          </a:p>
        </p:txBody>
      </p:sp>
      <p:sp>
        <p:nvSpPr>
          <p:cNvPr id="57" name="TextBox 43">
            <a:extLst>
              <a:ext uri="{FF2B5EF4-FFF2-40B4-BE49-F238E27FC236}">
                <a16:creationId xmlns:a16="http://schemas.microsoft.com/office/drawing/2014/main" xmlns="" id="{8EA0616A-01EF-4053-9FA3-F620D8E82904}"/>
              </a:ext>
            </a:extLst>
          </p:cNvPr>
          <p:cNvSpPr txBox="1"/>
          <p:nvPr/>
        </p:nvSpPr>
        <p:spPr>
          <a:xfrm>
            <a:off x="9328208" y="4838363"/>
            <a:ext cx="1529393"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Crédito a proveedores</a:t>
            </a:r>
          </a:p>
        </p:txBody>
      </p:sp>
      <p:sp>
        <p:nvSpPr>
          <p:cNvPr id="59" name="TextBox 47">
            <a:extLst>
              <a:ext uri="{FF2B5EF4-FFF2-40B4-BE49-F238E27FC236}">
                <a16:creationId xmlns:a16="http://schemas.microsoft.com/office/drawing/2014/main" xmlns="" id="{76FB90E6-7BCC-4038-9E1D-1FD9B8097DC3}"/>
              </a:ext>
            </a:extLst>
          </p:cNvPr>
          <p:cNvSpPr txBox="1"/>
          <p:nvPr/>
        </p:nvSpPr>
        <p:spPr>
          <a:xfrm>
            <a:off x="9631999" y="3333805"/>
            <a:ext cx="2209003" cy="646331"/>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Aplazamiento y renuncia</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or parte de terceros</a:t>
            </a:r>
          </a:p>
        </p:txBody>
      </p:sp>
      <p:sp>
        <p:nvSpPr>
          <p:cNvPr id="61" name="TextBox 49">
            <a:extLst>
              <a:ext uri="{FF2B5EF4-FFF2-40B4-BE49-F238E27FC236}">
                <a16:creationId xmlns:a16="http://schemas.microsoft.com/office/drawing/2014/main" xmlns="" id="{9E0EBD04-430F-45E4-AC2E-AE6E0312ABA2}"/>
              </a:ext>
            </a:extLst>
          </p:cNvPr>
          <p:cNvSpPr txBox="1"/>
          <p:nvPr/>
        </p:nvSpPr>
        <p:spPr>
          <a:xfrm>
            <a:off x="5191509" y="4895267"/>
            <a:ext cx="1027397"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Factorización</a:t>
            </a:r>
          </a:p>
        </p:txBody>
      </p:sp>
      <p:sp>
        <p:nvSpPr>
          <p:cNvPr id="63" name="TextBox 51">
            <a:extLst>
              <a:ext uri="{FF2B5EF4-FFF2-40B4-BE49-F238E27FC236}">
                <a16:creationId xmlns:a16="http://schemas.microsoft.com/office/drawing/2014/main" xmlns="" id="{3845AEE9-F942-44F7-B23F-1FA62DBF43C9}"/>
              </a:ext>
            </a:extLst>
          </p:cNvPr>
          <p:cNvSpPr txBox="1"/>
          <p:nvPr/>
        </p:nvSpPr>
        <p:spPr>
          <a:xfrm>
            <a:off x="4304354" y="1929881"/>
            <a:ext cx="2531079"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Préstamo a los accionistas (capital)</a:t>
            </a:r>
          </a:p>
        </p:txBody>
      </p:sp>
      <p:sp>
        <p:nvSpPr>
          <p:cNvPr id="65" name="TextBox 51">
            <a:extLst>
              <a:ext uri="{FF2B5EF4-FFF2-40B4-BE49-F238E27FC236}">
                <a16:creationId xmlns:a16="http://schemas.microsoft.com/office/drawing/2014/main" xmlns="" id="{4BAB2ABE-A346-4F45-976F-A339E4ACD72C}"/>
              </a:ext>
            </a:extLst>
          </p:cNvPr>
          <p:cNvSpPr txBox="1"/>
          <p:nvPr/>
        </p:nvSpPr>
        <p:spPr>
          <a:xfrm>
            <a:off x="7188608" y="3582570"/>
            <a:ext cx="737894" cy="584775"/>
          </a:xfrm>
          <a:prstGeom prst="rect">
            <a:avLst/>
          </a:prstGeom>
          <a:noFill/>
        </p:spPr>
        <p:txBody>
          <a:bodyPr wrap="none" rtlCol="0" anchor="b" anchorCtr="0">
            <a:spAutoFit/>
          </a:bodyPr>
          <a:lstStyle/>
          <a:p>
            <a:pPr algn="ctr"/>
            <a:r>
              <a:rPr lang="en-GB" sz="1600" b="1">
                <a:solidFill>
                  <a:schemeClr val="tx2"/>
                </a:solidFill>
                <a:latin typeface="+mj-lt"/>
                <a:ea typeface="League Spartan" charset="0"/>
                <a:cs typeface="Poppins" pitchFamily="2" charset="77"/>
              </a:rPr>
              <a:t>Deuda</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Capital</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205006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78331" y="574695"/>
            <a:ext cx="8852375" cy="697353"/>
          </a:xfrm>
        </p:spPr>
        <p:txBody>
          <a:bodyPr>
            <a:normAutofit/>
          </a:bodyPr>
          <a:lstStyle/>
          <a:p>
            <a:r>
              <a:rPr lang="en-GB"/>
              <a:t>Superar una crisis de liquidez (cont.) </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7177" y="2029981"/>
            <a:ext cx="2955133" cy="448358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s posibilidades de las fuentes de financiación interna dependen en gran medida de la empresa y del sector correspondiente. Si la empresa ha tenido éxito en el pasado y cuenta con activos importantes o un gran número de máquinas, existen alternativas al capital de deuda o a la inyección de capital.</a:t>
            </a:r>
            <a:endParaRPr lang="en-US" dirty="0">
              <a:solidFill>
                <a:srgbClr val="245473"/>
              </a:solidFill>
            </a:endParaRPr>
          </a:p>
        </p:txBody>
      </p:sp>
      <p:sp>
        <p:nvSpPr>
          <p:cNvPr id="19" name="Freeform 143">
            <a:extLst>
              <a:ext uri="{FF2B5EF4-FFF2-40B4-BE49-F238E27FC236}">
                <a16:creationId xmlns:a16="http://schemas.microsoft.com/office/drawing/2014/main" xmlns="" id="{89CAACEB-408C-457C-904A-A8C58797F7EC}"/>
              </a:ext>
            </a:extLst>
          </p:cNvPr>
          <p:cNvSpPr>
            <a:spLocks noChangeArrowheads="1"/>
          </p:cNvSpPr>
          <p:nvPr/>
        </p:nvSpPr>
        <p:spPr bwMode="auto">
          <a:xfrm>
            <a:off x="3602863" y="4545688"/>
            <a:ext cx="2636263" cy="1761834"/>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latin typeface="+mj-lt"/>
              <a:ea typeface="Roboto" charset="0"/>
              <a:cs typeface="Roboto" charset="0"/>
            </a:endParaRPr>
          </a:p>
        </p:txBody>
      </p:sp>
      <p:sp>
        <p:nvSpPr>
          <p:cNvPr id="20" name="Freeform 144">
            <a:extLst>
              <a:ext uri="{FF2B5EF4-FFF2-40B4-BE49-F238E27FC236}">
                <a16:creationId xmlns:a16="http://schemas.microsoft.com/office/drawing/2014/main" xmlns="" id="{752B327D-D3B1-4183-99C7-D8F8C7F872FD}"/>
              </a:ext>
            </a:extLst>
          </p:cNvPr>
          <p:cNvSpPr>
            <a:spLocks noChangeArrowheads="1"/>
          </p:cNvSpPr>
          <p:nvPr/>
        </p:nvSpPr>
        <p:spPr bwMode="auto">
          <a:xfrm>
            <a:off x="3783208" y="4431928"/>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4"/>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21" name="Freeform 145">
            <a:extLst>
              <a:ext uri="{FF2B5EF4-FFF2-40B4-BE49-F238E27FC236}">
                <a16:creationId xmlns:a16="http://schemas.microsoft.com/office/drawing/2014/main" xmlns="" id="{1A189D7D-FB4F-49B6-A043-2F45DDFEEBE2}"/>
              </a:ext>
            </a:extLst>
          </p:cNvPr>
          <p:cNvSpPr>
            <a:spLocks noChangeArrowheads="1"/>
          </p:cNvSpPr>
          <p:nvPr/>
        </p:nvSpPr>
        <p:spPr bwMode="auto">
          <a:xfrm flipH="1">
            <a:off x="3734633" y="4431932"/>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4">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22" name="Freeform 146">
            <a:extLst>
              <a:ext uri="{FF2B5EF4-FFF2-40B4-BE49-F238E27FC236}">
                <a16:creationId xmlns:a16="http://schemas.microsoft.com/office/drawing/2014/main" xmlns="" id="{D982EACB-3BA0-41B1-8533-6C82EB350809}"/>
              </a:ext>
            </a:extLst>
          </p:cNvPr>
          <p:cNvSpPr>
            <a:spLocks noChangeArrowheads="1"/>
          </p:cNvSpPr>
          <p:nvPr/>
        </p:nvSpPr>
        <p:spPr bwMode="auto">
          <a:xfrm>
            <a:off x="6152186" y="4539155"/>
            <a:ext cx="93204" cy="1788822"/>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4"/>
          </a:solidFill>
          <a:ln>
            <a:noFill/>
          </a:ln>
          <a:effectLst/>
        </p:spPr>
        <p:txBody>
          <a:bodyPr wrap="none" anchor="ctr"/>
          <a:lstStyle/>
          <a:p>
            <a:endParaRPr lang="en-GB" sz="2251" dirty="0">
              <a:latin typeface="+mj-lt"/>
              <a:ea typeface="Roboto" charset="0"/>
              <a:cs typeface="Roboto" charset="0"/>
            </a:endParaRPr>
          </a:p>
        </p:txBody>
      </p:sp>
      <p:sp>
        <p:nvSpPr>
          <p:cNvPr id="23" name="TextBox 15">
            <a:extLst>
              <a:ext uri="{FF2B5EF4-FFF2-40B4-BE49-F238E27FC236}">
                <a16:creationId xmlns:a16="http://schemas.microsoft.com/office/drawing/2014/main" xmlns="" id="{63EA1188-0796-4BDC-8169-373AE5C6592B}"/>
              </a:ext>
            </a:extLst>
          </p:cNvPr>
          <p:cNvSpPr txBox="1"/>
          <p:nvPr/>
        </p:nvSpPr>
        <p:spPr>
          <a:xfrm>
            <a:off x="3667168" y="4592677"/>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CIÓN</a:t>
            </a:r>
          </a:p>
        </p:txBody>
      </p:sp>
      <p:sp>
        <p:nvSpPr>
          <p:cNvPr id="24" name="TextBox 16">
            <a:extLst>
              <a:ext uri="{FF2B5EF4-FFF2-40B4-BE49-F238E27FC236}">
                <a16:creationId xmlns:a16="http://schemas.microsoft.com/office/drawing/2014/main" xmlns="" id="{E0D785C7-5305-470F-B9D3-0D2A3A55F0C9}"/>
              </a:ext>
            </a:extLst>
          </p:cNvPr>
          <p:cNvSpPr txBox="1"/>
          <p:nvPr/>
        </p:nvSpPr>
        <p:spPr>
          <a:xfrm>
            <a:off x="3878340" y="4785741"/>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4</a:t>
            </a:r>
            <a:endParaRPr lang="en-GB" sz="2701" b="1" dirty="0">
              <a:solidFill>
                <a:schemeClr val="bg1"/>
              </a:solidFill>
              <a:latin typeface="+mj-lt"/>
              <a:ea typeface="Roboto" charset="0"/>
              <a:cs typeface="Roboto" charset="0"/>
            </a:endParaRPr>
          </a:p>
        </p:txBody>
      </p:sp>
      <p:sp>
        <p:nvSpPr>
          <p:cNvPr id="25" name="Subtitle 2">
            <a:extLst>
              <a:ext uri="{FF2B5EF4-FFF2-40B4-BE49-F238E27FC236}">
                <a16:creationId xmlns:a16="http://schemas.microsoft.com/office/drawing/2014/main" xmlns="" id="{C17B8899-1C0F-4F5A-A657-D088AD7712F3}"/>
              </a:ext>
            </a:extLst>
          </p:cNvPr>
          <p:cNvSpPr txBox="1">
            <a:spLocks/>
          </p:cNvSpPr>
          <p:nvPr/>
        </p:nvSpPr>
        <p:spPr>
          <a:xfrm>
            <a:off x="4389756" y="4847862"/>
            <a:ext cx="1639693" cy="80975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dirty="0">
                <a:solidFill>
                  <a:schemeClr val="tx2">
                    <a:lumMod val="50000"/>
                  </a:schemeClr>
                </a:solidFill>
                <a:latin typeface="+mj-lt"/>
                <a:ea typeface="Roboto" charset="0"/>
                <a:cs typeface="Roboto" charset="0"/>
              </a:rPr>
              <a:t>Gestión </a:t>
            </a:r>
            <a:r>
              <a:rPr lang="en-GB" sz="1600">
                <a:solidFill>
                  <a:schemeClr val="tx2">
                    <a:lumMod val="50000"/>
                  </a:schemeClr>
                </a:solidFill>
                <a:latin typeface="+mj-lt"/>
                <a:ea typeface="Roboto" charset="0"/>
                <a:cs typeface="Roboto" charset="0"/>
              </a:rPr>
              <a:t>del capital circulante </a:t>
            </a:r>
            <a:r>
              <a:rPr lang="en-GB" sz="1600" dirty="0">
                <a:solidFill>
                  <a:schemeClr val="tx2">
                    <a:lumMod val="50000"/>
                  </a:schemeClr>
                </a:solidFill>
                <a:latin typeface="+mj-lt"/>
                <a:ea typeface="Roboto" charset="0"/>
                <a:cs typeface="Roboto" charset="0"/>
              </a:rPr>
              <a:t>(véase las siguientes diapositivas)</a:t>
            </a:r>
          </a:p>
        </p:txBody>
      </p:sp>
      <p:sp>
        <p:nvSpPr>
          <p:cNvPr id="26" name="Rectangle 18">
            <a:extLst>
              <a:ext uri="{FF2B5EF4-FFF2-40B4-BE49-F238E27FC236}">
                <a16:creationId xmlns:a16="http://schemas.microsoft.com/office/drawing/2014/main" xmlns="" id="{F6E1DB37-007E-4BA4-A915-1EA9B3CEA96B}"/>
              </a:ext>
            </a:extLst>
          </p:cNvPr>
          <p:cNvSpPr>
            <a:spLocks/>
          </p:cNvSpPr>
          <p:nvPr/>
        </p:nvSpPr>
        <p:spPr bwMode="auto">
          <a:xfrm>
            <a:off x="4455399" y="4468504"/>
            <a:ext cx="1114792" cy="326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Capital de trabajo</a:t>
            </a:r>
            <a:endParaRPr lang="en-GB" sz="1400" b="1" dirty="0">
              <a:solidFill>
                <a:schemeClr val="tx2">
                  <a:lumMod val="50000"/>
                </a:schemeClr>
              </a:solidFill>
              <a:latin typeface="+mj-lt"/>
              <a:ea typeface="Roboto" charset="0"/>
              <a:cs typeface="Roboto" charset="0"/>
              <a:sym typeface="Bebas Neue" charset="0"/>
            </a:endParaRPr>
          </a:p>
        </p:txBody>
      </p:sp>
      <p:sp>
        <p:nvSpPr>
          <p:cNvPr id="27" name="Freeform 143">
            <a:extLst>
              <a:ext uri="{FF2B5EF4-FFF2-40B4-BE49-F238E27FC236}">
                <a16:creationId xmlns:a16="http://schemas.microsoft.com/office/drawing/2014/main" xmlns="" id="{AD258395-F06C-4CAB-AD92-893ABA346BB1}"/>
              </a:ext>
            </a:extLst>
          </p:cNvPr>
          <p:cNvSpPr>
            <a:spLocks noChangeArrowheads="1"/>
          </p:cNvSpPr>
          <p:nvPr/>
        </p:nvSpPr>
        <p:spPr bwMode="auto">
          <a:xfrm>
            <a:off x="6364954" y="4540574"/>
            <a:ext cx="2620921" cy="1766948"/>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latin typeface="+mj-lt"/>
              <a:ea typeface="Roboto" charset="0"/>
              <a:cs typeface="Roboto" charset="0"/>
            </a:endParaRPr>
          </a:p>
        </p:txBody>
      </p:sp>
      <p:sp>
        <p:nvSpPr>
          <p:cNvPr id="28" name="Freeform 144">
            <a:extLst>
              <a:ext uri="{FF2B5EF4-FFF2-40B4-BE49-F238E27FC236}">
                <a16:creationId xmlns:a16="http://schemas.microsoft.com/office/drawing/2014/main" xmlns="" id="{E6964E02-FC68-4FA8-8E87-C6BAD25DFFFF}"/>
              </a:ext>
            </a:extLst>
          </p:cNvPr>
          <p:cNvSpPr>
            <a:spLocks noChangeArrowheads="1"/>
          </p:cNvSpPr>
          <p:nvPr/>
        </p:nvSpPr>
        <p:spPr bwMode="auto">
          <a:xfrm>
            <a:off x="6545299" y="4431928"/>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5"/>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29" name="Freeform 145">
            <a:extLst>
              <a:ext uri="{FF2B5EF4-FFF2-40B4-BE49-F238E27FC236}">
                <a16:creationId xmlns:a16="http://schemas.microsoft.com/office/drawing/2014/main" xmlns="" id="{854FA212-CD1B-43D4-AE96-37CBA2EBF624}"/>
              </a:ext>
            </a:extLst>
          </p:cNvPr>
          <p:cNvSpPr>
            <a:spLocks noChangeArrowheads="1"/>
          </p:cNvSpPr>
          <p:nvPr/>
        </p:nvSpPr>
        <p:spPr bwMode="auto">
          <a:xfrm flipH="1">
            <a:off x="6496725" y="4431932"/>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5">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30" name="Freeform 146">
            <a:extLst>
              <a:ext uri="{FF2B5EF4-FFF2-40B4-BE49-F238E27FC236}">
                <a16:creationId xmlns:a16="http://schemas.microsoft.com/office/drawing/2014/main" xmlns="" id="{7188760E-93E0-48DB-BA72-D7DC251F8571}"/>
              </a:ext>
            </a:extLst>
          </p:cNvPr>
          <p:cNvSpPr>
            <a:spLocks noChangeArrowheads="1"/>
          </p:cNvSpPr>
          <p:nvPr/>
        </p:nvSpPr>
        <p:spPr bwMode="auto">
          <a:xfrm>
            <a:off x="8914278" y="4544269"/>
            <a:ext cx="67634" cy="1763251"/>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5"/>
          </a:solidFill>
          <a:ln>
            <a:noFill/>
          </a:ln>
          <a:effectLst/>
        </p:spPr>
        <p:txBody>
          <a:bodyPr wrap="none" anchor="ctr"/>
          <a:lstStyle/>
          <a:p>
            <a:endParaRPr lang="en-GB" sz="2251" dirty="0">
              <a:latin typeface="+mj-lt"/>
              <a:ea typeface="Roboto" charset="0"/>
              <a:cs typeface="Roboto" charset="0"/>
            </a:endParaRPr>
          </a:p>
        </p:txBody>
      </p:sp>
      <p:sp>
        <p:nvSpPr>
          <p:cNvPr id="31" name="TextBox 23">
            <a:extLst>
              <a:ext uri="{FF2B5EF4-FFF2-40B4-BE49-F238E27FC236}">
                <a16:creationId xmlns:a16="http://schemas.microsoft.com/office/drawing/2014/main" xmlns="" id="{3B77EDA4-3FB8-4D08-9065-8B75FBC05F00}"/>
              </a:ext>
            </a:extLst>
          </p:cNvPr>
          <p:cNvSpPr txBox="1"/>
          <p:nvPr/>
        </p:nvSpPr>
        <p:spPr>
          <a:xfrm>
            <a:off x="6444603" y="4592677"/>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CIÓN</a:t>
            </a:r>
          </a:p>
        </p:txBody>
      </p:sp>
      <p:sp>
        <p:nvSpPr>
          <p:cNvPr id="32" name="TextBox 24">
            <a:extLst>
              <a:ext uri="{FF2B5EF4-FFF2-40B4-BE49-F238E27FC236}">
                <a16:creationId xmlns:a16="http://schemas.microsoft.com/office/drawing/2014/main" xmlns="" id="{D910A611-F047-40E6-964F-B8D30DD9DE75}"/>
              </a:ext>
            </a:extLst>
          </p:cNvPr>
          <p:cNvSpPr txBox="1"/>
          <p:nvPr/>
        </p:nvSpPr>
        <p:spPr>
          <a:xfrm>
            <a:off x="6640432" y="4785741"/>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5</a:t>
            </a:r>
            <a:endParaRPr lang="en-GB" sz="2701" b="1" dirty="0">
              <a:solidFill>
                <a:schemeClr val="bg1"/>
              </a:solidFill>
              <a:latin typeface="+mj-lt"/>
              <a:ea typeface="Roboto" charset="0"/>
              <a:cs typeface="Roboto" charset="0"/>
            </a:endParaRPr>
          </a:p>
        </p:txBody>
      </p:sp>
      <p:sp>
        <p:nvSpPr>
          <p:cNvPr id="33" name="Subtitle 2">
            <a:extLst>
              <a:ext uri="{FF2B5EF4-FFF2-40B4-BE49-F238E27FC236}">
                <a16:creationId xmlns:a16="http://schemas.microsoft.com/office/drawing/2014/main" xmlns="" id="{DCCF6A98-20FD-40F3-8122-838D4D897D37}"/>
              </a:ext>
            </a:extLst>
          </p:cNvPr>
          <p:cNvSpPr txBox="1">
            <a:spLocks/>
          </p:cNvSpPr>
          <p:nvPr/>
        </p:nvSpPr>
        <p:spPr>
          <a:xfrm>
            <a:off x="7151848" y="4847862"/>
            <a:ext cx="1639693" cy="80975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a:solidFill>
                  <a:schemeClr val="tx2">
                    <a:lumMod val="50000"/>
                  </a:schemeClr>
                </a:solidFill>
                <a:latin typeface="+mj-lt"/>
                <a:ea typeface="Roboto" charset="0"/>
                <a:cs typeface="Roboto" charset="0"/>
              </a:rPr>
              <a:t>Instalación de </a:t>
            </a:r>
            <a:r>
              <a:rPr lang="en-GB" sz="1600" dirty="0">
                <a:solidFill>
                  <a:schemeClr val="tx2">
                    <a:lumMod val="50000"/>
                  </a:schemeClr>
                </a:solidFill>
                <a:latin typeface="+mj-lt"/>
                <a:ea typeface="Roboto" charset="0"/>
                <a:cs typeface="Roboto" charset="0"/>
              </a:rPr>
              <a:t/>
            </a:r>
            <a:br>
              <a:rPr lang="en-GB" sz="1600" dirty="0">
                <a:solidFill>
                  <a:schemeClr val="tx2">
                    <a:lumMod val="50000"/>
                  </a:schemeClr>
                </a:solidFill>
                <a:latin typeface="+mj-lt"/>
                <a:ea typeface="Roboto" charset="0"/>
                <a:cs typeface="Roboto" charset="0"/>
              </a:rPr>
            </a:br>
            <a:r>
              <a:rPr lang="en-GB" sz="1600">
                <a:solidFill>
                  <a:schemeClr val="tx2">
                    <a:lumMod val="50000"/>
                  </a:schemeClr>
                </a:solidFill>
                <a:latin typeface="+mj-lt"/>
                <a:ea typeface="Roboto" charset="0"/>
                <a:cs typeface="Roboto" charset="0"/>
              </a:rPr>
              <a:t>una oficina de gestión de la liquidez</a:t>
            </a:r>
          </a:p>
        </p:txBody>
      </p:sp>
      <p:sp>
        <p:nvSpPr>
          <p:cNvPr id="34" name="Rectangle 26">
            <a:extLst>
              <a:ext uri="{FF2B5EF4-FFF2-40B4-BE49-F238E27FC236}">
                <a16:creationId xmlns:a16="http://schemas.microsoft.com/office/drawing/2014/main" xmlns="" id="{16462CA1-55C8-4B16-97AC-370F688B6469}"/>
              </a:ext>
            </a:extLst>
          </p:cNvPr>
          <p:cNvSpPr>
            <a:spLocks/>
          </p:cNvSpPr>
          <p:nvPr/>
        </p:nvSpPr>
        <p:spPr bwMode="auto">
          <a:xfrm>
            <a:off x="7217491" y="4468504"/>
            <a:ext cx="1327415" cy="326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Gestión de la tesorería</a:t>
            </a:r>
            <a:endParaRPr lang="en-GB" sz="1400" b="1" dirty="0">
              <a:solidFill>
                <a:schemeClr val="tx2">
                  <a:lumMod val="50000"/>
                </a:schemeClr>
              </a:solidFill>
              <a:latin typeface="+mj-lt"/>
              <a:ea typeface="Roboto" charset="0"/>
              <a:cs typeface="Roboto" charset="0"/>
              <a:sym typeface="Bebas Neue" charset="0"/>
            </a:endParaRPr>
          </a:p>
        </p:txBody>
      </p:sp>
      <p:sp>
        <p:nvSpPr>
          <p:cNvPr id="35" name="Freeform 143">
            <a:extLst>
              <a:ext uri="{FF2B5EF4-FFF2-40B4-BE49-F238E27FC236}">
                <a16:creationId xmlns:a16="http://schemas.microsoft.com/office/drawing/2014/main" xmlns="" id="{9E11ADF2-5E24-470F-A06D-4CAAE88FBC25}"/>
              </a:ext>
            </a:extLst>
          </p:cNvPr>
          <p:cNvSpPr>
            <a:spLocks noChangeArrowheads="1"/>
          </p:cNvSpPr>
          <p:nvPr/>
        </p:nvSpPr>
        <p:spPr bwMode="auto">
          <a:xfrm>
            <a:off x="9127046" y="2579962"/>
            <a:ext cx="2646492" cy="1782290"/>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latin typeface="+mj-lt"/>
              <a:ea typeface="Roboto" charset="0"/>
              <a:cs typeface="Roboto" charset="0"/>
            </a:endParaRPr>
          </a:p>
        </p:txBody>
      </p:sp>
      <p:sp>
        <p:nvSpPr>
          <p:cNvPr id="36" name="Freeform 144">
            <a:extLst>
              <a:ext uri="{FF2B5EF4-FFF2-40B4-BE49-F238E27FC236}">
                <a16:creationId xmlns:a16="http://schemas.microsoft.com/office/drawing/2014/main" xmlns="" id="{F63621E9-197F-4A94-9257-64C8E58C40F9}"/>
              </a:ext>
            </a:extLst>
          </p:cNvPr>
          <p:cNvSpPr>
            <a:spLocks noChangeArrowheads="1"/>
          </p:cNvSpPr>
          <p:nvPr/>
        </p:nvSpPr>
        <p:spPr bwMode="auto">
          <a:xfrm>
            <a:off x="9307391" y="2466204"/>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3"/>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44" name="Freeform 145">
            <a:extLst>
              <a:ext uri="{FF2B5EF4-FFF2-40B4-BE49-F238E27FC236}">
                <a16:creationId xmlns:a16="http://schemas.microsoft.com/office/drawing/2014/main" xmlns="" id="{A96751AE-28C2-48F6-ADCF-8B42BE75E084}"/>
              </a:ext>
            </a:extLst>
          </p:cNvPr>
          <p:cNvSpPr>
            <a:spLocks noChangeArrowheads="1"/>
          </p:cNvSpPr>
          <p:nvPr/>
        </p:nvSpPr>
        <p:spPr bwMode="auto">
          <a:xfrm flipH="1">
            <a:off x="9258816" y="2466207"/>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3">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45" name="Freeform 146">
            <a:extLst>
              <a:ext uri="{FF2B5EF4-FFF2-40B4-BE49-F238E27FC236}">
                <a16:creationId xmlns:a16="http://schemas.microsoft.com/office/drawing/2014/main" xmlns="" id="{A006A893-2725-4596-85A2-9B50D06AB8FF}"/>
              </a:ext>
            </a:extLst>
          </p:cNvPr>
          <p:cNvSpPr>
            <a:spLocks noChangeArrowheads="1"/>
          </p:cNvSpPr>
          <p:nvPr/>
        </p:nvSpPr>
        <p:spPr bwMode="auto">
          <a:xfrm>
            <a:off x="11696826" y="2578544"/>
            <a:ext cx="77862" cy="1783708"/>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3"/>
          </a:solidFill>
          <a:ln>
            <a:noFill/>
          </a:ln>
          <a:effectLst/>
        </p:spPr>
        <p:txBody>
          <a:bodyPr wrap="none" anchor="ctr"/>
          <a:lstStyle/>
          <a:p>
            <a:endParaRPr lang="en-GB" sz="2251" dirty="0">
              <a:latin typeface="+mj-lt"/>
              <a:ea typeface="Roboto" charset="0"/>
              <a:cs typeface="Roboto" charset="0"/>
            </a:endParaRPr>
          </a:p>
        </p:txBody>
      </p:sp>
      <p:sp>
        <p:nvSpPr>
          <p:cNvPr id="46" name="TextBox 31">
            <a:extLst>
              <a:ext uri="{FF2B5EF4-FFF2-40B4-BE49-F238E27FC236}">
                <a16:creationId xmlns:a16="http://schemas.microsoft.com/office/drawing/2014/main" xmlns="" id="{F13A870C-35B2-4502-953E-5BBF350D42A1}"/>
              </a:ext>
            </a:extLst>
          </p:cNvPr>
          <p:cNvSpPr txBox="1"/>
          <p:nvPr/>
        </p:nvSpPr>
        <p:spPr>
          <a:xfrm>
            <a:off x="9201581" y="2626951"/>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CIÓN</a:t>
            </a:r>
          </a:p>
        </p:txBody>
      </p:sp>
      <p:sp>
        <p:nvSpPr>
          <p:cNvPr id="47" name="TextBox 34">
            <a:extLst>
              <a:ext uri="{FF2B5EF4-FFF2-40B4-BE49-F238E27FC236}">
                <a16:creationId xmlns:a16="http://schemas.microsoft.com/office/drawing/2014/main" xmlns="" id="{32AB1C10-1C92-4CB3-ABEF-1F029CB4A5A9}"/>
              </a:ext>
            </a:extLst>
          </p:cNvPr>
          <p:cNvSpPr txBox="1"/>
          <p:nvPr/>
        </p:nvSpPr>
        <p:spPr>
          <a:xfrm>
            <a:off x="9402524" y="2820015"/>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3</a:t>
            </a:r>
            <a:endParaRPr lang="en-GB" sz="2701" b="1" dirty="0">
              <a:solidFill>
                <a:schemeClr val="bg1"/>
              </a:solidFill>
              <a:latin typeface="+mj-lt"/>
              <a:ea typeface="Roboto" charset="0"/>
              <a:cs typeface="Roboto" charset="0"/>
            </a:endParaRPr>
          </a:p>
        </p:txBody>
      </p:sp>
      <p:sp>
        <p:nvSpPr>
          <p:cNvPr id="48" name="Subtitle 2">
            <a:extLst>
              <a:ext uri="{FF2B5EF4-FFF2-40B4-BE49-F238E27FC236}">
                <a16:creationId xmlns:a16="http://schemas.microsoft.com/office/drawing/2014/main" xmlns="" id="{BD44A69B-B9BC-4E9E-A490-73D0098BA6A2}"/>
              </a:ext>
            </a:extLst>
          </p:cNvPr>
          <p:cNvSpPr txBox="1">
            <a:spLocks/>
          </p:cNvSpPr>
          <p:nvPr/>
        </p:nvSpPr>
        <p:spPr>
          <a:xfrm>
            <a:off x="9913940" y="2882139"/>
            <a:ext cx="1639693" cy="80975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a:solidFill>
                  <a:schemeClr val="tx2">
                    <a:lumMod val="50000"/>
                  </a:schemeClr>
                </a:solidFill>
                <a:latin typeface="+mj-lt"/>
                <a:ea typeface="Roboto" charset="0"/>
                <a:cs typeface="Roboto" charset="0"/>
              </a:rPr>
              <a:t>Venta de activos necesarios para las operaciones - Sale and lease back</a:t>
            </a:r>
          </a:p>
        </p:txBody>
      </p:sp>
      <p:sp>
        <p:nvSpPr>
          <p:cNvPr id="49" name="Rectangle 36">
            <a:extLst>
              <a:ext uri="{FF2B5EF4-FFF2-40B4-BE49-F238E27FC236}">
                <a16:creationId xmlns:a16="http://schemas.microsoft.com/office/drawing/2014/main" xmlns="" id="{2CE57749-4FEB-400E-99D1-A2CA6B15D822}"/>
              </a:ext>
            </a:extLst>
          </p:cNvPr>
          <p:cNvSpPr>
            <a:spLocks/>
          </p:cNvSpPr>
          <p:nvPr/>
        </p:nvSpPr>
        <p:spPr bwMode="auto">
          <a:xfrm>
            <a:off x="9979583" y="2502778"/>
            <a:ext cx="1404231" cy="326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Venta y arrendamiento posterior</a:t>
            </a:r>
            <a:endParaRPr lang="en-GB" sz="1400" b="1" dirty="0">
              <a:solidFill>
                <a:schemeClr val="tx2">
                  <a:lumMod val="50000"/>
                </a:schemeClr>
              </a:solidFill>
              <a:latin typeface="+mj-lt"/>
              <a:ea typeface="Roboto" charset="0"/>
              <a:cs typeface="Roboto" charset="0"/>
              <a:sym typeface="Bebas Neue" charset="0"/>
            </a:endParaRPr>
          </a:p>
        </p:txBody>
      </p:sp>
      <p:sp>
        <p:nvSpPr>
          <p:cNvPr id="50" name="Freeform 143">
            <a:extLst>
              <a:ext uri="{FF2B5EF4-FFF2-40B4-BE49-F238E27FC236}">
                <a16:creationId xmlns:a16="http://schemas.microsoft.com/office/drawing/2014/main" xmlns="" id="{3E8769CC-E72E-42F7-9CCC-E58033CC1C64}"/>
              </a:ext>
            </a:extLst>
          </p:cNvPr>
          <p:cNvSpPr>
            <a:spLocks noChangeArrowheads="1"/>
          </p:cNvSpPr>
          <p:nvPr/>
        </p:nvSpPr>
        <p:spPr bwMode="auto">
          <a:xfrm>
            <a:off x="3602863" y="2579962"/>
            <a:ext cx="2636263" cy="1761834"/>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solidFill>
                <a:schemeClr val="bg1">
                  <a:lumMod val="95000"/>
                </a:schemeClr>
              </a:solidFill>
              <a:latin typeface="+mj-lt"/>
              <a:ea typeface="Roboto" charset="0"/>
              <a:cs typeface="Roboto" charset="0"/>
            </a:endParaRPr>
          </a:p>
        </p:txBody>
      </p:sp>
      <p:sp>
        <p:nvSpPr>
          <p:cNvPr id="52" name="Freeform 144">
            <a:extLst>
              <a:ext uri="{FF2B5EF4-FFF2-40B4-BE49-F238E27FC236}">
                <a16:creationId xmlns:a16="http://schemas.microsoft.com/office/drawing/2014/main" xmlns="" id="{2D50DC0C-065A-4640-AD7F-2F90D2A174B8}"/>
              </a:ext>
            </a:extLst>
          </p:cNvPr>
          <p:cNvSpPr>
            <a:spLocks noChangeArrowheads="1"/>
          </p:cNvSpPr>
          <p:nvPr/>
        </p:nvSpPr>
        <p:spPr bwMode="auto">
          <a:xfrm>
            <a:off x="3783208" y="2466204"/>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1"/>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54" name="Freeform 145">
            <a:extLst>
              <a:ext uri="{FF2B5EF4-FFF2-40B4-BE49-F238E27FC236}">
                <a16:creationId xmlns:a16="http://schemas.microsoft.com/office/drawing/2014/main" xmlns="" id="{6155393A-F995-45CB-AEB0-CA183DA4DA70}"/>
              </a:ext>
            </a:extLst>
          </p:cNvPr>
          <p:cNvSpPr>
            <a:spLocks noChangeArrowheads="1"/>
          </p:cNvSpPr>
          <p:nvPr/>
        </p:nvSpPr>
        <p:spPr bwMode="auto">
          <a:xfrm flipH="1">
            <a:off x="3734633" y="2466207"/>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1">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56" name="Freeform 146">
            <a:extLst>
              <a:ext uri="{FF2B5EF4-FFF2-40B4-BE49-F238E27FC236}">
                <a16:creationId xmlns:a16="http://schemas.microsoft.com/office/drawing/2014/main" xmlns="" id="{4957E4CB-D3FC-4912-A02F-35B3C8B7D84C}"/>
              </a:ext>
            </a:extLst>
          </p:cNvPr>
          <p:cNvSpPr>
            <a:spLocks noChangeArrowheads="1"/>
          </p:cNvSpPr>
          <p:nvPr/>
        </p:nvSpPr>
        <p:spPr bwMode="auto">
          <a:xfrm>
            <a:off x="6177757" y="2578544"/>
            <a:ext cx="88090" cy="1763252"/>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1"/>
          </a:solidFill>
          <a:ln>
            <a:noFill/>
          </a:ln>
          <a:effectLst/>
        </p:spPr>
        <p:txBody>
          <a:bodyPr wrap="none" anchor="ctr"/>
          <a:lstStyle/>
          <a:p>
            <a:endParaRPr lang="en-GB" sz="2251" dirty="0">
              <a:latin typeface="+mj-lt"/>
              <a:ea typeface="Roboto" charset="0"/>
              <a:cs typeface="Roboto" charset="0"/>
            </a:endParaRPr>
          </a:p>
        </p:txBody>
      </p:sp>
      <p:sp>
        <p:nvSpPr>
          <p:cNvPr id="58" name="TextBox 41">
            <a:extLst>
              <a:ext uri="{FF2B5EF4-FFF2-40B4-BE49-F238E27FC236}">
                <a16:creationId xmlns:a16="http://schemas.microsoft.com/office/drawing/2014/main" xmlns="" id="{A0F5F3E3-F5B2-4F67-8BE0-73B065862AA8}"/>
              </a:ext>
            </a:extLst>
          </p:cNvPr>
          <p:cNvSpPr txBox="1"/>
          <p:nvPr/>
        </p:nvSpPr>
        <p:spPr>
          <a:xfrm>
            <a:off x="3667169" y="2626951"/>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CIÓN</a:t>
            </a:r>
          </a:p>
        </p:txBody>
      </p:sp>
      <p:sp>
        <p:nvSpPr>
          <p:cNvPr id="60" name="TextBox 42">
            <a:extLst>
              <a:ext uri="{FF2B5EF4-FFF2-40B4-BE49-F238E27FC236}">
                <a16:creationId xmlns:a16="http://schemas.microsoft.com/office/drawing/2014/main" xmlns="" id="{6B907A4B-3662-47F3-8B7E-523E1C99BB7C}"/>
              </a:ext>
            </a:extLst>
          </p:cNvPr>
          <p:cNvSpPr txBox="1"/>
          <p:nvPr/>
        </p:nvSpPr>
        <p:spPr>
          <a:xfrm>
            <a:off x="3878340" y="2820015"/>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1</a:t>
            </a:r>
            <a:endParaRPr lang="en-GB" sz="2701" b="1" dirty="0">
              <a:solidFill>
                <a:schemeClr val="bg1"/>
              </a:solidFill>
              <a:latin typeface="+mj-lt"/>
              <a:ea typeface="Roboto" charset="0"/>
              <a:cs typeface="Roboto" charset="0"/>
            </a:endParaRPr>
          </a:p>
        </p:txBody>
      </p:sp>
      <p:sp>
        <p:nvSpPr>
          <p:cNvPr id="62" name="Subtitle 2">
            <a:extLst>
              <a:ext uri="{FF2B5EF4-FFF2-40B4-BE49-F238E27FC236}">
                <a16:creationId xmlns:a16="http://schemas.microsoft.com/office/drawing/2014/main" xmlns="" id="{DA0D3268-43A2-4C1C-972F-EC210112B76A}"/>
              </a:ext>
            </a:extLst>
          </p:cNvPr>
          <p:cNvSpPr txBox="1">
            <a:spLocks/>
          </p:cNvSpPr>
          <p:nvPr/>
        </p:nvSpPr>
        <p:spPr>
          <a:xfrm>
            <a:off x="4389756" y="2882139"/>
            <a:ext cx="1639693" cy="63021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dirty="0">
                <a:solidFill>
                  <a:schemeClr val="tx2">
                    <a:lumMod val="50000"/>
                  </a:schemeClr>
                </a:solidFill>
                <a:latin typeface="+mj-lt"/>
                <a:ea typeface="Roboto" charset="0"/>
                <a:cs typeface="Roboto" charset="0"/>
              </a:rPr>
              <a:t>Liberación de las reservas de liquidez existentes</a:t>
            </a:r>
          </a:p>
        </p:txBody>
      </p:sp>
      <p:sp>
        <p:nvSpPr>
          <p:cNvPr id="64" name="Rectangle 44">
            <a:extLst>
              <a:ext uri="{FF2B5EF4-FFF2-40B4-BE49-F238E27FC236}">
                <a16:creationId xmlns:a16="http://schemas.microsoft.com/office/drawing/2014/main" xmlns="" id="{5838300D-B1AF-406D-A4C1-73D8AC32F6B8}"/>
              </a:ext>
            </a:extLst>
          </p:cNvPr>
          <p:cNvSpPr>
            <a:spLocks/>
          </p:cNvSpPr>
          <p:nvPr/>
        </p:nvSpPr>
        <p:spPr bwMode="auto">
          <a:xfrm>
            <a:off x="4455399" y="2502778"/>
            <a:ext cx="1264449" cy="326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Reservas de liquidez</a:t>
            </a:r>
            <a:endParaRPr lang="en-GB" sz="1400" b="1" dirty="0">
              <a:solidFill>
                <a:schemeClr val="tx2">
                  <a:lumMod val="50000"/>
                </a:schemeClr>
              </a:solidFill>
              <a:latin typeface="+mj-lt"/>
              <a:ea typeface="Roboto" charset="0"/>
              <a:cs typeface="Roboto" charset="0"/>
              <a:sym typeface="Bebas Neue" charset="0"/>
            </a:endParaRPr>
          </a:p>
        </p:txBody>
      </p:sp>
      <p:sp>
        <p:nvSpPr>
          <p:cNvPr id="66" name="Freeform 143">
            <a:extLst>
              <a:ext uri="{FF2B5EF4-FFF2-40B4-BE49-F238E27FC236}">
                <a16:creationId xmlns:a16="http://schemas.microsoft.com/office/drawing/2014/main" xmlns="" id="{871EA91F-972E-463F-A516-5555DC5156D7}"/>
              </a:ext>
            </a:extLst>
          </p:cNvPr>
          <p:cNvSpPr>
            <a:spLocks noChangeArrowheads="1"/>
          </p:cNvSpPr>
          <p:nvPr/>
        </p:nvSpPr>
        <p:spPr bwMode="auto">
          <a:xfrm>
            <a:off x="6364954" y="2579962"/>
            <a:ext cx="2595351" cy="1761834"/>
          </a:xfrm>
          <a:custGeom>
            <a:avLst/>
            <a:gdLst>
              <a:gd name="T0" fmla="*/ 283 w 15344"/>
              <a:gd name="T1" fmla="*/ 0 h 4244"/>
              <a:gd name="T2" fmla="*/ 283 w 15344"/>
              <a:gd name="T3" fmla="*/ 0 h 4244"/>
              <a:gd name="T4" fmla="*/ 0 w 15344"/>
              <a:gd name="T5" fmla="*/ 282 h 4244"/>
              <a:gd name="T6" fmla="*/ 0 w 15344"/>
              <a:gd name="T7" fmla="*/ 3951 h 4244"/>
              <a:gd name="T8" fmla="*/ 283 w 15344"/>
              <a:gd name="T9" fmla="*/ 4243 h 4244"/>
              <a:gd name="T10" fmla="*/ 15343 w 15344"/>
              <a:gd name="T11" fmla="*/ 4243 h 4244"/>
              <a:gd name="T12" fmla="*/ 15343 w 15344"/>
              <a:gd name="T13" fmla="*/ 0 h 4244"/>
              <a:gd name="T14" fmla="*/ 283 w 15344"/>
              <a:gd name="T15" fmla="*/ 0 h 4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44" h="4244">
                <a:moveTo>
                  <a:pt x="283" y="0"/>
                </a:moveTo>
                <a:lnTo>
                  <a:pt x="283" y="0"/>
                </a:lnTo>
                <a:cubicBezTo>
                  <a:pt x="129" y="0"/>
                  <a:pt x="0" y="128"/>
                  <a:pt x="0" y="282"/>
                </a:cubicBezTo>
                <a:cubicBezTo>
                  <a:pt x="0" y="3951"/>
                  <a:pt x="0" y="3951"/>
                  <a:pt x="0" y="3951"/>
                </a:cubicBezTo>
                <a:cubicBezTo>
                  <a:pt x="0" y="4114"/>
                  <a:pt x="129" y="4243"/>
                  <a:pt x="283" y="4243"/>
                </a:cubicBezTo>
                <a:cubicBezTo>
                  <a:pt x="15343" y="4243"/>
                  <a:pt x="15343" y="4243"/>
                  <a:pt x="15343" y="4243"/>
                </a:cubicBezTo>
                <a:cubicBezTo>
                  <a:pt x="15343" y="0"/>
                  <a:pt x="15343" y="0"/>
                  <a:pt x="15343" y="0"/>
                </a:cubicBezTo>
                <a:lnTo>
                  <a:pt x="283" y="0"/>
                </a:lnTo>
              </a:path>
            </a:pathLst>
          </a:custGeom>
          <a:solidFill>
            <a:schemeClr val="bg1">
              <a:lumMod val="95000"/>
            </a:schemeClr>
          </a:solidFill>
          <a:ln>
            <a:noFill/>
          </a:ln>
          <a:effectLst/>
        </p:spPr>
        <p:txBody>
          <a:bodyPr wrap="none" anchor="ctr"/>
          <a:lstStyle/>
          <a:p>
            <a:endParaRPr lang="en-GB" sz="2251" dirty="0">
              <a:latin typeface="+mj-lt"/>
              <a:ea typeface="Roboto" charset="0"/>
              <a:cs typeface="Roboto" charset="0"/>
            </a:endParaRPr>
          </a:p>
        </p:txBody>
      </p:sp>
      <p:sp>
        <p:nvSpPr>
          <p:cNvPr id="67" name="Freeform 144">
            <a:extLst>
              <a:ext uri="{FF2B5EF4-FFF2-40B4-BE49-F238E27FC236}">
                <a16:creationId xmlns:a16="http://schemas.microsoft.com/office/drawing/2014/main" xmlns="" id="{5EF8FE19-C9DC-4750-8A39-D4877C8FADEC}"/>
              </a:ext>
            </a:extLst>
          </p:cNvPr>
          <p:cNvSpPr>
            <a:spLocks noChangeArrowheads="1"/>
          </p:cNvSpPr>
          <p:nvPr/>
        </p:nvSpPr>
        <p:spPr bwMode="auto">
          <a:xfrm>
            <a:off x="6545299" y="2466204"/>
            <a:ext cx="561322" cy="1413567"/>
          </a:xfrm>
          <a:custGeom>
            <a:avLst/>
            <a:gdLst>
              <a:gd name="T0" fmla="*/ 3240 w 3550"/>
              <a:gd name="T1" fmla="*/ 0 h 3876"/>
              <a:gd name="T2" fmla="*/ 3240 w 3550"/>
              <a:gd name="T3" fmla="*/ 0 h 3876"/>
              <a:gd name="T4" fmla="*/ 300 w 3550"/>
              <a:gd name="T5" fmla="*/ 0 h 3876"/>
              <a:gd name="T6" fmla="*/ 0 w 3550"/>
              <a:gd name="T7" fmla="*/ 0 h 3876"/>
              <a:gd name="T8" fmla="*/ 300 w 3550"/>
              <a:gd name="T9" fmla="*/ 300 h 3876"/>
              <a:gd name="T10" fmla="*/ 300 w 3550"/>
              <a:gd name="T11" fmla="*/ 3695 h 3876"/>
              <a:gd name="T12" fmla="*/ 489 w 3550"/>
              <a:gd name="T13" fmla="*/ 3875 h 3876"/>
              <a:gd name="T14" fmla="*/ 3360 w 3550"/>
              <a:gd name="T15" fmla="*/ 3875 h 3876"/>
              <a:gd name="T16" fmla="*/ 3549 w 3550"/>
              <a:gd name="T17" fmla="*/ 3695 h 3876"/>
              <a:gd name="T18" fmla="*/ 3549 w 3550"/>
              <a:gd name="T19" fmla="*/ 300 h 3876"/>
              <a:gd name="T20" fmla="*/ 3240 w 3550"/>
              <a:gd name="T21" fmla="*/ 0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0" h="3876">
                <a:moveTo>
                  <a:pt x="3240" y="0"/>
                </a:moveTo>
                <a:lnTo>
                  <a:pt x="3240" y="0"/>
                </a:lnTo>
                <a:cubicBezTo>
                  <a:pt x="300" y="0"/>
                  <a:pt x="300" y="0"/>
                  <a:pt x="300" y="0"/>
                </a:cubicBezTo>
                <a:cubicBezTo>
                  <a:pt x="0" y="0"/>
                  <a:pt x="0" y="0"/>
                  <a:pt x="0" y="0"/>
                </a:cubicBezTo>
                <a:cubicBezTo>
                  <a:pt x="163" y="0"/>
                  <a:pt x="300" y="137"/>
                  <a:pt x="300" y="300"/>
                </a:cubicBezTo>
                <a:cubicBezTo>
                  <a:pt x="300" y="3695"/>
                  <a:pt x="300" y="3695"/>
                  <a:pt x="300" y="3695"/>
                </a:cubicBezTo>
                <a:cubicBezTo>
                  <a:pt x="300" y="3798"/>
                  <a:pt x="386" y="3875"/>
                  <a:pt x="489" y="3875"/>
                </a:cubicBezTo>
                <a:cubicBezTo>
                  <a:pt x="3360" y="3875"/>
                  <a:pt x="3360" y="3875"/>
                  <a:pt x="3360" y="3875"/>
                </a:cubicBezTo>
                <a:cubicBezTo>
                  <a:pt x="3463" y="3875"/>
                  <a:pt x="3549" y="3798"/>
                  <a:pt x="3549" y="3695"/>
                </a:cubicBezTo>
                <a:cubicBezTo>
                  <a:pt x="3549" y="300"/>
                  <a:pt x="3549" y="300"/>
                  <a:pt x="3549" y="300"/>
                </a:cubicBezTo>
                <a:cubicBezTo>
                  <a:pt x="3549" y="137"/>
                  <a:pt x="3412" y="0"/>
                  <a:pt x="3240" y="0"/>
                </a:cubicBezTo>
              </a:path>
            </a:pathLst>
          </a:custGeom>
          <a:solidFill>
            <a:schemeClr val="accent2"/>
          </a:solidFill>
          <a:ln>
            <a:noFill/>
          </a:ln>
          <a:effectLst>
            <a:outerShdw blurRad="165100" dist="127000" dir="5400000" sx="101000" sy="101000" algn="t" rotWithShape="0">
              <a:prstClr val="black">
                <a:alpha val="40000"/>
              </a:prstClr>
            </a:outerShdw>
          </a:effectLst>
        </p:spPr>
        <p:txBody>
          <a:bodyPr wrap="none" anchor="ctr"/>
          <a:lstStyle/>
          <a:p>
            <a:endParaRPr lang="en-GB" sz="2251" dirty="0">
              <a:latin typeface="+mj-lt"/>
              <a:ea typeface="Roboto" charset="0"/>
              <a:cs typeface="Roboto" charset="0"/>
            </a:endParaRPr>
          </a:p>
        </p:txBody>
      </p:sp>
      <p:sp>
        <p:nvSpPr>
          <p:cNvPr id="68" name="Freeform 145">
            <a:extLst>
              <a:ext uri="{FF2B5EF4-FFF2-40B4-BE49-F238E27FC236}">
                <a16:creationId xmlns:a16="http://schemas.microsoft.com/office/drawing/2014/main" xmlns="" id="{0D148657-F553-4DF6-B3AA-AF048E612B43}"/>
              </a:ext>
            </a:extLst>
          </p:cNvPr>
          <p:cNvSpPr>
            <a:spLocks noChangeArrowheads="1"/>
          </p:cNvSpPr>
          <p:nvPr/>
        </p:nvSpPr>
        <p:spPr bwMode="auto">
          <a:xfrm flipH="1">
            <a:off x="6496725" y="2466207"/>
            <a:ext cx="96863" cy="112341"/>
          </a:xfrm>
          <a:custGeom>
            <a:avLst/>
            <a:gdLst>
              <a:gd name="T0" fmla="*/ 381 w 763"/>
              <a:gd name="T1" fmla="*/ 0 h 382"/>
              <a:gd name="T2" fmla="*/ 381 w 763"/>
              <a:gd name="T3" fmla="*/ 0 h 382"/>
              <a:gd name="T4" fmla="*/ 0 w 763"/>
              <a:gd name="T5" fmla="*/ 381 h 382"/>
              <a:gd name="T6" fmla="*/ 762 w 763"/>
              <a:gd name="T7" fmla="*/ 381 h 382"/>
              <a:gd name="T8" fmla="*/ 381 w 763"/>
              <a:gd name="T9" fmla="*/ 0 h 382"/>
            </a:gdLst>
            <a:ahLst/>
            <a:cxnLst>
              <a:cxn ang="0">
                <a:pos x="T0" y="T1"/>
              </a:cxn>
              <a:cxn ang="0">
                <a:pos x="T2" y="T3"/>
              </a:cxn>
              <a:cxn ang="0">
                <a:pos x="T4" y="T5"/>
              </a:cxn>
              <a:cxn ang="0">
                <a:pos x="T6" y="T7"/>
              </a:cxn>
              <a:cxn ang="0">
                <a:pos x="T8" y="T9"/>
              </a:cxn>
            </a:cxnLst>
            <a:rect l="0" t="0" r="r" b="b"/>
            <a:pathLst>
              <a:path w="763" h="382">
                <a:moveTo>
                  <a:pt x="381" y="0"/>
                </a:moveTo>
                <a:lnTo>
                  <a:pt x="381" y="0"/>
                </a:lnTo>
                <a:cubicBezTo>
                  <a:pt x="172" y="0"/>
                  <a:pt x="0" y="170"/>
                  <a:pt x="0" y="381"/>
                </a:cubicBezTo>
                <a:cubicBezTo>
                  <a:pt x="762" y="381"/>
                  <a:pt x="762" y="381"/>
                  <a:pt x="762" y="381"/>
                </a:cubicBezTo>
                <a:cubicBezTo>
                  <a:pt x="762" y="170"/>
                  <a:pt x="592" y="0"/>
                  <a:pt x="381" y="0"/>
                </a:cubicBezTo>
              </a:path>
            </a:pathLst>
          </a:custGeom>
          <a:solidFill>
            <a:schemeClr val="accent2">
              <a:lumMod val="75000"/>
            </a:schemeClr>
          </a:solidFill>
          <a:ln>
            <a:noFill/>
          </a:ln>
          <a:effectLst/>
        </p:spPr>
        <p:txBody>
          <a:bodyPr wrap="none" anchor="ctr"/>
          <a:lstStyle/>
          <a:p>
            <a:endParaRPr lang="en-GB" sz="2251" dirty="0">
              <a:latin typeface="+mj-lt"/>
              <a:ea typeface="Roboto" charset="0"/>
              <a:cs typeface="Roboto" charset="0"/>
            </a:endParaRPr>
          </a:p>
        </p:txBody>
      </p:sp>
      <p:sp>
        <p:nvSpPr>
          <p:cNvPr id="69" name="Freeform 146">
            <a:extLst>
              <a:ext uri="{FF2B5EF4-FFF2-40B4-BE49-F238E27FC236}">
                <a16:creationId xmlns:a16="http://schemas.microsoft.com/office/drawing/2014/main" xmlns="" id="{214674B2-8436-40B6-BB4F-F99223D8E2B4}"/>
              </a:ext>
            </a:extLst>
          </p:cNvPr>
          <p:cNvSpPr>
            <a:spLocks noChangeArrowheads="1"/>
          </p:cNvSpPr>
          <p:nvPr/>
        </p:nvSpPr>
        <p:spPr bwMode="auto">
          <a:xfrm>
            <a:off x="8914278" y="2578545"/>
            <a:ext cx="72748" cy="1763251"/>
          </a:xfrm>
          <a:custGeom>
            <a:avLst/>
            <a:gdLst>
              <a:gd name="T0" fmla="*/ 253 w 526"/>
              <a:gd name="T1" fmla="*/ 0 h 3985"/>
              <a:gd name="T2" fmla="*/ 253 w 526"/>
              <a:gd name="T3" fmla="*/ 0 h 3985"/>
              <a:gd name="T4" fmla="*/ 0 w 526"/>
              <a:gd name="T5" fmla="*/ 0 h 3985"/>
              <a:gd name="T6" fmla="*/ 0 w 526"/>
              <a:gd name="T7" fmla="*/ 3984 h 3985"/>
              <a:gd name="T8" fmla="*/ 253 w 526"/>
              <a:gd name="T9" fmla="*/ 3984 h 3985"/>
              <a:gd name="T10" fmla="*/ 525 w 526"/>
              <a:gd name="T11" fmla="*/ 3716 h 3985"/>
              <a:gd name="T12" fmla="*/ 525 w 526"/>
              <a:gd name="T13" fmla="*/ 268 h 3985"/>
              <a:gd name="T14" fmla="*/ 253 w 526"/>
              <a:gd name="T15" fmla="*/ 0 h 3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6" h="3985">
                <a:moveTo>
                  <a:pt x="253" y="0"/>
                </a:moveTo>
                <a:lnTo>
                  <a:pt x="253" y="0"/>
                </a:lnTo>
                <a:cubicBezTo>
                  <a:pt x="0" y="0"/>
                  <a:pt x="0" y="0"/>
                  <a:pt x="0" y="0"/>
                </a:cubicBezTo>
                <a:cubicBezTo>
                  <a:pt x="0" y="3984"/>
                  <a:pt x="0" y="3984"/>
                  <a:pt x="0" y="3984"/>
                </a:cubicBezTo>
                <a:cubicBezTo>
                  <a:pt x="253" y="3984"/>
                  <a:pt x="253" y="3984"/>
                  <a:pt x="253" y="3984"/>
                </a:cubicBezTo>
                <a:cubicBezTo>
                  <a:pt x="404" y="3984"/>
                  <a:pt x="525" y="3863"/>
                  <a:pt x="525" y="3716"/>
                </a:cubicBezTo>
                <a:cubicBezTo>
                  <a:pt x="525" y="268"/>
                  <a:pt x="525" y="268"/>
                  <a:pt x="525" y="268"/>
                </a:cubicBezTo>
                <a:cubicBezTo>
                  <a:pt x="525" y="121"/>
                  <a:pt x="404" y="0"/>
                  <a:pt x="253" y="0"/>
                </a:cubicBezTo>
              </a:path>
            </a:pathLst>
          </a:custGeom>
          <a:solidFill>
            <a:schemeClr val="accent2"/>
          </a:solidFill>
          <a:ln>
            <a:noFill/>
          </a:ln>
          <a:effectLst/>
        </p:spPr>
        <p:txBody>
          <a:bodyPr wrap="none" anchor="ctr"/>
          <a:lstStyle/>
          <a:p>
            <a:endParaRPr lang="en-GB" sz="2251" dirty="0">
              <a:latin typeface="+mj-lt"/>
              <a:ea typeface="Roboto" charset="0"/>
              <a:cs typeface="Roboto" charset="0"/>
            </a:endParaRPr>
          </a:p>
        </p:txBody>
      </p:sp>
      <p:sp>
        <p:nvSpPr>
          <p:cNvPr id="70" name="TextBox 49">
            <a:extLst>
              <a:ext uri="{FF2B5EF4-FFF2-40B4-BE49-F238E27FC236}">
                <a16:creationId xmlns:a16="http://schemas.microsoft.com/office/drawing/2014/main" xmlns="" id="{B1EBF8D8-54F5-47BA-815B-1989E6E2A138}"/>
              </a:ext>
            </a:extLst>
          </p:cNvPr>
          <p:cNvSpPr txBox="1"/>
          <p:nvPr/>
        </p:nvSpPr>
        <p:spPr>
          <a:xfrm>
            <a:off x="6444603" y="2626951"/>
            <a:ext cx="666401" cy="276999"/>
          </a:xfrm>
          <a:prstGeom prst="rect">
            <a:avLst/>
          </a:prstGeom>
          <a:noFill/>
        </p:spPr>
        <p:txBody>
          <a:bodyPr wrap="none" lIns="91440" tIns="45720" rIns="91440" bIns="45720" rtlCol="0" anchor="ctr" anchorCtr="0">
            <a:spAutoFit/>
          </a:bodyPr>
          <a:lstStyle/>
          <a:p>
            <a:pPr algn="ctr"/>
            <a:r>
              <a:rPr lang="en-GB" sz="1200" b="1">
                <a:solidFill>
                  <a:schemeClr val="bg1"/>
                </a:solidFill>
                <a:latin typeface="+mj-lt"/>
                <a:ea typeface="Roboto" charset="0"/>
                <a:cs typeface="Roboto" charset="0"/>
              </a:rPr>
              <a:t>OPCIÓN</a:t>
            </a:r>
          </a:p>
        </p:txBody>
      </p:sp>
      <p:sp>
        <p:nvSpPr>
          <p:cNvPr id="71" name="TextBox 50">
            <a:extLst>
              <a:ext uri="{FF2B5EF4-FFF2-40B4-BE49-F238E27FC236}">
                <a16:creationId xmlns:a16="http://schemas.microsoft.com/office/drawing/2014/main" xmlns="" id="{008B53E9-0968-4169-B4DC-C320B689EDCC}"/>
              </a:ext>
            </a:extLst>
          </p:cNvPr>
          <p:cNvSpPr txBox="1"/>
          <p:nvPr/>
        </p:nvSpPr>
        <p:spPr>
          <a:xfrm>
            <a:off x="6640432" y="2820015"/>
            <a:ext cx="415502" cy="450253"/>
          </a:xfrm>
          <a:prstGeom prst="rect">
            <a:avLst/>
          </a:prstGeom>
          <a:noFill/>
        </p:spPr>
        <p:txBody>
          <a:bodyPr wrap="none" lIns="34292" tIns="17146" rIns="34292" bIns="17146" rtlCol="0">
            <a:spAutoFit/>
          </a:bodyPr>
          <a:lstStyle/>
          <a:p>
            <a:pPr algn="ctr"/>
            <a:r>
              <a:rPr lang="en-GB" sz="2701" b="1">
                <a:solidFill>
                  <a:schemeClr val="bg1"/>
                </a:solidFill>
                <a:latin typeface="+mj-lt"/>
                <a:ea typeface="Roboto" charset="0"/>
                <a:cs typeface="Roboto" charset="0"/>
              </a:rPr>
              <a:t>02</a:t>
            </a:r>
            <a:endParaRPr lang="en-GB" sz="2701" b="1" dirty="0">
              <a:solidFill>
                <a:schemeClr val="bg1"/>
              </a:solidFill>
              <a:latin typeface="+mj-lt"/>
              <a:ea typeface="Roboto" charset="0"/>
              <a:cs typeface="Roboto" charset="0"/>
            </a:endParaRPr>
          </a:p>
        </p:txBody>
      </p:sp>
      <p:sp>
        <p:nvSpPr>
          <p:cNvPr id="72" name="Subtitle 2">
            <a:extLst>
              <a:ext uri="{FF2B5EF4-FFF2-40B4-BE49-F238E27FC236}">
                <a16:creationId xmlns:a16="http://schemas.microsoft.com/office/drawing/2014/main" xmlns="" id="{A236E1F9-4769-455E-8694-8D9ABE3C926B}"/>
              </a:ext>
            </a:extLst>
          </p:cNvPr>
          <p:cNvSpPr txBox="1">
            <a:spLocks/>
          </p:cNvSpPr>
          <p:nvPr/>
        </p:nvSpPr>
        <p:spPr>
          <a:xfrm>
            <a:off x="7146734" y="2882139"/>
            <a:ext cx="1767545" cy="134836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65"/>
              </a:lnSpc>
            </a:pPr>
            <a:r>
              <a:rPr lang="en-GB" sz="1600" dirty="0">
                <a:solidFill>
                  <a:schemeClr val="tx2">
                    <a:lumMod val="50000"/>
                  </a:schemeClr>
                </a:solidFill>
                <a:latin typeface="+mj-lt"/>
                <a:ea typeface="Roboto" charset="0"/>
                <a:cs typeface="Roboto" charset="0"/>
              </a:rPr>
              <a:t>Venta de activos no operativos (por ejemplo, terrenos de reserva o antiguas instalaciones de producción, almacenamiento y explotación)</a:t>
            </a:r>
          </a:p>
        </p:txBody>
      </p:sp>
      <p:sp>
        <p:nvSpPr>
          <p:cNvPr id="73" name="Rectangle 52">
            <a:extLst>
              <a:ext uri="{FF2B5EF4-FFF2-40B4-BE49-F238E27FC236}">
                <a16:creationId xmlns:a16="http://schemas.microsoft.com/office/drawing/2014/main" xmlns="" id="{613DC1BD-3762-48CA-81C5-60D226D60900}"/>
              </a:ext>
            </a:extLst>
          </p:cNvPr>
          <p:cNvSpPr>
            <a:spLocks/>
          </p:cNvSpPr>
          <p:nvPr/>
        </p:nvSpPr>
        <p:spPr bwMode="auto">
          <a:xfrm>
            <a:off x="7217491" y="2502776"/>
            <a:ext cx="1527919" cy="326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defTabSz="1714957">
              <a:lnSpc>
                <a:spcPts val="2903"/>
              </a:lnSpc>
            </a:pPr>
            <a:r>
              <a:rPr lang="en-GB" sz="1400" b="1">
                <a:solidFill>
                  <a:schemeClr val="tx2">
                    <a:lumMod val="50000"/>
                  </a:schemeClr>
                </a:solidFill>
                <a:latin typeface="+mj-lt"/>
                <a:ea typeface="Roboto" charset="0"/>
                <a:cs typeface="Roboto" charset="0"/>
                <a:sym typeface="Bebas Neue" charset="0"/>
              </a:rPr>
              <a:t>Activos no operativos</a:t>
            </a:r>
            <a:endParaRPr lang="en-GB" sz="1400" b="1" dirty="0">
              <a:solidFill>
                <a:schemeClr val="tx2">
                  <a:lumMod val="50000"/>
                </a:schemeClr>
              </a:solidFill>
              <a:latin typeface="+mj-lt"/>
              <a:ea typeface="Roboto" charset="0"/>
              <a:cs typeface="Roboto" charset="0"/>
              <a:sym typeface="Bebas Neue" charset="0"/>
            </a:endParaRPr>
          </a:p>
        </p:txBody>
      </p:sp>
      <p:sp>
        <p:nvSpPr>
          <p:cNvPr id="74" name="TextBox 51">
            <a:extLst>
              <a:ext uri="{FF2B5EF4-FFF2-40B4-BE49-F238E27FC236}">
                <a16:creationId xmlns:a16="http://schemas.microsoft.com/office/drawing/2014/main" xmlns="" id="{93E0A6A2-CB2E-483F-8E1F-B94E4533831E}"/>
              </a:ext>
            </a:extLst>
          </p:cNvPr>
          <p:cNvSpPr txBox="1"/>
          <p:nvPr/>
        </p:nvSpPr>
        <p:spPr>
          <a:xfrm>
            <a:off x="3602863" y="1956169"/>
            <a:ext cx="2301656"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Fuentes de financiación interna</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4861606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Superar una crisis de liquidez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2976" y="2009524"/>
            <a:ext cx="3016503" cy="456052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n caso de una crisis de liquidez aguda y de un riesgo de insolvencia concreto, deben utilizarse todas las opciones pertinentes.</a:t>
            </a:r>
            <a:endParaRPr lang="en-US"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empre que exista un concepto de reestructuración coherente, muchas de las partes implicadas suelen estar dispuestas a apoyar, ya que de lo contrario, en caso de duda, también se enfrentarían a un alto riesgo de pérdida.</a:t>
            </a:r>
          </a:p>
        </p:txBody>
      </p:sp>
      <p:sp>
        <p:nvSpPr>
          <p:cNvPr id="74" name="TextBox 51">
            <a:extLst>
              <a:ext uri="{FF2B5EF4-FFF2-40B4-BE49-F238E27FC236}">
                <a16:creationId xmlns:a16="http://schemas.microsoft.com/office/drawing/2014/main" xmlns="" id="{93E0A6A2-CB2E-483F-8E1F-B94E4533831E}"/>
              </a:ext>
            </a:extLst>
          </p:cNvPr>
          <p:cNvSpPr txBox="1"/>
          <p:nvPr/>
        </p:nvSpPr>
        <p:spPr>
          <a:xfrm>
            <a:off x="3802029" y="1809501"/>
            <a:ext cx="8204554" cy="369332"/>
          </a:xfrm>
          <a:prstGeom prst="rect">
            <a:avLst/>
          </a:prstGeom>
          <a:noFill/>
        </p:spPr>
        <p:txBody>
          <a:bodyPr wrap="none" rtlCol="0" anchor="b" anchorCtr="0">
            <a:spAutoFit/>
          </a:bodyPr>
          <a:lstStyle/>
          <a:p>
            <a:r>
              <a:rPr lang="en-GB" b="1" dirty="0">
                <a:solidFill>
                  <a:srgbClr val="E53292"/>
                </a:solidFill>
                <a:latin typeface="+mj-lt"/>
                <a:ea typeface="League Spartan" charset="0"/>
                <a:cs typeface="Poppins" pitchFamily="2" charset="77"/>
              </a:rPr>
              <a:t>Resumen de las medidas de prevención de la insolvencia y la crisis de liquidez por propietario de la medida</a:t>
            </a:r>
          </a:p>
        </p:txBody>
      </p:sp>
      <p:graphicFrame>
        <p:nvGraphicFramePr>
          <p:cNvPr id="3" name="Tabelle 4">
            <a:extLst>
              <a:ext uri="{FF2B5EF4-FFF2-40B4-BE49-F238E27FC236}">
                <a16:creationId xmlns:a16="http://schemas.microsoft.com/office/drawing/2014/main" xmlns="" id="{FEE08F07-C98B-4852-A4C2-8601CAB4C48C}"/>
              </a:ext>
            </a:extLst>
          </p:cNvPr>
          <p:cNvGraphicFramePr>
            <a:graphicFrameLocks noGrp="1"/>
          </p:cNvGraphicFramePr>
          <p:nvPr>
            <p:extLst>
              <p:ext uri="{D42A27DB-BD31-4B8C-83A1-F6EECF244321}">
                <p14:modId xmlns:p14="http://schemas.microsoft.com/office/powerpoint/2010/main" val="249455856"/>
              </p:ext>
            </p:extLst>
          </p:nvPr>
        </p:nvGraphicFramePr>
        <p:xfrm>
          <a:off x="3886710" y="2301342"/>
          <a:ext cx="8128000" cy="4389120"/>
        </p:xfrm>
        <a:graphic>
          <a:graphicData uri="http://schemas.openxmlformats.org/drawingml/2006/table">
            <a:tbl>
              <a:tblPr firstRow="1" bandRow="1">
                <a:tableStyleId>{69CF1AB2-1976-4502-BF36-3FF5EA218861}</a:tableStyleId>
              </a:tblPr>
              <a:tblGrid>
                <a:gridCol w="4064000">
                  <a:extLst>
                    <a:ext uri="{9D8B030D-6E8A-4147-A177-3AD203B41FA5}">
                      <a16:colId xmlns:a16="http://schemas.microsoft.com/office/drawing/2014/main" xmlns="" val="2316038855"/>
                    </a:ext>
                  </a:extLst>
                </a:gridCol>
                <a:gridCol w="4064000">
                  <a:extLst>
                    <a:ext uri="{9D8B030D-6E8A-4147-A177-3AD203B41FA5}">
                      <a16:colId xmlns:a16="http://schemas.microsoft.com/office/drawing/2014/main" xmlns="" val="2931104785"/>
                    </a:ext>
                  </a:extLst>
                </a:gridCol>
              </a:tblGrid>
              <a:tr h="1070550">
                <a:tc>
                  <a:txBody>
                    <a:bodyPr/>
                    <a:lstStyle/>
                    <a:p>
                      <a:r>
                        <a:rPr lang="en-GB" sz="1800">
                          <a:solidFill>
                            <a:srgbClr val="245473"/>
                          </a:solidFill>
                          <a:latin typeface="+mj-lt"/>
                        </a:rPr>
                        <a:t>Accionista</a:t>
                      </a:r>
                    </a:p>
                    <a:p>
                      <a:pPr marL="285750" indent="-285750">
                        <a:buFont typeface="Arial" panose="020B0604020202020204" pitchFamily="34" charset="0"/>
                        <a:buChar char="•"/>
                      </a:pPr>
                      <a:r>
                        <a:rPr lang="en-GB" sz="1800" b="0">
                          <a:solidFill>
                            <a:srgbClr val="245473"/>
                          </a:solidFill>
                          <a:latin typeface="+mj-lt"/>
                        </a:rPr>
                        <a:t>Inyección de capital</a:t>
                      </a:r>
                    </a:p>
                    <a:p>
                      <a:pPr marL="285750" indent="-285750">
                        <a:buFont typeface="Arial" panose="020B0604020202020204" pitchFamily="34" charset="0"/>
                        <a:buChar char="•"/>
                      </a:pPr>
                      <a:r>
                        <a:rPr lang="en-GB" sz="1800" b="0">
                          <a:solidFill>
                            <a:srgbClr val="245473"/>
                          </a:solidFill>
                          <a:latin typeface="+mj-lt"/>
                        </a:rPr>
                        <a:t>Préstamo a los accionistas</a:t>
                      </a:r>
                    </a:p>
                    <a:p>
                      <a:pPr marL="285750" indent="-285750">
                        <a:buFont typeface="Arial" panose="020B0604020202020204" pitchFamily="34" charset="0"/>
                        <a:buChar char="•"/>
                      </a:pPr>
                      <a:r>
                        <a:rPr lang="en-GB" sz="1800" b="0">
                          <a:solidFill>
                            <a:srgbClr val="245473"/>
                          </a:solidFill>
                          <a:latin typeface="+mj-lt"/>
                        </a:rPr>
                        <a:t>Pago del depósito</a:t>
                      </a:r>
                      <a:endParaRPr lang="en-GB" sz="1800" dirty="0">
                        <a:solidFill>
                          <a:srgbClr val="245473"/>
                        </a:solidFill>
                        <a:latin typeface="+mj-lt"/>
                      </a:endParaRPr>
                    </a:p>
                  </a:txBody>
                  <a:tcPr/>
                </a:tc>
                <a:tc>
                  <a:txBody>
                    <a:bodyPr/>
                    <a:lstStyle/>
                    <a:p>
                      <a:r>
                        <a:rPr lang="en-GB" sz="1800">
                          <a:solidFill>
                            <a:srgbClr val="245473"/>
                          </a:solidFill>
                          <a:latin typeface="+mj-lt"/>
                        </a:rPr>
                        <a:t>Acreedor fiscal</a:t>
                      </a:r>
                    </a:p>
                    <a:p>
                      <a:pPr marL="285750" indent="-285750">
                        <a:buFont typeface="Arial" panose="020B0604020202020204" pitchFamily="34" charset="0"/>
                        <a:buChar char="•"/>
                      </a:pPr>
                      <a:r>
                        <a:rPr lang="en-GB" sz="1800" b="0">
                          <a:solidFill>
                            <a:srgbClr val="245473"/>
                          </a:solidFill>
                          <a:latin typeface="+mj-lt"/>
                        </a:rPr>
                        <a:t>Aplazamiento de la deuda tributaria</a:t>
                      </a:r>
                    </a:p>
                    <a:p>
                      <a:pPr marL="285750" indent="-285750">
                        <a:buFont typeface="Arial" panose="020B0604020202020204" pitchFamily="34" charset="0"/>
                        <a:buChar char="•"/>
                      </a:pPr>
                      <a:r>
                        <a:rPr lang="en-GB" sz="1800" b="0">
                          <a:solidFill>
                            <a:srgbClr val="245473"/>
                          </a:solidFill>
                          <a:latin typeface="+mj-lt"/>
                        </a:rPr>
                        <a:t>Decreto</a:t>
                      </a:r>
                    </a:p>
                    <a:p>
                      <a:pPr marL="285750" indent="-285750">
                        <a:buFont typeface="Arial" panose="020B0604020202020204" pitchFamily="34" charset="0"/>
                        <a:buChar char="•"/>
                      </a:pPr>
                      <a:r>
                        <a:rPr lang="en-GB" sz="1800" b="0">
                          <a:solidFill>
                            <a:srgbClr val="245473"/>
                          </a:solidFill>
                          <a:latin typeface="+mj-lt"/>
                        </a:rPr>
                        <a:t>Suspensión de la ejecución</a:t>
                      </a:r>
                      <a:endParaRPr lang="en-GB" sz="1800" b="0" dirty="0">
                        <a:solidFill>
                          <a:srgbClr val="245473"/>
                        </a:solidFill>
                        <a:latin typeface="+mj-lt"/>
                      </a:endParaRPr>
                    </a:p>
                  </a:txBody>
                  <a:tcPr/>
                </a:tc>
                <a:extLst>
                  <a:ext uri="{0D108BD9-81ED-4DB2-BD59-A6C34878D82A}">
                    <a16:rowId xmlns:a16="http://schemas.microsoft.com/office/drawing/2014/main" xmlns="" val="3845018571"/>
                  </a:ext>
                </a:extLst>
              </a:tr>
              <a:tr h="1101487">
                <a:tc>
                  <a:txBody>
                    <a:bodyPr/>
                    <a:lstStyle/>
                    <a:p>
                      <a:r>
                        <a:rPr lang="en-GB" sz="1800" b="1">
                          <a:solidFill>
                            <a:srgbClr val="245473"/>
                          </a:solidFill>
                          <a:latin typeface="+mj-lt"/>
                        </a:rPr>
                        <a:t>Acreedores del proveedor</a:t>
                      </a:r>
                    </a:p>
                    <a:p>
                      <a:pPr marL="285750" indent="-285750">
                        <a:buFont typeface="Arial" panose="020B0604020202020204" pitchFamily="34" charset="0"/>
                        <a:buChar char="•"/>
                      </a:pPr>
                      <a:r>
                        <a:rPr lang="en-GB" sz="1800">
                          <a:solidFill>
                            <a:srgbClr val="245473"/>
                          </a:solidFill>
                          <a:latin typeface="+mj-lt"/>
                        </a:rPr>
                        <a:t>Prolongación del plazo de pago</a:t>
                      </a:r>
                    </a:p>
                    <a:p>
                      <a:pPr marL="285750" indent="-285750">
                        <a:buFont typeface="Arial" panose="020B0604020202020204" pitchFamily="34" charset="0"/>
                        <a:buChar char="•"/>
                      </a:pPr>
                      <a:r>
                        <a:rPr lang="en-GB" sz="1800">
                          <a:solidFill>
                            <a:srgbClr val="245473"/>
                          </a:solidFill>
                          <a:latin typeface="+mj-lt"/>
                        </a:rPr>
                        <a:t>Aplazamiento</a:t>
                      </a:r>
                    </a:p>
                    <a:p>
                      <a:pPr marL="285750" indent="-285750">
                        <a:buFont typeface="Arial" panose="020B0604020202020204" pitchFamily="34" charset="0"/>
                        <a:buChar char="•"/>
                      </a:pPr>
                      <a:r>
                        <a:rPr lang="en-GB" sz="1800">
                          <a:solidFill>
                            <a:srgbClr val="245473"/>
                          </a:solidFill>
                          <a:latin typeface="+mj-lt"/>
                        </a:rPr>
                        <a:t>Acuerdo de pago a plazos</a:t>
                      </a:r>
                    </a:p>
                    <a:p>
                      <a:pPr marL="285750" indent="-285750">
                        <a:buFont typeface="Arial" panose="020B0604020202020204" pitchFamily="34" charset="0"/>
                        <a:buChar char="•"/>
                      </a:pPr>
                      <a:r>
                        <a:rPr lang="en-GB" sz="1800">
                          <a:solidFill>
                            <a:srgbClr val="245473"/>
                          </a:solidFill>
                          <a:latin typeface="+mj-lt"/>
                        </a:rPr>
                        <a:t>Reducción de intereses</a:t>
                      </a:r>
                      <a:endParaRPr lang="en-GB" sz="1800" dirty="0">
                        <a:solidFill>
                          <a:srgbClr val="245473"/>
                        </a:solidFill>
                        <a:latin typeface="+mj-lt"/>
                      </a:endParaRPr>
                    </a:p>
                  </a:txBody>
                  <a:tcPr/>
                </a:tc>
                <a:tc>
                  <a:txBody>
                    <a:bodyPr/>
                    <a:lstStyle/>
                    <a:p>
                      <a:r>
                        <a:rPr lang="en-GB" sz="1800" b="1">
                          <a:solidFill>
                            <a:srgbClr val="245473"/>
                          </a:solidFill>
                          <a:latin typeface="+mj-lt"/>
                        </a:rPr>
                        <a:t>Agencia de la Seguridad Social</a:t>
                      </a:r>
                    </a:p>
                    <a:p>
                      <a:pPr marL="285750" indent="-285750">
                        <a:buFont typeface="Arial" panose="020B0604020202020204" pitchFamily="34" charset="0"/>
                        <a:buChar char="•"/>
                      </a:pPr>
                      <a:r>
                        <a:rPr lang="en-GB" sz="1800">
                          <a:solidFill>
                            <a:srgbClr val="245473"/>
                          </a:solidFill>
                          <a:latin typeface="+mj-lt"/>
                        </a:rPr>
                        <a:t>Aplazamiento de las contribuciones</a:t>
                      </a:r>
                    </a:p>
                    <a:p>
                      <a:pPr marL="285750" indent="-285750">
                        <a:buFont typeface="Arial" panose="020B0604020202020204" pitchFamily="34" charset="0"/>
                        <a:buChar char="•"/>
                      </a:pPr>
                      <a:r>
                        <a:rPr lang="en-GB" sz="1800">
                          <a:solidFill>
                            <a:srgbClr val="245473"/>
                          </a:solidFill>
                          <a:latin typeface="+mj-lt"/>
                        </a:rPr>
                        <a:t>Suspensión de la ejecución</a:t>
                      </a:r>
                      <a:endParaRPr lang="en-GB" sz="1800" dirty="0">
                        <a:solidFill>
                          <a:srgbClr val="245473"/>
                        </a:solidFill>
                        <a:latin typeface="+mj-lt"/>
                      </a:endParaRPr>
                    </a:p>
                  </a:txBody>
                  <a:tcPr/>
                </a:tc>
                <a:extLst>
                  <a:ext uri="{0D108BD9-81ED-4DB2-BD59-A6C34878D82A}">
                    <a16:rowId xmlns:a16="http://schemas.microsoft.com/office/drawing/2014/main" xmlns="" val="2377935020"/>
                  </a:ext>
                </a:extLst>
              </a:tr>
              <a:tr h="1308016">
                <a:tc>
                  <a:txBody>
                    <a:bodyPr/>
                    <a:lstStyle/>
                    <a:p>
                      <a:r>
                        <a:rPr lang="en-GB" sz="1800" b="1" dirty="0">
                          <a:solidFill>
                            <a:srgbClr val="245473"/>
                          </a:solidFill>
                          <a:latin typeface="+mj-lt"/>
                        </a:rPr>
                        <a:t>Acreedores (bancos)</a:t>
                      </a:r>
                    </a:p>
                    <a:p>
                      <a:pPr marL="285750" indent="-285750">
                        <a:buFont typeface="Arial" panose="020B0604020202020204" pitchFamily="34" charset="0"/>
                        <a:buChar char="•"/>
                      </a:pPr>
                      <a:r>
                        <a:rPr lang="en-GB" sz="1800" dirty="0">
                          <a:solidFill>
                            <a:srgbClr val="245473"/>
                          </a:solidFill>
                          <a:latin typeface="+mj-lt"/>
                        </a:rPr>
                        <a:t>Aumento de las líneas de crédito</a:t>
                      </a:r>
                    </a:p>
                    <a:p>
                      <a:pPr marL="285750" indent="-285750">
                        <a:buFont typeface="Arial" panose="020B0604020202020204" pitchFamily="34" charset="0"/>
                        <a:buChar char="•"/>
                      </a:pPr>
                      <a:r>
                        <a:rPr lang="en-GB" sz="1800" dirty="0">
                          <a:solidFill>
                            <a:srgbClr val="245473"/>
                          </a:solidFill>
                          <a:latin typeface="+mj-lt"/>
                        </a:rPr>
                        <a:t>Concesiones de intereses ("intereses de reestructuración")</a:t>
                      </a:r>
                    </a:p>
                    <a:p>
                      <a:pPr marL="285750" indent="-285750">
                        <a:buFont typeface="Arial" panose="020B0604020202020204" pitchFamily="34" charset="0"/>
                        <a:buChar char="•"/>
                      </a:pPr>
                      <a:r>
                        <a:rPr lang="en-GB" sz="1800" dirty="0">
                          <a:solidFill>
                            <a:srgbClr val="245473"/>
                          </a:solidFill>
                          <a:latin typeface="+mj-lt"/>
                        </a:rPr>
                        <a:t>Prolongación</a:t>
                      </a:r>
                    </a:p>
                    <a:p>
                      <a:pPr marL="285750" indent="-285750">
                        <a:buFont typeface="Arial" panose="020B0604020202020204" pitchFamily="34" charset="0"/>
                        <a:buChar char="•"/>
                      </a:pPr>
                      <a:r>
                        <a:rPr lang="en-GB" sz="1800" dirty="0">
                          <a:solidFill>
                            <a:srgbClr val="245473"/>
                          </a:solidFill>
                          <a:latin typeface="+mj-lt"/>
                        </a:rPr>
                        <a:t>Renuncia al reembolso</a:t>
                      </a:r>
                    </a:p>
                  </a:txBody>
                  <a:tcPr/>
                </a:tc>
                <a:tc>
                  <a:txBody>
                    <a:bodyPr/>
                    <a:lstStyle/>
                    <a:p>
                      <a:r>
                        <a:rPr lang="en-GB" sz="1800" b="1" dirty="0">
                          <a:solidFill>
                            <a:srgbClr val="245473"/>
                          </a:solidFill>
                          <a:latin typeface="+mj-lt"/>
                        </a:rPr>
                        <a:t>Sector público</a:t>
                      </a:r>
                    </a:p>
                    <a:p>
                      <a:pPr marL="285750" indent="-285750">
                        <a:buFont typeface="Arial" panose="020B0604020202020204" pitchFamily="34" charset="0"/>
                        <a:buChar char="•"/>
                      </a:pPr>
                      <a:r>
                        <a:rPr lang="en-GB" sz="1800" dirty="0">
                          <a:solidFill>
                            <a:srgbClr val="245473"/>
                          </a:solidFill>
                          <a:latin typeface="+mj-lt"/>
                        </a:rPr>
                        <a:t>Subvenciones</a:t>
                      </a:r>
                    </a:p>
                    <a:p>
                      <a:pPr marL="285750" indent="-285750">
                        <a:buFont typeface="Arial" panose="020B0604020202020204" pitchFamily="34" charset="0"/>
                        <a:buChar char="•"/>
                      </a:pPr>
                      <a:r>
                        <a:rPr lang="en-GB" sz="1800" dirty="0">
                          <a:solidFill>
                            <a:srgbClr val="245473"/>
                          </a:solidFill>
                          <a:latin typeface="+mj-lt"/>
                        </a:rPr>
                        <a:t>Garantías</a:t>
                      </a:r>
                    </a:p>
                    <a:p>
                      <a:pPr marL="285750" indent="-285750">
                        <a:buFont typeface="Arial" panose="020B0604020202020204" pitchFamily="34" charset="0"/>
                        <a:buChar char="•"/>
                      </a:pPr>
                      <a:r>
                        <a:rPr lang="en-GB" sz="1800" dirty="0">
                          <a:solidFill>
                            <a:srgbClr val="245473"/>
                          </a:solidFill>
                          <a:latin typeface="+mj-lt"/>
                        </a:rPr>
                        <a:t>Aprobación de los carteles de la crisis estructural</a:t>
                      </a:r>
                    </a:p>
                  </a:txBody>
                  <a:tcPr/>
                </a:tc>
                <a:extLst>
                  <a:ext uri="{0D108BD9-81ED-4DB2-BD59-A6C34878D82A}">
                    <a16:rowId xmlns:a16="http://schemas.microsoft.com/office/drawing/2014/main" xmlns="" val="3037919259"/>
                  </a:ext>
                </a:extLst>
              </a:tr>
            </a:tbl>
          </a:graphicData>
        </a:graphic>
      </p:graphicFrame>
    </p:spTree>
    <p:extLst>
      <p:ext uri="{BB962C8B-B14F-4D97-AF65-F5344CB8AC3E}">
        <p14:creationId xmlns:p14="http://schemas.microsoft.com/office/powerpoint/2010/main" val="41918898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5981" y="524626"/>
            <a:ext cx="8852375" cy="697353"/>
          </a:xfrm>
        </p:spPr>
        <p:txBody>
          <a:bodyPr>
            <a:normAutofit/>
          </a:bodyPr>
          <a:lstStyle/>
          <a:p>
            <a:r>
              <a:rPr lang="en-GB"/>
              <a:t>Medidas operativas inmediatas </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5392" y="2326598"/>
            <a:ext cx="2520436" cy="346791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os objetivos complementarios sirven para asegurar los fondos propios y la liquidez a corto plazo.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A medio plazo, hacer que la empresa sea competitiva en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el lado de los costes</a:t>
            </a:r>
            <a:endParaRPr lang="en-US" dirty="0">
              <a:solidFill>
                <a:srgbClr val="245473"/>
              </a:solidFill>
            </a:endParaRPr>
          </a:p>
        </p:txBody>
      </p:sp>
      <p:graphicFrame>
        <p:nvGraphicFramePr>
          <p:cNvPr id="5" name="Diagramm 4">
            <a:extLst>
              <a:ext uri="{FF2B5EF4-FFF2-40B4-BE49-F238E27FC236}">
                <a16:creationId xmlns:a16="http://schemas.microsoft.com/office/drawing/2014/main" xmlns="" id="{BEB98607-C343-41EC-86B2-C2281900C00C}"/>
              </a:ext>
            </a:extLst>
          </p:cNvPr>
          <p:cNvGraphicFramePr/>
          <p:nvPr>
            <p:extLst>
              <p:ext uri="{D42A27DB-BD31-4B8C-83A1-F6EECF244321}">
                <p14:modId xmlns:p14="http://schemas.microsoft.com/office/powerpoint/2010/main" val="2918539470"/>
              </p:ext>
            </p:extLst>
          </p:nvPr>
        </p:nvGraphicFramePr>
        <p:xfrm>
          <a:off x="4107465" y="1886291"/>
          <a:ext cx="7883984" cy="51273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Geschweifte Klammer links 5">
            <a:extLst>
              <a:ext uri="{FF2B5EF4-FFF2-40B4-BE49-F238E27FC236}">
                <a16:creationId xmlns:a16="http://schemas.microsoft.com/office/drawing/2014/main" xmlns="" id="{1927B242-A7B8-4A31-9223-6B354D9F389F}"/>
              </a:ext>
            </a:extLst>
          </p:cNvPr>
          <p:cNvSpPr/>
          <p:nvPr/>
        </p:nvSpPr>
        <p:spPr>
          <a:xfrm>
            <a:off x="4369219" y="3472060"/>
            <a:ext cx="121920" cy="198555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 name="Geschweifte Klammer links 7">
            <a:extLst>
              <a:ext uri="{FF2B5EF4-FFF2-40B4-BE49-F238E27FC236}">
                <a16:creationId xmlns:a16="http://schemas.microsoft.com/office/drawing/2014/main" xmlns="" id="{B17663EC-C369-40EB-BABE-DDABE755E008}"/>
              </a:ext>
            </a:extLst>
          </p:cNvPr>
          <p:cNvSpPr/>
          <p:nvPr/>
        </p:nvSpPr>
        <p:spPr>
          <a:xfrm flipH="1">
            <a:off x="11269269" y="3594798"/>
            <a:ext cx="121920" cy="239485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 name="Subtitle 2">
            <a:extLst>
              <a:ext uri="{FF2B5EF4-FFF2-40B4-BE49-F238E27FC236}">
                <a16:creationId xmlns:a16="http://schemas.microsoft.com/office/drawing/2014/main" xmlns="" id="{D36700DA-B29D-4DAD-98B8-F9B89C46DBF5}"/>
              </a:ext>
            </a:extLst>
          </p:cNvPr>
          <p:cNvSpPr txBox="1">
            <a:spLocks/>
          </p:cNvSpPr>
          <p:nvPr/>
        </p:nvSpPr>
        <p:spPr>
          <a:xfrm rot="16200000">
            <a:off x="3030564" y="3971511"/>
            <a:ext cx="1788001" cy="100570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b="1" dirty="0">
                <a:solidFill>
                  <a:schemeClr val="tx2">
                    <a:lumMod val="50000"/>
                  </a:schemeClr>
                </a:solidFill>
                <a:latin typeface="+mj-lt"/>
                <a:ea typeface="Roboto" charset="0"/>
                <a:cs typeface="Roboto" charset="0"/>
              </a:rPr>
              <a:t>Evitar el riesgo de sobreendeudamiento</a:t>
            </a:r>
          </a:p>
        </p:txBody>
      </p:sp>
      <p:sp>
        <p:nvSpPr>
          <p:cNvPr id="10" name="Subtitle 2">
            <a:extLst>
              <a:ext uri="{FF2B5EF4-FFF2-40B4-BE49-F238E27FC236}">
                <a16:creationId xmlns:a16="http://schemas.microsoft.com/office/drawing/2014/main" xmlns="" id="{CE26D60F-77AF-4DFF-B0C3-2465DE5D1BA6}"/>
              </a:ext>
            </a:extLst>
          </p:cNvPr>
          <p:cNvSpPr txBox="1">
            <a:spLocks/>
          </p:cNvSpPr>
          <p:nvPr/>
        </p:nvSpPr>
        <p:spPr>
          <a:xfrm rot="5400000">
            <a:off x="10305781" y="4366729"/>
            <a:ext cx="2874205" cy="66715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900" dirty="0">
                <a:solidFill>
                  <a:srgbClr val="245473"/>
                </a:solidFill>
                <a:latin typeface="+mj-lt"/>
                <a:ea typeface="Roboto" charset="0"/>
                <a:cs typeface="Roboto" charset="0"/>
              </a:rPr>
              <a:t>Prevención de la iliquidez inminente</a:t>
            </a:r>
          </a:p>
        </p:txBody>
      </p:sp>
    </p:spTree>
    <p:extLst>
      <p:ext uri="{BB962C8B-B14F-4D97-AF65-F5344CB8AC3E}">
        <p14:creationId xmlns:p14="http://schemas.microsoft.com/office/powerpoint/2010/main" val="359343403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99524" y="578384"/>
            <a:ext cx="8852375" cy="697353"/>
          </a:xfrm>
        </p:spPr>
        <p:txBody>
          <a:bodyPr>
            <a:normAutofit/>
          </a:bodyPr>
          <a:lstStyle/>
          <a:p>
            <a:r>
              <a:rPr lang="en-GB" dirty="0"/>
              <a:t>Gestión del capital circulant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9631" y="2213106"/>
            <a:ext cx="2520436" cy="312936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gestión del capital circulante o el control del capital circulante tiene por objeto controlar de forma óptima el llamado capital circulante, el capital inmovilizado en una empresa</a:t>
            </a:r>
            <a:endParaRPr lang="en-US" sz="2200" dirty="0">
              <a:solidFill>
                <a:srgbClr val="245473"/>
              </a:solidFill>
            </a:endParaRPr>
          </a:p>
        </p:txBody>
      </p:sp>
      <p:grpSp>
        <p:nvGrpSpPr>
          <p:cNvPr id="11" name="Group 1">
            <a:extLst>
              <a:ext uri="{FF2B5EF4-FFF2-40B4-BE49-F238E27FC236}">
                <a16:creationId xmlns:a16="http://schemas.microsoft.com/office/drawing/2014/main" xmlns="" id="{D31FD468-53C5-42D0-92C9-BE11EC1FB67F}"/>
              </a:ext>
            </a:extLst>
          </p:cNvPr>
          <p:cNvGrpSpPr/>
          <p:nvPr/>
        </p:nvGrpSpPr>
        <p:grpSpPr>
          <a:xfrm rot="5400000">
            <a:off x="5896522" y="2310674"/>
            <a:ext cx="3855966" cy="3432275"/>
            <a:chOff x="7042447" y="3221289"/>
            <a:chExt cx="10279897" cy="9150350"/>
          </a:xfrm>
        </p:grpSpPr>
        <p:sp>
          <p:nvSpPr>
            <p:cNvPr id="12" name="Freeform 20">
              <a:extLst>
                <a:ext uri="{FF2B5EF4-FFF2-40B4-BE49-F238E27FC236}">
                  <a16:creationId xmlns:a16="http://schemas.microsoft.com/office/drawing/2014/main" xmlns="" id="{5420AE3B-72D0-4A9E-BDD2-7738E01B9BC1}"/>
                </a:ext>
              </a:extLst>
            </p:cNvPr>
            <p:cNvSpPr/>
            <p:nvPr/>
          </p:nvSpPr>
          <p:spPr>
            <a:xfrm>
              <a:off x="7629558" y="3221289"/>
              <a:ext cx="9692786" cy="6079229"/>
            </a:xfrm>
            <a:custGeom>
              <a:avLst/>
              <a:gdLst>
                <a:gd name="connsiteX0" fmla="*/ 4559267 w 9692786"/>
                <a:gd name="connsiteY0" fmla="*/ 0 h 6079229"/>
                <a:gd name="connsiteX1" fmla="*/ 9128489 w 9692786"/>
                <a:gd name="connsiteY1" fmla="*/ 4339737 h 6079229"/>
                <a:gd name="connsiteX2" fmla="*/ 9130974 w 9692786"/>
                <a:gd name="connsiteY2" fmla="*/ 4438015 h 6079229"/>
                <a:gd name="connsiteX3" fmla="*/ 9692786 w 9692786"/>
                <a:gd name="connsiteY3" fmla="*/ 4438015 h 6079229"/>
                <a:gd name="connsiteX4" fmla="*/ 7652876 w 9692786"/>
                <a:gd name="connsiteY4" fmla="*/ 6079229 h 6079229"/>
                <a:gd name="connsiteX5" fmla="*/ 5612967 w 9692786"/>
                <a:gd name="connsiteY5" fmla="*/ 4438015 h 6079229"/>
                <a:gd name="connsiteX6" fmla="*/ 6197848 w 9692786"/>
                <a:gd name="connsiteY6" fmla="*/ 4438015 h 6079229"/>
                <a:gd name="connsiteX7" fmla="*/ 6196278 w 9692786"/>
                <a:gd name="connsiteY7" fmla="*/ 4406932 h 6079229"/>
                <a:gd name="connsiteX8" fmla="*/ 4559267 w 9692786"/>
                <a:gd name="connsiteY8" fmla="*/ 2929668 h 6079229"/>
                <a:gd name="connsiteX9" fmla="*/ 2981845 w 9692786"/>
                <a:gd name="connsiteY9" fmla="*/ 4105225 h 6079229"/>
                <a:gd name="connsiteX10" fmla="*/ 2948426 w 9692786"/>
                <a:gd name="connsiteY10" fmla="*/ 4274432 h 6079229"/>
                <a:gd name="connsiteX11" fmla="*/ 1452798 w 9692786"/>
                <a:gd name="connsiteY11" fmla="*/ 3071121 h 6079229"/>
                <a:gd name="connsiteX12" fmla="*/ 0 w 9692786"/>
                <a:gd name="connsiteY12" fmla="*/ 4239974 h 6079229"/>
                <a:gd name="connsiteX13" fmla="*/ 34661 w 9692786"/>
                <a:gd name="connsiteY13" fmla="*/ 3892627 h 6079229"/>
                <a:gd name="connsiteX14" fmla="*/ 4559267 w 9692786"/>
                <a:gd name="connsiteY14" fmla="*/ 0 h 607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92786" h="6079229">
                  <a:moveTo>
                    <a:pt x="4559267" y="0"/>
                  </a:moveTo>
                  <a:cubicBezTo>
                    <a:pt x="7007104" y="0"/>
                    <a:pt x="9005951" y="1922353"/>
                    <a:pt x="9128489" y="4339737"/>
                  </a:cubicBezTo>
                  <a:lnTo>
                    <a:pt x="9130974" y="4438015"/>
                  </a:lnTo>
                  <a:lnTo>
                    <a:pt x="9692786" y="4438015"/>
                  </a:lnTo>
                  <a:lnTo>
                    <a:pt x="7652876" y="6079229"/>
                  </a:lnTo>
                  <a:lnTo>
                    <a:pt x="5612967" y="4438015"/>
                  </a:lnTo>
                  <a:lnTo>
                    <a:pt x="6197848" y="4438015"/>
                  </a:lnTo>
                  <a:lnTo>
                    <a:pt x="6196278" y="4406932"/>
                  </a:lnTo>
                  <a:cubicBezTo>
                    <a:pt x="6112012" y="3577175"/>
                    <a:pt x="5411256" y="2929668"/>
                    <a:pt x="4559267" y="2929668"/>
                  </a:cubicBezTo>
                  <a:cubicBezTo>
                    <a:pt x="3813777" y="2929668"/>
                    <a:pt x="3184074" y="3425416"/>
                    <a:pt x="2981845" y="4105225"/>
                  </a:cubicBezTo>
                  <a:lnTo>
                    <a:pt x="2948426" y="4274432"/>
                  </a:lnTo>
                  <a:lnTo>
                    <a:pt x="1452798" y="3071121"/>
                  </a:lnTo>
                  <a:lnTo>
                    <a:pt x="0" y="4239974"/>
                  </a:lnTo>
                  <a:lnTo>
                    <a:pt x="34661" y="3892627"/>
                  </a:lnTo>
                  <a:cubicBezTo>
                    <a:pt x="364193" y="1689568"/>
                    <a:pt x="2264420" y="0"/>
                    <a:pt x="455926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solidFill>
                  <a:schemeClr val="tx1"/>
                </a:solidFill>
                <a:latin typeface="+mj-lt"/>
              </a:endParaRPr>
            </a:p>
          </p:txBody>
        </p:sp>
        <p:sp>
          <p:nvSpPr>
            <p:cNvPr id="13" name="Freeform 21">
              <a:extLst>
                <a:ext uri="{FF2B5EF4-FFF2-40B4-BE49-F238E27FC236}">
                  <a16:creationId xmlns:a16="http://schemas.microsoft.com/office/drawing/2014/main" xmlns="" id="{6968CE24-488A-46FB-9486-4096DE4DEE97}"/>
                </a:ext>
              </a:extLst>
            </p:cNvPr>
            <p:cNvSpPr/>
            <p:nvPr/>
          </p:nvSpPr>
          <p:spPr>
            <a:xfrm>
              <a:off x="7042447" y="6292410"/>
              <a:ext cx="9706767" cy="6079229"/>
            </a:xfrm>
            <a:custGeom>
              <a:avLst/>
              <a:gdLst>
                <a:gd name="connsiteX0" fmla="*/ 2039909 w 9706767"/>
                <a:gd name="connsiteY0" fmla="*/ 0 h 6079229"/>
                <a:gd name="connsiteX1" fmla="*/ 4079818 w 9706767"/>
                <a:gd name="connsiteY1" fmla="*/ 1641214 h 6079229"/>
                <a:gd name="connsiteX2" fmla="*/ 3507797 w 9706767"/>
                <a:gd name="connsiteY2" fmla="*/ 1641214 h 6079229"/>
                <a:gd name="connsiteX3" fmla="*/ 3509367 w 9706767"/>
                <a:gd name="connsiteY3" fmla="*/ 1672297 h 6079229"/>
                <a:gd name="connsiteX4" fmla="*/ 5146378 w 9706767"/>
                <a:gd name="connsiteY4" fmla="*/ 3149561 h 6079229"/>
                <a:gd name="connsiteX5" fmla="*/ 6723800 w 9706767"/>
                <a:gd name="connsiteY5" fmla="*/ 1974005 h 6079229"/>
                <a:gd name="connsiteX6" fmla="*/ 6755456 w 9706767"/>
                <a:gd name="connsiteY6" fmla="*/ 1813725 h 6079229"/>
                <a:gd name="connsiteX7" fmla="*/ 8239987 w 9706767"/>
                <a:gd name="connsiteY7" fmla="*/ 3008108 h 6079229"/>
                <a:gd name="connsiteX8" fmla="*/ 9706767 w 9706767"/>
                <a:gd name="connsiteY8" fmla="*/ 1828007 h 6079229"/>
                <a:gd name="connsiteX9" fmla="*/ 9670984 w 9706767"/>
                <a:gd name="connsiteY9" fmla="*/ 2186602 h 6079229"/>
                <a:gd name="connsiteX10" fmla="*/ 5146378 w 9706767"/>
                <a:gd name="connsiteY10" fmla="*/ 6079229 h 6079229"/>
                <a:gd name="connsiteX11" fmla="*/ 577156 w 9706767"/>
                <a:gd name="connsiteY11" fmla="*/ 1739492 h 6079229"/>
                <a:gd name="connsiteX12" fmla="*/ 574671 w 9706767"/>
                <a:gd name="connsiteY12" fmla="*/ 1641214 h 6079229"/>
                <a:gd name="connsiteX13" fmla="*/ 0 w 9706767"/>
                <a:gd name="connsiteY13" fmla="*/ 1641214 h 607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06767" h="6079229">
                  <a:moveTo>
                    <a:pt x="2039909" y="0"/>
                  </a:moveTo>
                  <a:lnTo>
                    <a:pt x="4079818" y="1641214"/>
                  </a:lnTo>
                  <a:lnTo>
                    <a:pt x="3507797" y="1641214"/>
                  </a:lnTo>
                  <a:lnTo>
                    <a:pt x="3509367" y="1672297"/>
                  </a:lnTo>
                  <a:cubicBezTo>
                    <a:pt x="3593633" y="2502054"/>
                    <a:pt x="4294389" y="3149561"/>
                    <a:pt x="5146378" y="3149561"/>
                  </a:cubicBezTo>
                  <a:cubicBezTo>
                    <a:pt x="5891868" y="3149561"/>
                    <a:pt x="6521571" y="2653814"/>
                    <a:pt x="6723800" y="1974005"/>
                  </a:cubicBezTo>
                  <a:lnTo>
                    <a:pt x="6755456" y="1813725"/>
                  </a:lnTo>
                  <a:lnTo>
                    <a:pt x="8239987" y="3008108"/>
                  </a:lnTo>
                  <a:lnTo>
                    <a:pt x="9706767" y="1828007"/>
                  </a:lnTo>
                  <a:lnTo>
                    <a:pt x="9670984" y="2186602"/>
                  </a:lnTo>
                  <a:cubicBezTo>
                    <a:pt x="9341452" y="4389661"/>
                    <a:pt x="7441225" y="6079229"/>
                    <a:pt x="5146378" y="6079229"/>
                  </a:cubicBezTo>
                  <a:cubicBezTo>
                    <a:pt x="2698541" y="6079229"/>
                    <a:pt x="699694" y="4156876"/>
                    <a:pt x="577156" y="1739492"/>
                  </a:cubicBezTo>
                  <a:lnTo>
                    <a:pt x="574671"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400" dirty="0">
                <a:solidFill>
                  <a:schemeClr val="tx1"/>
                </a:solidFill>
                <a:latin typeface="+mj-lt"/>
              </a:endParaRPr>
            </a:p>
          </p:txBody>
        </p:sp>
      </p:grpSp>
      <p:sp>
        <p:nvSpPr>
          <p:cNvPr id="14" name="TextBox 22">
            <a:extLst>
              <a:ext uri="{FF2B5EF4-FFF2-40B4-BE49-F238E27FC236}">
                <a16:creationId xmlns:a16="http://schemas.microsoft.com/office/drawing/2014/main" xmlns="" id="{1755BDE4-73B2-4B50-B44C-9ECA4CDB895C}"/>
              </a:ext>
            </a:extLst>
          </p:cNvPr>
          <p:cNvSpPr txBox="1"/>
          <p:nvPr/>
        </p:nvSpPr>
        <p:spPr>
          <a:xfrm>
            <a:off x="7669729" y="2734622"/>
            <a:ext cx="364202" cy="307777"/>
          </a:xfrm>
          <a:prstGeom prst="rect">
            <a:avLst/>
          </a:prstGeom>
          <a:noFill/>
        </p:spPr>
        <p:txBody>
          <a:bodyPr wrap="none" rtlCol="0" anchor="ctr" anchorCtr="0">
            <a:spAutoFit/>
          </a:bodyPr>
          <a:lstStyle/>
          <a:p>
            <a:pPr algn="ctr"/>
            <a:r>
              <a:rPr lang="en-GB" sz="1400" b="1">
                <a:solidFill>
                  <a:schemeClr val="bg1"/>
                </a:solidFill>
                <a:latin typeface="+mj-lt"/>
                <a:ea typeface="League Spartan" charset="0"/>
                <a:cs typeface="Poppins" pitchFamily="2" charset="77"/>
              </a:rPr>
              <a:t>01</a:t>
            </a:r>
            <a:endParaRPr lang="en-GB" sz="1400" b="1" dirty="0">
              <a:solidFill>
                <a:schemeClr val="bg1"/>
              </a:solidFill>
              <a:latin typeface="+mj-lt"/>
              <a:ea typeface="League Spartan" charset="0"/>
              <a:cs typeface="Poppins" pitchFamily="2" charset="77"/>
            </a:endParaRPr>
          </a:p>
        </p:txBody>
      </p:sp>
      <p:sp>
        <p:nvSpPr>
          <p:cNvPr id="15" name="TextBox 23">
            <a:extLst>
              <a:ext uri="{FF2B5EF4-FFF2-40B4-BE49-F238E27FC236}">
                <a16:creationId xmlns:a16="http://schemas.microsoft.com/office/drawing/2014/main" xmlns="" id="{C50C8639-B2C4-4983-9431-A814BDD11686}"/>
              </a:ext>
            </a:extLst>
          </p:cNvPr>
          <p:cNvSpPr txBox="1"/>
          <p:nvPr/>
        </p:nvSpPr>
        <p:spPr>
          <a:xfrm>
            <a:off x="7458619" y="5077367"/>
            <a:ext cx="364202" cy="307777"/>
          </a:xfrm>
          <a:prstGeom prst="rect">
            <a:avLst/>
          </a:prstGeom>
          <a:noFill/>
        </p:spPr>
        <p:txBody>
          <a:bodyPr wrap="none" rtlCol="0" anchor="ctr" anchorCtr="0">
            <a:spAutoFit/>
          </a:bodyPr>
          <a:lstStyle/>
          <a:p>
            <a:pPr algn="ctr"/>
            <a:r>
              <a:rPr lang="en-GB" sz="1400" b="1">
                <a:solidFill>
                  <a:schemeClr val="bg1"/>
                </a:solidFill>
                <a:latin typeface="+mj-lt"/>
                <a:ea typeface="League Spartan" charset="0"/>
                <a:cs typeface="Poppins" pitchFamily="2" charset="77"/>
              </a:rPr>
              <a:t>02</a:t>
            </a:r>
            <a:endParaRPr lang="en-GB" sz="1400" b="1" dirty="0">
              <a:solidFill>
                <a:schemeClr val="bg1"/>
              </a:solidFill>
              <a:latin typeface="+mj-lt"/>
              <a:ea typeface="League Spartan" charset="0"/>
              <a:cs typeface="Poppins" pitchFamily="2" charset="77"/>
            </a:endParaRPr>
          </a:p>
        </p:txBody>
      </p:sp>
      <p:sp>
        <p:nvSpPr>
          <p:cNvPr id="16" name="TextBox 24">
            <a:extLst>
              <a:ext uri="{FF2B5EF4-FFF2-40B4-BE49-F238E27FC236}">
                <a16:creationId xmlns:a16="http://schemas.microsoft.com/office/drawing/2014/main" xmlns="" id="{8D015B4C-7BDE-4CF6-B1DF-C9FF97DCD775}"/>
              </a:ext>
            </a:extLst>
          </p:cNvPr>
          <p:cNvSpPr txBox="1"/>
          <p:nvPr/>
        </p:nvSpPr>
        <p:spPr>
          <a:xfrm>
            <a:off x="9631455" y="1741060"/>
            <a:ext cx="1809470" cy="338554"/>
          </a:xfrm>
          <a:prstGeom prst="rect">
            <a:avLst/>
          </a:prstGeom>
          <a:noFill/>
        </p:spPr>
        <p:txBody>
          <a:bodyPr wrap="none" lIns="91440" tIns="45720" rIns="91440" bIns="45720" rtlCol="0" anchor="b" anchorCtr="0">
            <a:spAutoFit/>
          </a:bodyPr>
          <a:lstStyle/>
          <a:p>
            <a:r>
              <a:rPr lang="en-GB" sz="1600" b="1">
                <a:solidFill>
                  <a:schemeClr val="tx2"/>
                </a:solidFill>
                <a:latin typeface="+mj-lt"/>
                <a:ea typeface="League Spartan" charset="0"/>
                <a:cs typeface="Poppins" pitchFamily="2" charset="77"/>
              </a:rPr>
              <a:t>Medidas estructurales</a:t>
            </a:r>
          </a:p>
        </p:txBody>
      </p:sp>
      <p:sp>
        <p:nvSpPr>
          <p:cNvPr id="17" name="Subtitle 2">
            <a:extLst>
              <a:ext uri="{FF2B5EF4-FFF2-40B4-BE49-F238E27FC236}">
                <a16:creationId xmlns:a16="http://schemas.microsoft.com/office/drawing/2014/main" xmlns="" id="{B3A360FC-7259-4651-A29F-042977C2617C}"/>
              </a:ext>
            </a:extLst>
          </p:cNvPr>
          <p:cNvSpPr txBox="1">
            <a:spLocks/>
          </p:cNvSpPr>
          <p:nvPr/>
        </p:nvSpPr>
        <p:spPr>
          <a:xfrm>
            <a:off x="9627583" y="2169356"/>
            <a:ext cx="2394785" cy="39126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ción de los plazos de tramitación</a:t>
            </a:r>
            <a:endParaRPr lang="en-US" sz="2800" dirty="0">
              <a:solidFill>
                <a:srgbClr val="245473"/>
              </a:solidFill>
            </a:endParaRP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ción de la variedad de productos, la complejidad y los diseños especiale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Introducción Diseño modular</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rear almacenes de consignació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Fusión de almacene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Optimización de la contabilidad de existencias</a:t>
            </a:r>
          </a:p>
        </p:txBody>
      </p:sp>
      <p:sp>
        <p:nvSpPr>
          <p:cNvPr id="18" name="TextBox 26">
            <a:extLst>
              <a:ext uri="{FF2B5EF4-FFF2-40B4-BE49-F238E27FC236}">
                <a16:creationId xmlns:a16="http://schemas.microsoft.com/office/drawing/2014/main" xmlns="" id="{3F005DF6-025C-4D79-AAD4-7099F96A9B84}"/>
              </a:ext>
            </a:extLst>
          </p:cNvPr>
          <p:cNvSpPr txBox="1"/>
          <p:nvPr/>
        </p:nvSpPr>
        <p:spPr>
          <a:xfrm>
            <a:off x="3299048" y="1767590"/>
            <a:ext cx="1808700" cy="338554"/>
          </a:xfrm>
          <a:prstGeom prst="rect">
            <a:avLst/>
          </a:prstGeom>
          <a:noFill/>
        </p:spPr>
        <p:txBody>
          <a:bodyPr wrap="none" lIns="91440" tIns="45720" rIns="91440" bIns="45720" rtlCol="0" anchor="b" anchorCtr="0">
            <a:spAutoFit/>
          </a:bodyPr>
          <a:lstStyle/>
          <a:p>
            <a:r>
              <a:rPr lang="en-GB" sz="1600" b="1" dirty="0">
                <a:solidFill>
                  <a:schemeClr val="tx2"/>
                </a:solidFill>
                <a:latin typeface="+mj-lt"/>
                <a:ea typeface="League Spartan" charset="0"/>
                <a:cs typeface="Poppins" pitchFamily="2" charset="77"/>
              </a:rPr>
              <a:t>Medidas operativas</a:t>
            </a:r>
          </a:p>
        </p:txBody>
      </p:sp>
      <p:sp>
        <p:nvSpPr>
          <p:cNvPr id="19" name="Subtitle 2">
            <a:extLst>
              <a:ext uri="{FF2B5EF4-FFF2-40B4-BE49-F238E27FC236}">
                <a16:creationId xmlns:a16="http://schemas.microsoft.com/office/drawing/2014/main" xmlns="" id="{971A53F2-068D-4409-ACFB-86187A4F300D}"/>
              </a:ext>
            </a:extLst>
          </p:cNvPr>
          <p:cNvSpPr txBox="1">
            <a:spLocks/>
          </p:cNvSpPr>
          <p:nvPr/>
        </p:nvSpPr>
        <p:spPr>
          <a:xfrm>
            <a:off x="3189844" y="2114386"/>
            <a:ext cx="2823681" cy="474361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Venta especial de existencias antiguas, devolución a los proveedores</a:t>
            </a:r>
            <a:endParaRPr lang="en-US" sz="2800" dirty="0">
              <a:solidFill>
                <a:srgbClr val="245473"/>
              </a:solidFill>
            </a:endParaRP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delantar los pedidos de producción relacionados con los cliente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visión/reducción de los tamaños de los lotes (especialmente en el caso de que falte la referencia del cliente)</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mprobar la relación de los costes de establecimiento con la financiación de las existencia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ambios en las relaciones con los proveedore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Mejora del sistema de planificación</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precisión</a:t>
            </a:r>
          </a:p>
        </p:txBody>
      </p:sp>
      <p:sp>
        <p:nvSpPr>
          <p:cNvPr id="20" name="Freeform 939">
            <a:extLst>
              <a:ext uri="{FF2B5EF4-FFF2-40B4-BE49-F238E27FC236}">
                <a16:creationId xmlns:a16="http://schemas.microsoft.com/office/drawing/2014/main" xmlns="" id="{BD41693A-4E30-4866-9046-1A26BCBA80B3}"/>
              </a:ext>
            </a:extLst>
          </p:cNvPr>
          <p:cNvSpPr>
            <a:spLocks noChangeAspect="1" noChangeArrowheads="1"/>
          </p:cNvSpPr>
          <p:nvPr/>
        </p:nvSpPr>
        <p:spPr bwMode="auto">
          <a:xfrm>
            <a:off x="6340177" y="3777789"/>
            <a:ext cx="488673" cy="488673"/>
          </a:xfrm>
          <a:custGeom>
            <a:avLst/>
            <a:gdLst>
              <a:gd name="T0" fmla="*/ 4423137 w 283804"/>
              <a:gd name="T1" fmla="*/ 5500321 h 283803"/>
              <a:gd name="T2" fmla="*/ 4782176 w 283804"/>
              <a:gd name="T3" fmla="*/ 5213102 h 283803"/>
              <a:gd name="T4" fmla="*/ 524141 w 283804"/>
              <a:gd name="T5" fmla="*/ 5500321 h 283803"/>
              <a:gd name="T6" fmla="*/ 890359 w 283804"/>
              <a:gd name="T7" fmla="*/ 5213102 h 283803"/>
              <a:gd name="T8" fmla="*/ 1443264 w 283804"/>
              <a:gd name="T9" fmla="*/ 5500321 h 283803"/>
              <a:gd name="T10" fmla="*/ 2032045 w 283804"/>
              <a:gd name="T11" fmla="*/ 4983312 h 283803"/>
              <a:gd name="T12" fmla="*/ 2814722 w 283804"/>
              <a:gd name="T13" fmla="*/ 5500321 h 283803"/>
              <a:gd name="T14" fmla="*/ 3525599 w 283804"/>
              <a:gd name="T15" fmla="*/ 4875617 h 283803"/>
              <a:gd name="T16" fmla="*/ 2261833 w 283804"/>
              <a:gd name="T17" fmla="*/ 4301159 h 283803"/>
              <a:gd name="T18" fmla="*/ 1349935 w 283804"/>
              <a:gd name="T19" fmla="*/ 3094826 h 283803"/>
              <a:gd name="T20" fmla="*/ 4100000 w 283804"/>
              <a:gd name="T21" fmla="*/ 2635265 h 283803"/>
              <a:gd name="T22" fmla="*/ 3180915 w 283804"/>
              <a:gd name="T23" fmla="*/ 3841594 h 283803"/>
              <a:gd name="T24" fmla="*/ 4100000 w 283804"/>
              <a:gd name="T25" fmla="*/ 2635265 h 283803"/>
              <a:gd name="T26" fmla="*/ 3514448 w 283804"/>
              <a:gd name="T27" fmla="*/ 1233697 h 283803"/>
              <a:gd name="T28" fmla="*/ 3331676 w 283804"/>
              <a:gd name="T29" fmla="*/ 1233697 h 283803"/>
              <a:gd name="T30" fmla="*/ 2026933 w 283804"/>
              <a:gd name="T31" fmla="*/ 1142307 h 283803"/>
              <a:gd name="T32" fmla="*/ 2026933 w 283804"/>
              <a:gd name="T33" fmla="*/ 1325094 h 283803"/>
              <a:gd name="T34" fmla="*/ 2026933 w 283804"/>
              <a:gd name="T35" fmla="*/ 1142307 h 283803"/>
              <a:gd name="T36" fmla="*/ 2815631 w 283804"/>
              <a:gd name="T37" fmla="*/ 467788 h 283803"/>
              <a:gd name="T38" fmla="*/ 3112344 w 283804"/>
              <a:gd name="T39" fmla="*/ 786703 h 283803"/>
              <a:gd name="T40" fmla="*/ 2953142 w 283804"/>
              <a:gd name="T41" fmla="*/ 851932 h 283803"/>
              <a:gd name="T42" fmla="*/ 2489989 w 283804"/>
              <a:gd name="T43" fmla="*/ 924459 h 283803"/>
              <a:gd name="T44" fmla="*/ 3134070 w 283804"/>
              <a:gd name="T45" fmla="*/ 1511611 h 283803"/>
              <a:gd name="T46" fmla="*/ 2815631 w 283804"/>
              <a:gd name="T47" fmla="*/ 1975491 h 283803"/>
              <a:gd name="T48" fmla="*/ 2641965 w 283804"/>
              <a:gd name="T49" fmla="*/ 1975491 h 283803"/>
              <a:gd name="T50" fmla="*/ 2345249 w 283804"/>
              <a:gd name="T51" fmla="*/ 1656573 h 283803"/>
              <a:gd name="T52" fmla="*/ 2504471 w 283804"/>
              <a:gd name="T53" fmla="*/ 1584087 h 283803"/>
              <a:gd name="T54" fmla="*/ 2967609 w 283804"/>
              <a:gd name="T55" fmla="*/ 1511611 h 283803"/>
              <a:gd name="T56" fmla="*/ 2316327 w 283804"/>
              <a:gd name="T57" fmla="*/ 924459 h 283803"/>
              <a:gd name="T58" fmla="*/ 2641965 w 283804"/>
              <a:gd name="T59" fmla="*/ 467788 h 283803"/>
              <a:gd name="T60" fmla="*/ 2721369 w 283804"/>
              <a:gd name="T61" fmla="*/ 172345 h 283803"/>
              <a:gd name="T62" fmla="*/ 2721369 w 283804"/>
              <a:gd name="T63" fmla="*/ 2297796 h 283803"/>
              <a:gd name="T64" fmla="*/ 2721369 w 283804"/>
              <a:gd name="T65" fmla="*/ 172345 h 283803"/>
              <a:gd name="T66" fmla="*/ 3956405 w 283804"/>
              <a:gd name="T67" fmla="*/ 1235039 h 283803"/>
              <a:gd name="T68" fmla="*/ 2807554 w 283804"/>
              <a:gd name="T69" fmla="*/ 3238446 h 283803"/>
              <a:gd name="T70" fmla="*/ 4552391 w 283804"/>
              <a:gd name="T71" fmla="*/ 2462927 h 283803"/>
              <a:gd name="T72" fmla="*/ 3180915 w 283804"/>
              <a:gd name="T73" fmla="*/ 4013919 h 283803"/>
              <a:gd name="T74" fmla="*/ 2807554 w 283804"/>
              <a:gd name="T75" fmla="*/ 5062296 h 283803"/>
              <a:gd name="T76" fmla="*/ 4351334 w 283804"/>
              <a:gd name="T77" fmla="*/ 5263368 h 283803"/>
              <a:gd name="T78" fmla="*/ 5320700 w 283804"/>
              <a:gd name="T79" fmla="*/ 5500321 h 283803"/>
              <a:gd name="T80" fmla="*/ 5672524 w 283804"/>
              <a:gd name="T81" fmla="*/ 5586490 h 283803"/>
              <a:gd name="T82" fmla="*/ 86116 w 283804"/>
              <a:gd name="T83" fmla="*/ 5672649 h 283803"/>
              <a:gd name="T84" fmla="*/ 86116 w 283804"/>
              <a:gd name="T85" fmla="*/ 5500321 h 283803"/>
              <a:gd name="T86" fmla="*/ 890359 w 283804"/>
              <a:gd name="T87" fmla="*/ 5047944 h 283803"/>
              <a:gd name="T88" fmla="*/ 2032045 w 283804"/>
              <a:gd name="T89" fmla="*/ 4810993 h 283803"/>
              <a:gd name="T90" fmla="*/ 2635213 w 283804"/>
              <a:gd name="T91" fmla="*/ 4473484 h 283803"/>
              <a:gd name="T92" fmla="*/ 804190 w 283804"/>
              <a:gd name="T93" fmla="*/ 3008648 h 283803"/>
              <a:gd name="T94" fmla="*/ 1349935 w 283804"/>
              <a:gd name="T95" fmla="*/ 2922478 h 283803"/>
              <a:gd name="T96" fmla="*/ 2635213 w 283804"/>
              <a:gd name="T97" fmla="*/ 2462927 h 283803"/>
              <a:gd name="T98" fmla="*/ 2721369 w 283804"/>
              <a:gd name="T99" fmla="*/ 0 h 28380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3804" h="283803">
                <a:moveTo>
                  <a:pt x="239258" y="260811"/>
                </a:moveTo>
                <a:cubicBezTo>
                  <a:pt x="230636" y="260811"/>
                  <a:pt x="223092" y="266918"/>
                  <a:pt x="221295" y="275181"/>
                </a:cubicBezTo>
                <a:lnTo>
                  <a:pt x="257220" y="275181"/>
                </a:lnTo>
                <a:cubicBezTo>
                  <a:pt x="255424" y="266918"/>
                  <a:pt x="247879" y="260811"/>
                  <a:pt x="239258" y="260811"/>
                </a:cubicBezTo>
                <a:close/>
                <a:moveTo>
                  <a:pt x="44546" y="260811"/>
                </a:moveTo>
                <a:cubicBezTo>
                  <a:pt x="35565" y="260811"/>
                  <a:pt x="28380" y="266918"/>
                  <a:pt x="26225" y="275181"/>
                </a:cubicBezTo>
                <a:lnTo>
                  <a:pt x="62508" y="275181"/>
                </a:lnTo>
                <a:cubicBezTo>
                  <a:pt x="60353" y="266918"/>
                  <a:pt x="53168" y="260811"/>
                  <a:pt x="44546" y="260811"/>
                </a:cubicBezTo>
                <a:close/>
                <a:moveTo>
                  <a:pt x="101666" y="249315"/>
                </a:moveTo>
                <a:cubicBezTo>
                  <a:pt x="86578" y="249315"/>
                  <a:pt x="74004" y="260452"/>
                  <a:pt x="72208" y="275181"/>
                </a:cubicBezTo>
                <a:lnTo>
                  <a:pt x="131484" y="275181"/>
                </a:lnTo>
                <a:cubicBezTo>
                  <a:pt x="129328" y="260452"/>
                  <a:pt x="116754" y="249315"/>
                  <a:pt x="101666" y="249315"/>
                </a:cubicBezTo>
                <a:close/>
                <a:moveTo>
                  <a:pt x="176390" y="243927"/>
                </a:moveTo>
                <a:cubicBezTo>
                  <a:pt x="158068" y="243927"/>
                  <a:pt x="142620" y="257578"/>
                  <a:pt x="140824" y="275181"/>
                </a:cubicBezTo>
                <a:lnTo>
                  <a:pt x="211596" y="275181"/>
                </a:lnTo>
                <a:cubicBezTo>
                  <a:pt x="209799" y="257578"/>
                  <a:pt x="194711" y="243927"/>
                  <a:pt x="176390" y="243927"/>
                </a:cubicBezTo>
                <a:close/>
                <a:moveTo>
                  <a:pt x="48857" y="154834"/>
                </a:moveTo>
                <a:cubicBezTo>
                  <a:pt x="51013" y="188603"/>
                  <a:pt x="79034" y="215187"/>
                  <a:pt x="113162" y="215187"/>
                </a:cubicBezTo>
                <a:lnTo>
                  <a:pt x="131843" y="215187"/>
                </a:lnTo>
                <a:cubicBezTo>
                  <a:pt x="129328" y="181418"/>
                  <a:pt x="101307" y="154834"/>
                  <a:pt x="67538" y="154834"/>
                </a:cubicBezTo>
                <a:lnTo>
                  <a:pt x="48857" y="154834"/>
                </a:lnTo>
                <a:close/>
                <a:moveTo>
                  <a:pt x="205129" y="131843"/>
                </a:moveTo>
                <a:cubicBezTo>
                  <a:pt x="170642" y="131843"/>
                  <a:pt x="142620" y="158427"/>
                  <a:pt x="140824" y="192196"/>
                </a:cubicBezTo>
                <a:lnTo>
                  <a:pt x="159145" y="192196"/>
                </a:lnTo>
                <a:cubicBezTo>
                  <a:pt x="193274" y="192196"/>
                  <a:pt x="221295" y="165612"/>
                  <a:pt x="223451" y="131843"/>
                </a:cubicBezTo>
                <a:lnTo>
                  <a:pt x="205129" y="131843"/>
                </a:lnTo>
                <a:close/>
                <a:moveTo>
                  <a:pt x="171260" y="57150"/>
                </a:moveTo>
                <a:cubicBezTo>
                  <a:pt x="173546" y="57150"/>
                  <a:pt x="175832" y="59055"/>
                  <a:pt x="175832" y="61722"/>
                </a:cubicBezTo>
                <a:cubicBezTo>
                  <a:pt x="175832" y="64008"/>
                  <a:pt x="173546" y="66294"/>
                  <a:pt x="171260" y="66294"/>
                </a:cubicBezTo>
                <a:cubicBezTo>
                  <a:pt x="168593" y="66294"/>
                  <a:pt x="166688" y="64008"/>
                  <a:pt x="166688" y="61722"/>
                </a:cubicBezTo>
                <a:cubicBezTo>
                  <a:pt x="166688" y="59055"/>
                  <a:pt x="168593" y="57150"/>
                  <a:pt x="171260" y="57150"/>
                </a:cubicBezTo>
                <a:close/>
                <a:moveTo>
                  <a:pt x="101410" y="57150"/>
                </a:moveTo>
                <a:cubicBezTo>
                  <a:pt x="104077" y="57150"/>
                  <a:pt x="105982" y="59055"/>
                  <a:pt x="105982" y="61722"/>
                </a:cubicBezTo>
                <a:cubicBezTo>
                  <a:pt x="105982" y="64008"/>
                  <a:pt x="104077" y="66294"/>
                  <a:pt x="101410" y="66294"/>
                </a:cubicBezTo>
                <a:cubicBezTo>
                  <a:pt x="98743" y="66294"/>
                  <a:pt x="96838" y="64008"/>
                  <a:pt x="96838" y="61722"/>
                </a:cubicBezTo>
                <a:cubicBezTo>
                  <a:pt x="96838" y="59055"/>
                  <a:pt x="98743" y="57150"/>
                  <a:pt x="101410" y="57150"/>
                </a:cubicBezTo>
                <a:close/>
                <a:moveTo>
                  <a:pt x="136525" y="19050"/>
                </a:moveTo>
                <a:cubicBezTo>
                  <a:pt x="139060" y="19050"/>
                  <a:pt x="140870" y="20863"/>
                  <a:pt x="140870" y="23402"/>
                </a:cubicBezTo>
                <a:lnTo>
                  <a:pt x="140870" y="27754"/>
                </a:lnTo>
                <a:cubicBezTo>
                  <a:pt x="147387" y="29204"/>
                  <a:pt x="152818" y="33194"/>
                  <a:pt x="155715" y="39359"/>
                </a:cubicBezTo>
                <a:cubicBezTo>
                  <a:pt x="156439" y="41535"/>
                  <a:pt x="155715" y="44073"/>
                  <a:pt x="153180" y="45161"/>
                </a:cubicBezTo>
                <a:cubicBezTo>
                  <a:pt x="151008" y="45887"/>
                  <a:pt x="148473" y="45161"/>
                  <a:pt x="147749" y="42623"/>
                </a:cubicBezTo>
                <a:cubicBezTo>
                  <a:pt x="145939" y="38634"/>
                  <a:pt x="141594" y="35732"/>
                  <a:pt x="136525" y="35732"/>
                </a:cubicBezTo>
                <a:cubicBezTo>
                  <a:pt x="130008" y="35732"/>
                  <a:pt x="124577" y="40447"/>
                  <a:pt x="124577" y="46249"/>
                </a:cubicBezTo>
                <a:cubicBezTo>
                  <a:pt x="124577" y="53140"/>
                  <a:pt x="128560" y="56767"/>
                  <a:pt x="136525" y="56767"/>
                </a:cubicBezTo>
                <a:cubicBezTo>
                  <a:pt x="151732" y="56767"/>
                  <a:pt x="156801" y="66558"/>
                  <a:pt x="156801" y="75625"/>
                </a:cubicBezTo>
                <a:cubicBezTo>
                  <a:pt x="156801" y="84691"/>
                  <a:pt x="150284" y="92670"/>
                  <a:pt x="140870" y="94483"/>
                </a:cubicBezTo>
                <a:lnTo>
                  <a:pt x="140870" y="98835"/>
                </a:lnTo>
                <a:cubicBezTo>
                  <a:pt x="140870" y="101011"/>
                  <a:pt x="139060" y="102824"/>
                  <a:pt x="136525" y="102824"/>
                </a:cubicBezTo>
                <a:cubicBezTo>
                  <a:pt x="133991" y="102824"/>
                  <a:pt x="132181" y="101011"/>
                  <a:pt x="132181" y="98835"/>
                </a:cubicBezTo>
                <a:lnTo>
                  <a:pt x="132181" y="94483"/>
                </a:lnTo>
                <a:cubicBezTo>
                  <a:pt x="125663" y="93033"/>
                  <a:pt x="119870" y="89043"/>
                  <a:pt x="117336" y="82878"/>
                </a:cubicBezTo>
                <a:cubicBezTo>
                  <a:pt x="116250" y="80702"/>
                  <a:pt x="117336" y="78164"/>
                  <a:pt x="119870" y="77076"/>
                </a:cubicBezTo>
                <a:cubicBezTo>
                  <a:pt x="122043" y="75988"/>
                  <a:pt x="124577" y="77076"/>
                  <a:pt x="125301" y="79252"/>
                </a:cubicBezTo>
                <a:cubicBezTo>
                  <a:pt x="127112" y="83241"/>
                  <a:pt x="131818" y="86142"/>
                  <a:pt x="136525" y="86142"/>
                </a:cubicBezTo>
                <a:cubicBezTo>
                  <a:pt x="143042" y="86142"/>
                  <a:pt x="148473" y="81427"/>
                  <a:pt x="148473" y="75625"/>
                </a:cubicBezTo>
                <a:cubicBezTo>
                  <a:pt x="148473" y="69097"/>
                  <a:pt x="144491" y="65470"/>
                  <a:pt x="136525" y="65470"/>
                </a:cubicBezTo>
                <a:cubicBezTo>
                  <a:pt x="121319" y="65470"/>
                  <a:pt x="115888" y="55316"/>
                  <a:pt x="115888" y="46249"/>
                </a:cubicBezTo>
                <a:cubicBezTo>
                  <a:pt x="115888" y="37183"/>
                  <a:pt x="123129" y="29567"/>
                  <a:pt x="132181" y="27391"/>
                </a:cubicBezTo>
                <a:lnTo>
                  <a:pt x="132181" y="23402"/>
                </a:lnTo>
                <a:cubicBezTo>
                  <a:pt x="132181" y="20863"/>
                  <a:pt x="133991" y="19050"/>
                  <a:pt x="136525" y="19050"/>
                </a:cubicBezTo>
                <a:close/>
                <a:moveTo>
                  <a:pt x="136154" y="8622"/>
                </a:moveTo>
                <a:cubicBezTo>
                  <a:pt x="107055" y="8622"/>
                  <a:pt x="82985" y="32691"/>
                  <a:pt x="82985" y="61790"/>
                </a:cubicBezTo>
                <a:cubicBezTo>
                  <a:pt x="82985" y="90889"/>
                  <a:pt x="107055" y="114958"/>
                  <a:pt x="136154" y="114958"/>
                </a:cubicBezTo>
                <a:cubicBezTo>
                  <a:pt x="165253" y="114958"/>
                  <a:pt x="189322" y="90889"/>
                  <a:pt x="189322" y="61790"/>
                </a:cubicBezTo>
                <a:cubicBezTo>
                  <a:pt x="189322" y="32691"/>
                  <a:pt x="165253" y="8622"/>
                  <a:pt x="136154" y="8622"/>
                </a:cubicBezTo>
                <a:close/>
                <a:moveTo>
                  <a:pt x="136154" y="0"/>
                </a:moveTo>
                <a:cubicBezTo>
                  <a:pt x="170282" y="0"/>
                  <a:pt x="197944" y="27662"/>
                  <a:pt x="197944" y="61790"/>
                </a:cubicBezTo>
                <a:cubicBezTo>
                  <a:pt x="197944" y="94122"/>
                  <a:pt x="172438" y="121065"/>
                  <a:pt x="140465" y="123221"/>
                </a:cubicBezTo>
                <a:lnTo>
                  <a:pt x="140465" y="162019"/>
                </a:lnTo>
                <a:cubicBezTo>
                  <a:pt x="152679" y="139027"/>
                  <a:pt x="177108" y="123221"/>
                  <a:pt x="205129" y="123221"/>
                </a:cubicBezTo>
                <a:lnTo>
                  <a:pt x="227762" y="123221"/>
                </a:lnTo>
                <a:cubicBezTo>
                  <a:pt x="230276" y="123221"/>
                  <a:pt x="232073" y="125017"/>
                  <a:pt x="232073" y="127891"/>
                </a:cubicBezTo>
                <a:cubicBezTo>
                  <a:pt x="232073" y="168126"/>
                  <a:pt x="199381" y="200817"/>
                  <a:pt x="159145" y="200817"/>
                </a:cubicBezTo>
                <a:lnTo>
                  <a:pt x="140465" y="200817"/>
                </a:lnTo>
                <a:lnTo>
                  <a:pt x="140465" y="253267"/>
                </a:lnTo>
                <a:cubicBezTo>
                  <a:pt x="148368" y="242130"/>
                  <a:pt x="161660" y="234946"/>
                  <a:pt x="176390" y="234946"/>
                </a:cubicBezTo>
                <a:cubicBezTo>
                  <a:pt x="195070" y="234946"/>
                  <a:pt x="211236" y="246801"/>
                  <a:pt x="217703" y="263326"/>
                </a:cubicBezTo>
                <a:cubicBezTo>
                  <a:pt x="222373" y="256500"/>
                  <a:pt x="230276" y="252549"/>
                  <a:pt x="239258" y="252549"/>
                </a:cubicBezTo>
                <a:cubicBezTo>
                  <a:pt x="252909" y="252549"/>
                  <a:pt x="264045" y="262248"/>
                  <a:pt x="266201" y="275181"/>
                </a:cubicBezTo>
                <a:lnTo>
                  <a:pt x="279493" y="275181"/>
                </a:lnTo>
                <a:cubicBezTo>
                  <a:pt x="281649" y="275181"/>
                  <a:pt x="283804" y="276977"/>
                  <a:pt x="283804" y="279492"/>
                </a:cubicBezTo>
                <a:cubicBezTo>
                  <a:pt x="283804" y="282007"/>
                  <a:pt x="281649" y="283803"/>
                  <a:pt x="279493" y="283803"/>
                </a:cubicBezTo>
                <a:lnTo>
                  <a:pt x="4311" y="283803"/>
                </a:lnTo>
                <a:cubicBezTo>
                  <a:pt x="2155" y="283803"/>
                  <a:pt x="0" y="282007"/>
                  <a:pt x="0" y="279492"/>
                </a:cubicBezTo>
                <a:cubicBezTo>
                  <a:pt x="0" y="276977"/>
                  <a:pt x="2155" y="275181"/>
                  <a:pt x="4311" y="275181"/>
                </a:cubicBezTo>
                <a:lnTo>
                  <a:pt x="17603" y="275181"/>
                </a:lnTo>
                <a:cubicBezTo>
                  <a:pt x="19758" y="262248"/>
                  <a:pt x="30895" y="252549"/>
                  <a:pt x="44546" y="252549"/>
                </a:cubicBezTo>
                <a:cubicBezTo>
                  <a:pt x="53527" y="252549"/>
                  <a:pt x="61431" y="256859"/>
                  <a:pt x="66460" y="263685"/>
                </a:cubicBezTo>
                <a:cubicBezTo>
                  <a:pt x="72567" y="250393"/>
                  <a:pt x="86219" y="240694"/>
                  <a:pt x="101666" y="240694"/>
                </a:cubicBezTo>
                <a:cubicBezTo>
                  <a:pt x="113881" y="240694"/>
                  <a:pt x="124658" y="246441"/>
                  <a:pt x="131843" y="255423"/>
                </a:cubicBezTo>
                <a:lnTo>
                  <a:pt x="131843" y="223809"/>
                </a:lnTo>
                <a:lnTo>
                  <a:pt x="113162" y="223809"/>
                </a:lnTo>
                <a:cubicBezTo>
                  <a:pt x="72927" y="223809"/>
                  <a:pt x="40235" y="190759"/>
                  <a:pt x="40235" y="150523"/>
                </a:cubicBezTo>
                <a:cubicBezTo>
                  <a:pt x="40235" y="148009"/>
                  <a:pt x="42031" y="146212"/>
                  <a:pt x="44546" y="146212"/>
                </a:cubicBezTo>
                <a:lnTo>
                  <a:pt x="67538" y="146212"/>
                </a:lnTo>
                <a:cubicBezTo>
                  <a:pt x="95200" y="146212"/>
                  <a:pt x="119628" y="162019"/>
                  <a:pt x="131843" y="185011"/>
                </a:cubicBezTo>
                <a:lnTo>
                  <a:pt x="131843" y="123221"/>
                </a:lnTo>
                <a:cubicBezTo>
                  <a:pt x="99870" y="121065"/>
                  <a:pt x="74723" y="94122"/>
                  <a:pt x="74723" y="61790"/>
                </a:cubicBezTo>
                <a:cubicBezTo>
                  <a:pt x="74723" y="27662"/>
                  <a:pt x="102385" y="0"/>
                  <a:pt x="136154" y="0"/>
                </a:cubicBezTo>
                <a:close/>
              </a:path>
            </a:pathLst>
          </a:custGeom>
          <a:solidFill>
            <a:schemeClr val="bg1"/>
          </a:solidFill>
          <a:ln>
            <a:noFill/>
          </a:ln>
          <a:effectLst/>
        </p:spPr>
        <p:txBody>
          <a:bodyPr anchor="ctr"/>
          <a:lstStyle/>
          <a:p>
            <a:endParaRPr lang="en-GB" sz="1400" dirty="0">
              <a:latin typeface="+mj-lt"/>
            </a:endParaRPr>
          </a:p>
        </p:txBody>
      </p:sp>
      <p:sp>
        <p:nvSpPr>
          <p:cNvPr id="21" name="Freeform 953">
            <a:extLst>
              <a:ext uri="{FF2B5EF4-FFF2-40B4-BE49-F238E27FC236}">
                <a16:creationId xmlns:a16="http://schemas.microsoft.com/office/drawing/2014/main" xmlns="" id="{DD8CD542-37E0-47E0-945B-40AB4E5C2C34}"/>
              </a:ext>
            </a:extLst>
          </p:cNvPr>
          <p:cNvSpPr>
            <a:spLocks noChangeAspect="1" noChangeArrowheads="1"/>
          </p:cNvSpPr>
          <p:nvPr/>
        </p:nvSpPr>
        <p:spPr bwMode="auto">
          <a:xfrm>
            <a:off x="8686466" y="3777789"/>
            <a:ext cx="449578" cy="488673"/>
          </a:xfrm>
          <a:custGeom>
            <a:avLst/>
            <a:gdLst>
              <a:gd name="T0" fmla="*/ 1971810 w 262269"/>
              <a:gd name="T1" fmla="*/ 2296865 h 283804"/>
              <a:gd name="T2" fmla="*/ 2522496 w 262269"/>
              <a:gd name="T3" fmla="*/ 2296865 h 283804"/>
              <a:gd name="T4" fmla="*/ 2247172 w 262269"/>
              <a:gd name="T5" fmla="*/ 1840326 h 283804"/>
              <a:gd name="T6" fmla="*/ 2247172 w 262269"/>
              <a:gd name="T7" fmla="*/ 2753352 h 283804"/>
              <a:gd name="T8" fmla="*/ 2247172 w 262269"/>
              <a:gd name="T9" fmla="*/ 1840326 h 283804"/>
              <a:gd name="T10" fmla="*/ 1507350 w 262269"/>
              <a:gd name="T11" fmla="*/ 2308106 h 283804"/>
              <a:gd name="T12" fmla="*/ 1959717 w 262269"/>
              <a:gd name="T13" fmla="*/ 3071742 h 283804"/>
              <a:gd name="T14" fmla="*/ 2245064 w 262269"/>
              <a:gd name="T15" fmla="*/ 5463503 h 283804"/>
              <a:gd name="T16" fmla="*/ 2363345 w 262269"/>
              <a:gd name="T17" fmla="*/ 5117694 h 283804"/>
              <a:gd name="T18" fmla="*/ 2474711 w 262269"/>
              <a:gd name="T19" fmla="*/ 4750286 h 283804"/>
              <a:gd name="T20" fmla="*/ 2370298 w 262269"/>
              <a:gd name="T21" fmla="*/ 4390088 h 283804"/>
              <a:gd name="T22" fmla="*/ 2370298 w 262269"/>
              <a:gd name="T23" fmla="*/ 4173948 h 283804"/>
              <a:gd name="T24" fmla="*/ 2370298 w 262269"/>
              <a:gd name="T25" fmla="*/ 3921824 h 283804"/>
              <a:gd name="T26" fmla="*/ 2558226 w 262269"/>
              <a:gd name="T27" fmla="*/ 3071742 h 283804"/>
              <a:gd name="T28" fmla="*/ 3010547 w 262269"/>
              <a:gd name="T29" fmla="*/ 2308106 h 283804"/>
              <a:gd name="T30" fmla="*/ 2258952 w 262269"/>
              <a:gd name="T31" fmla="*/ 1364401 h 283804"/>
              <a:gd name="T32" fmla="*/ 2725237 w 262269"/>
              <a:gd name="T33" fmla="*/ 3129388 h 283804"/>
              <a:gd name="T34" fmla="*/ 2697411 w 262269"/>
              <a:gd name="T35" fmla="*/ 3828177 h 283804"/>
              <a:gd name="T36" fmla="*/ 2551272 w 262269"/>
              <a:gd name="T37" fmla="*/ 4116339 h 283804"/>
              <a:gd name="T38" fmla="*/ 2655651 w 262269"/>
              <a:gd name="T39" fmla="*/ 4346852 h 283804"/>
              <a:gd name="T40" fmla="*/ 2551272 w 262269"/>
              <a:gd name="T41" fmla="*/ 4584596 h 283804"/>
              <a:gd name="T42" fmla="*/ 2676507 w 262269"/>
              <a:gd name="T43" fmla="*/ 4750286 h 283804"/>
              <a:gd name="T44" fmla="*/ 2481664 w 262269"/>
              <a:gd name="T45" fmla="*/ 4988002 h 283804"/>
              <a:gd name="T46" fmla="*/ 2669552 w 262269"/>
              <a:gd name="T47" fmla="*/ 5225759 h 283804"/>
              <a:gd name="T48" fmla="*/ 2300720 w 262269"/>
              <a:gd name="T49" fmla="*/ 5643590 h 283804"/>
              <a:gd name="T50" fmla="*/ 2182413 w 262269"/>
              <a:gd name="T51" fmla="*/ 5643590 h 283804"/>
              <a:gd name="T52" fmla="*/ 1792693 w 262269"/>
              <a:gd name="T53" fmla="*/ 5204142 h 283804"/>
              <a:gd name="T54" fmla="*/ 1347316 w 262269"/>
              <a:gd name="T55" fmla="*/ 2308106 h 283804"/>
              <a:gd name="T56" fmla="*/ 2258987 w 262269"/>
              <a:gd name="T57" fmla="*/ 793208 h 283804"/>
              <a:gd name="T58" fmla="*/ 3728798 w 262269"/>
              <a:gd name="T59" fmla="*/ 2307348 h 283804"/>
              <a:gd name="T60" fmla="*/ 3236548 w 262269"/>
              <a:gd name="T61" fmla="*/ 3412452 h 283804"/>
              <a:gd name="T62" fmla="*/ 3174138 w 262269"/>
              <a:gd name="T63" fmla="*/ 3261759 h 283804"/>
              <a:gd name="T64" fmla="*/ 3174138 w 262269"/>
              <a:gd name="T65" fmla="*/ 1352998 h 283804"/>
              <a:gd name="T66" fmla="*/ 1336901 w 262269"/>
              <a:gd name="T67" fmla="*/ 1352998 h 283804"/>
              <a:gd name="T68" fmla="*/ 1336901 w 262269"/>
              <a:gd name="T69" fmla="*/ 3261759 h 283804"/>
              <a:gd name="T70" fmla="*/ 1219023 w 262269"/>
              <a:gd name="T71" fmla="*/ 3383746 h 283804"/>
              <a:gd name="T72" fmla="*/ 1219023 w 262269"/>
              <a:gd name="T73" fmla="*/ 1238159 h 283804"/>
              <a:gd name="T74" fmla="*/ 2246787 w 262269"/>
              <a:gd name="T75" fmla="*/ 0 h 283804"/>
              <a:gd name="T76" fmla="*/ 4951246 w 262269"/>
              <a:gd name="T77" fmla="*/ 3094711 h 283804"/>
              <a:gd name="T78" fmla="*/ 4902720 w 262269"/>
              <a:gd name="T79" fmla="*/ 3604502 h 283804"/>
              <a:gd name="T80" fmla="*/ 4493575 w 262269"/>
              <a:gd name="T81" fmla="*/ 4616928 h 283804"/>
              <a:gd name="T82" fmla="*/ 3432619 w 262269"/>
              <a:gd name="T83" fmla="*/ 5169801 h 283804"/>
              <a:gd name="T84" fmla="*/ 3349372 w 262269"/>
              <a:gd name="T85" fmla="*/ 5672411 h 283804"/>
              <a:gd name="T86" fmla="*/ 3266171 w 262269"/>
              <a:gd name="T87" fmla="*/ 5169801 h 283804"/>
              <a:gd name="T88" fmla="*/ 4327140 w 262269"/>
              <a:gd name="T89" fmla="*/ 4588184 h 283804"/>
              <a:gd name="T90" fmla="*/ 4368753 w 262269"/>
              <a:gd name="T91" fmla="*/ 3676314 h 283804"/>
              <a:gd name="T92" fmla="*/ 4888851 w 262269"/>
              <a:gd name="T93" fmla="*/ 3367561 h 283804"/>
              <a:gd name="T94" fmla="*/ 4334106 w 262269"/>
              <a:gd name="T95" fmla="*/ 2340770 h 283804"/>
              <a:gd name="T96" fmla="*/ 2246787 w 262269"/>
              <a:gd name="T97" fmla="*/ 172340 h 283804"/>
              <a:gd name="T98" fmla="*/ 443815 w 262269"/>
              <a:gd name="T99" fmla="*/ 3389084 h 283804"/>
              <a:gd name="T100" fmla="*/ 658790 w 262269"/>
              <a:gd name="T101" fmla="*/ 3762477 h 283804"/>
              <a:gd name="T102" fmla="*/ 1171911 w 262269"/>
              <a:gd name="T103" fmla="*/ 5579082 h 283804"/>
              <a:gd name="T104" fmla="*/ 1005487 w 262269"/>
              <a:gd name="T105" fmla="*/ 5586266 h 283804"/>
              <a:gd name="T106" fmla="*/ 520074 w 262269"/>
              <a:gd name="T107" fmla="*/ 3855833 h 283804"/>
              <a:gd name="T108" fmla="*/ 298187 w 262269"/>
              <a:gd name="T109" fmla="*/ 3482437 h 283804"/>
              <a:gd name="T110" fmla="*/ 2246787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a:effectLst/>
        </p:spPr>
        <p:txBody>
          <a:bodyPr anchor="ctr"/>
          <a:lstStyle/>
          <a:p>
            <a:endParaRPr lang="en-GB" sz="1400" dirty="0">
              <a:latin typeface="+mj-lt"/>
            </a:endParaRPr>
          </a:p>
        </p:txBody>
      </p:sp>
      <p:sp>
        <p:nvSpPr>
          <p:cNvPr id="22" name="TextBox 26">
            <a:extLst>
              <a:ext uri="{FF2B5EF4-FFF2-40B4-BE49-F238E27FC236}">
                <a16:creationId xmlns:a16="http://schemas.microsoft.com/office/drawing/2014/main" xmlns="" id="{78F35C4D-9606-4F9E-A76B-717D2B937139}"/>
              </a:ext>
            </a:extLst>
          </p:cNvPr>
          <p:cNvSpPr txBox="1"/>
          <p:nvPr/>
        </p:nvSpPr>
        <p:spPr>
          <a:xfrm>
            <a:off x="7367391" y="3560460"/>
            <a:ext cx="975140" cy="830997"/>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Trabajo</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Capital de trabajo </a:t>
            </a:r>
          </a:p>
          <a:p>
            <a:pPr algn="ctr"/>
            <a:r>
              <a:rPr lang="en-GB" sz="1600" b="1" dirty="0">
                <a:solidFill>
                  <a:schemeClr val="tx2"/>
                </a:solidFill>
                <a:latin typeface="+mj-lt"/>
                <a:ea typeface="League Spartan" charset="0"/>
                <a:cs typeface="Poppins" pitchFamily="2" charset="77"/>
              </a:rPr>
              <a:t>Medidas</a:t>
            </a:r>
            <a:endParaRPr lang="en-GB" sz="14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487893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49153" y="557876"/>
            <a:ext cx="8852375" cy="697353"/>
          </a:xfrm>
        </p:spPr>
        <p:txBody>
          <a:bodyPr>
            <a:normAutofit/>
          </a:bodyPr>
          <a:lstStyle/>
          <a:p>
            <a:r>
              <a:rPr lang="en-GB" dirty="0"/>
              <a:t>Gestión del capital circulante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7862" y="1893547"/>
            <a:ext cx="3093214" cy="49760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reclamación es el proceso de comunicación metódica con los clientes para garantizar el cobro de las cuentas por cobrar.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s comunicaciones pasan de ser suaves recordatorios a cartas y llamadas telefónicas amenazantes y a visitas más o menos intimidatorias a medida que las cuentas se van retrasando. </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6" name="TextBox 24">
            <a:extLst>
              <a:ext uri="{FF2B5EF4-FFF2-40B4-BE49-F238E27FC236}">
                <a16:creationId xmlns:a16="http://schemas.microsoft.com/office/drawing/2014/main" xmlns="" id="{8D015B4C-7BDE-4CF6-B1DF-C9FF97DCD775}"/>
              </a:ext>
            </a:extLst>
          </p:cNvPr>
          <p:cNvSpPr txBox="1"/>
          <p:nvPr/>
        </p:nvSpPr>
        <p:spPr>
          <a:xfrm>
            <a:off x="9452462" y="1765425"/>
            <a:ext cx="1642309" cy="369332"/>
          </a:xfrm>
          <a:prstGeom prst="rect">
            <a:avLst/>
          </a:prstGeom>
          <a:noFill/>
        </p:spPr>
        <p:txBody>
          <a:bodyPr wrap="none" lIns="91440" tIns="45720" rIns="91440" bIns="45720" rtlCol="0" anchor="b" anchorCtr="0">
            <a:spAutoFit/>
          </a:bodyPr>
          <a:lstStyle/>
          <a:p>
            <a:r>
              <a:rPr lang="en-GB" b="1" dirty="0">
                <a:solidFill>
                  <a:schemeClr val="tx2"/>
                </a:solidFill>
                <a:latin typeface="+mj-lt"/>
                <a:ea typeface="League Spartan" charset="0"/>
                <a:cs typeface="Poppins" pitchFamily="2" charset="77"/>
              </a:rPr>
              <a:t>Sistema de reclamación</a:t>
            </a:r>
          </a:p>
        </p:txBody>
      </p:sp>
      <p:sp>
        <p:nvSpPr>
          <p:cNvPr id="17" name="Subtitle 2">
            <a:extLst>
              <a:ext uri="{FF2B5EF4-FFF2-40B4-BE49-F238E27FC236}">
                <a16:creationId xmlns:a16="http://schemas.microsoft.com/office/drawing/2014/main" xmlns="" id="{B3A360FC-7259-4651-A29F-042977C2617C}"/>
              </a:ext>
            </a:extLst>
          </p:cNvPr>
          <p:cNvSpPr txBox="1">
            <a:spLocks/>
          </p:cNvSpPr>
          <p:nvPr/>
        </p:nvSpPr>
        <p:spPr>
          <a:xfrm>
            <a:off x="9472701" y="2089810"/>
            <a:ext cx="2684248" cy="43681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Se prohíbe la reclamación? ¿Por qué?</a:t>
            </a:r>
            <a:endParaRPr lang="en-US" sz="1600" dirty="0">
              <a:solidFill>
                <a:srgbClr val="245473"/>
              </a:solidFill>
            </a:endParaRP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uándo se envía el </a:t>
            </a:r>
            <a:r>
              <a:rPr lang="en-GB" sz="1600" baseline="30000" dirty="0">
                <a:solidFill>
                  <a:srgbClr val="245473"/>
                </a:solidFill>
                <a:latin typeface="+mj-lt"/>
                <a:ea typeface="Lato Light" panose="020F0502020204030203" pitchFamily="34" charset="0"/>
                <a:cs typeface="Mukta ExtraLight" panose="020B0000000000000000" pitchFamily="34" charset="77"/>
              </a:rPr>
              <a:t>primer </a:t>
            </a:r>
            <a:r>
              <a:rPr lang="en-GB" sz="1600" dirty="0">
                <a:solidFill>
                  <a:srgbClr val="245473"/>
                </a:solidFill>
                <a:latin typeface="+mj-lt"/>
                <a:ea typeface="Lato Light" panose="020F0502020204030203" pitchFamily="34" charset="0"/>
                <a:cs typeface="Mukta ExtraLight" panose="020B0000000000000000" pitchFamily="34" charset="77"/>
              </a:rPr>
              <a:t>recordatorio? ¿Con qué frecuencia?</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Qué ocurre después del último nivel de reclamación?</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ómo se formulan los recordatorio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Explotación de los recursos legale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Quién inicia los recordatorio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Quién participa en el proceso?</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ómo se involucra el departamento de venta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Análisis de las causas de los créditos vencidos?</a:t>
            </a:r>
          </a:p>
        </p:txBody>
      </p:sp>
      <p:sp>
        <p:nvSpPr>
          <p:cNvPr id="18" name="TextBox 26">
            <a:extLst>
              <a:ext uri="{FF2B5EF4-FFF2-40B4-BE49-F238E27FC236}">
                <a16:creationId xmlns:a16="http://schemas.microsoft.com/office/drawing/2014/main" xmlns="" id="{3F005DF6-025C-4D79-AAD4-7099F96A9B84}"/>
              </a:ext>
            </a:extLst>
          </p:cNvPr>
          <p:cNvSpPr txBox="1"/>
          <p:nvPr/>
        </p:nvSpPr>
        <p:spPr>
          <a:xfrm>
            <a:off x="4639614" y="1765425"/>
            <a:ext cx="2834815" cy="338554"/>
          </a:xfrm>
          <a:prstGeom prst="rect">
            <a:avLst/>
          </a:prstGeom>
          <a:noFill/>
        </p:spPr>
        <p:txBody>
          <a:bodyPr wrap="none" lIns="91440" tIns="45720" rIns="91440" bIns="45720" rtlCol="0" anchor="b" anchorCtr="0">
            <a:spAutoFit/>
          </a:bodyPr>
          <a:lstStyle/>
          <a:p>
            <a:r>
              <a:rPr lang="en-GB" sz="1600" b="1" dirty="0">
                <a:solidFill>
                  <a:srgbClr val="F95C2C"/>
                </a:solidFill>
                <a:latin typeface="+mj-lt"/>
                <a:ea typeface="League Spartan" charset="0"/>
                <a:cs typeface="Poppins" pitchFamily="2" charset="77"/>
              </a:rPr>
              <a:t>Estructura de las cuentas por cobrar</a:t>
            </a:r>
          </a:p>
        </p:txBody>
      </p:sp>
      <p:sp>
        <p:nvSpPr>
          <p:cNvPr id="19" name="Subtitle 2">
            <a:extLst>
              <a:ext uri="{FF2B5EF4-FFF2-40B4-BE49-F238E27FC236}">
                <a16:creationId xmlns:a16="http://schemas.microsoft.com/office/drawing/2014/main" xmlns="" id="{971A53F2-068D-4409-ACFB-86187A4F300D}"/>
              </a:ext>
            </a:extLst>
          </p:cNvPr>
          <p:cNvSpPr txBox="1">
            <a:spLocks/>
          </p:cNvSpPr>
          <p:nvPr/>
        </p:nvSpPr>
        <p:spPr>
          <a:xfrm>
            <a:off x="3877448" y="1889493"/>
            <a:ext cx="2317279" cy="225062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Edad</a:t>
            </a:r>
            <a:endParaRPr lang="en-US" sz="2800" dirty="0">
              <a:solidFill>
                <a:srgbClr val="245473"/>
              </a:solidFill>
            </a:endParaRP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Nacional/ extranjero</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Países (historial de pago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Divisione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Clientes / compradores (solvencia)</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Responsabilidades de venta</a:t>
            </a:r>
            <a:endParaRPr lang="en-GB" sz="1400" dirty="0">
              <a:solidFill>
                <a:srgbClr val="245473"/>
              </a:solidFill>
              <a:latin typeface="+mj-lt"/>
              <a:ea typeface="Lato Light" panose="020F0502020204030203" pitchFamily="34" charset="0"/>
              <a:cs typeface="Mukta ExtraLight" panose="020B0000000000000000" pitchFamily="34" charset="77"/>
            </a:endParaRPr>
          </a:p>
        </p:txBody>
      </p:sp>
      <p:sp>
        <p:nvSpPr>
          <p:cNvPr id="22" name="Freeform 34">
            <a:extLst>
              <a:ext uri="{FF2B5EF4-FFF2-40B4-BE49-F238E27FC236}">
                <a16:creationId xmlns:a16="http://schemas.microsoft.com/office/drawing/2014/main" xmlns="" id="{07B0C062-89A9-481A-8EED-AD7721322695}"/>
              </a:ext>
            </a:extLst>
          </p:cNvPr>
          <p:cNvSpPr/>
          <p:nvPr/>
        </p:nvSpPr>
        <p:spPr>
          <a:xfrm>
            <a:off x="5970209" y="2260848"/>
            <a:ext cx="2783922" cy="1588283"/>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23" name="Freeform 36">
            <a:extLst>
              <a:ext uri="{FF2B5EF4-FFF2-40B4-BE49-F238E27FC236}">
                <a16:creationId xmlns:a16="http://schemas.microsoft.com/office/drawing/2014/main" xmlns="" id="{3B7BE848-B9C8-4A06-92AC-28323191E590}"/>
              </a:ext>
            </a:extLst>
          </p:cNvPr>
          <p:cNvSpPr/>
          <p:nvPr/>
        </p:nvSpPr>
        <p:spPr>
          <a:xfrm>
            <a:off x="7758277" y="2543528"/>
            <a:ext cx="1636358" cy="3054156"/>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24" name="Freeform 35">
            <a:extLst>
              <a:ext uri="{FF2B5EF4-FFF2-40B4-BE49-F238E27FC236}">
                <a16:creationId xmlns:a16="http://schemas.microsoft.com/office/drawing/2014/main" xmlns="" id="{51CB2163-5B1D-420F-AAC9-CE32A87B823A}"/>
              </a:ext>
            </a:extLst>
          </p:cNvPr>
          <p:cNvSpPr/>
          <p:nvPr/>
        </p:nvSpPr>
        <p:spPr>
          <a:xfrm>
            <a:off x="5746953" y="3381048"/>
            <a:ext cx="2684248" cy="229673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25" name="TextBox 37">
            <a:extLst>
              <a:ext uri="{FF2B5EF4-FFF2-40B4-BE49-F238E27FC236}">
                <a16:creationId xmlns:a16="http://schemas.microsoft.com/office/drawing/2014/main" xmlns="" id="{73E51F7D-0D3F-462B-B3EB-945A970158ED}"/>
              </a:ext>
            </a:extLst>
          </p:cNvPr>
          <p:cNvSpPr txBox="1"/>
          <p:nvPr/>
        </p:nvSpPr>
        <p:spPr>
          <a:xfrm>
            <a:off x="6269484" y="3518084"/>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1</a:t>
            </a:r>
            <a:endParaRPr lang="en-GB" sz="2251" b="1" dirty="0">
              <a:solidFill>
                <a:schemeClr val="bg1"/>
              </a:solidFill>
              <a:latin typeface="Poppins" pitchFamily="2" charset="77"/>
              <a:ea typeface="League Spartan" charset="0"/>
              <a:cs typeface="Poppins" pitchFamily="2" charset="77"/>
            </a:endParaRPr>
          </a:p>
        </p:txBody>
      </p:sp>
      <p:sp>
        <p:nvSpPr>
          <p:cNvPr id="26" name="TextBox 38">
            <a:extLst>
              <a:ext uri="{FF2B5EF4-FFF2-40B4-BE49-F238E27FC236}">
                <a16:creationId xmlns:a16="http://schemas.microsoft.com/office/drawing/2014/main" xmlns="" id="{BD42368B-7922-4168-9E0D-E67AC289E6B8}"/>
              </a:ext>
            </a:extLst>
          </p:cNvPr>
          <p:cNvSpPr txBox="1"/>
          <p:nvPr/>
        </p:nvSpPr>
        <p:spPr>
          <a:xfrm>
            <a:off x="8217663" y="2905277"/>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2</a:t>
            </a:r>
            <a:endParaRPr lang="en-GB" sz="2251" b="1" dirty="0">
              <a:solidFill>
                <a:schemeClr val="bg1"/>
              </a:solidFill>
              <a:latin typeface="Poppins" pitchFamily="2" charset="77"/>
              <a:ea typeface="League Spartan" charset="0"/>
              <a:cs typeface="Poppins" pitchFamily="2" charset="77"/>
            </a:endParaRPr>
          </a:p>
        </p:txBody>
      </p:sp>
      <p:sp>
        <p:nvSpPr>
          <p:cNvPr id="27" name="TextBox 40">
            <a:extLst>
              <a:ext uri="{FF2B5EF4-FFF2-40B4-BE49-F238E27FC236}">
                <a16:creationId xmlns:a16="http://schemas.microsoft.com/office/drawing/2014/main" xmlns="" id="{BEC065EF-E396-434B-9711-A63692028898}"/>
              </a:ext>
            </a:extLst>
          </p:cNvPr>
          <p:cNvSpPr txBox="1"/>
          <p:nvPr/>
        </p:nvSpPr>
        <p:spPr>
          <a:xfrm>
            <a:off x="7801503" y="4903761"/>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3</a:t>
            </a:r>
            <a:endParaRPr lang="en-GB" sz="2251" b="1" dirty="0">
              <a:solidFill>
                <a:schemeClr val="bg1"/>
              </a:solidFill>
              <a:latin typeface="Poppins" pitchFamily="2" charset="77"/>
              <a:ea typeface="League Spartan" charset="0"/>
              <a:cs typeface="Poppins" pitchFamily="2" charset="77"/>
            </a:endParaRPr>
          </a:p>
        </p:txBody>
      </p:sp>
      <p:sp>
        <p:nvSpPr>
          <p:cNvPr id="28" name="Freeform 10">
            <a:extLst>
              <a:ext uri="{FF2B5EF4-FFF2-40B4-BE49-F238E27FC236}">
                <a16:creationId xmlns:a16="http://schemas.microsoft.com/office/drawing/2014/main" xmlns="" id="{BC8C4D48-AAF5-4E77-87DB-A5F807A90DE4}"/>
              </a:ext>
            </a:extLst>
          </p:cNvPr>
          <p:cNvSpPr>
            <a:spLocks noChangeAspect="1" noChangeArrowheads="1"/>
          </p:cNvSpPr>
          <p:nvPr/>
        </p:nvSpPr>
        <p:spPr bwMode="auto">
          <a:xfrm>
            <a:off x="8534789" y="3894002"/>
            <a:ext cx="533891" cy="533891"/>
          </a:xfrm>
          <a:custGeom>
            <a:avLst/>
            <a:gdLst>
              <a:gd name="T0" fmla="*/ 2147483646 w 810"/>
              <a:gd name="T1" fmla="*/ 2147483646 h 810"/>
              <a:gd name="T2" fmla="*/ 2147483646 w 810"/>
              <a:gd name="T3" fmla="*/ 2147483646 h 810"/>
              <a:gd name="T4" fmla="*/ 2147483646 w 810"/>
              <a:gd name="T5" fmla="*/ 2147483646 h 810"/>
              <a:gd name="T6" fmla="*/ 2147483646 w 810"/>
              <a:gd name="T7" fmla="*/ 2147483646 h 810"/>
              <a:gd name="T8" fmla="*/ 2147483646 w 810"/>
              <a:gd name="T9" fmla="*/ 2147483646 h 810"/>
              <a:gd name="T10" fmla="*/ 2147483646 w 810"/>
              <a:gd name="T11" fmla="*/ 2147483646 h 810"/>
              <a:gd name="T12" fmla="*/ 2147483646 w 810"/>
              <a:gd name="T13" fmla="*/ 2147483646 h 810"/>
              <a:gd name="T14" fmla="*/ 2147483646 w 810"/>
              <a:gd name="T15" fmla="*/ 2147483646 h 810"/>
              <a:gd name="T16" fmla="*/ 2147483646 w 810"/>
              <a:gd name="T17" fmla="*/ 2147483646 h 810"/>
              <a:gd name="T18" fmla="*/ 2147483646 w 810"/>
              <a:gd name="T19" fmla="*/ 2147483646 h 810"/>
              <a:gd name="T20" fmla="*/ 2147483646 w 810"/>
              <a:gd name="T21" fmla="*/ 2147483646 h 810"/>
              <a:gd name="T22" fmla="*/ 2147483646 w 810"/>
              <a:gd name="T23" fmla="*/ 2147483646 h 810"/>
              <a:gd name="T24" fmla="*/ 2147483646 w 810"/>
              <a:gd name="T25" fmla="*/ 2147483646 h 810"/>
              <a:gd name="T26" fmla="*/ 2147483646 w 810"/>
              <a:gd name="T27" fmla="*/ 2147483646 h 810"/>
              <a:gd name="T28" fmla="*/ 2147483646 w 810"/>
              <a:gd name="T29" fmla="*/ 2147483646 h 810"/>
              <a:gd name="T30" fmla="*/ 2147483646 w 810"/>
              <a:gd name="T31" fmla="*/ 2147483646 h 810"/>
              <a:gd name="T32" fmla="*/ 2147483646 w 810"/>
              <a:gd name="T33" fmla="*/ 2147483646 h 810"/>
              <a:gd name="T34" fmla="*/ 2147483646 w 810"/>
              <a:gd name="T35" fmla="*/ 2147483646 h 810"/>
              <a:gd name="T36" fmla="*/ 2147483646 w 810"/>
              <a:gd name="T37" fmla="*/ 2147483646 h 810"/>
              <a:gd name="T38" fmla="*/ 2147483646 w 810"/>
              <a:gd name="T39" fmla="*/ 2147483646 h 810"/>
              <a:gd name="T40" fmla="*/ 2147483646 w 810"/>
              <a:gd name="T41" fmla="*/ 2147483646 h 810"/>
              <a:gd name="T42" fmla="*/ 2147483646 w 810"/>
              <a:gd name="T43" fmla="*/ 2147483646 h 810"/>
              <a:gd name="T44" fmla="*/ 2147483646 w 810"/>
              <a:gd name="T45" fmla="*/ 2147483646 h 810"/>
              <a:gd name="T46" fmla="*/ 2147483646 w 810"/>
              <a:gd name="T47" fmla="*/ 2147483646 h 810"/>
              <a:gd name="T48" fmla="*/ 2147483646 w 810"/>
              <a:gd name="T49" fmla="*/ 2147483646 h 810"/>
              <a:gd name="T50" fmla="*/ 2147483646 w 810"/>
              <a:gd name="T51" fmla="*/ 2147483646 h 810"/>
              <a:gd name="T52" fmla="*/ 2147483646 w 810"/>
              <a:gd name="T53" fmla="*/ 2147483646 h 810"/>
              <a:gd name="T54" fmla="*/ 2147483646 w 810"/>
              <a:gd name="T55" fmla="*/ 2147483646 h 810"/>
              <a:gd name="T56" fmla="*/ 2147483646 w 810"/>
              <a:gd name="T57" fmla="*/ 2147483646 h 810"/>
              <a:gd name="T58" fmla="*/ 2147483646 w 810"/>
              <a:gd name="T59" fmla="*/ 2147483646 h 810"/>
              <a:gd name="T60" fmla="*/ 2147483646 w 810"/>
              <a:gd name="T61" fmla="*/ 2147483646 h 810"/>
              <a:gd name="T62" fmla="*/ 2147483646 w 810"/>
              <a:gd name="T63" fmla="*/ 2147483646 h 810"/>
              <a:gd name="T64" fmla="*/ 2147483646 w 810"/>
              <a:gd name="T65" fmla="*/ 2147483646 h 810"/>
              <a:gd name="T66" fmla="*/ 2147483646 w 810"/>
              <a:gd name="T67" fmla="*/ 2147483646 h 810"/>
              <a:gd name="T68" fmla="*/ 2147483646 w 810"/>
              <a:gd name="T69" fmla="*/ 2147483646 h 810"/>
              <a:gd name="T70" fmla="*/ 2147483646 w 810"/>
              <a:gd name="T71" fmla="*/ 2147483646 h 810"/>
              <a:gd name="T72" fmla="*/ 2147483646 w 810"/>
              <a:gd name="T73" fmla="*/ 2147483646 h 810"/>
              <a:gd name="T74" fmla="*/ 2147483646 w 810"/>
              <a:gd name="T75" fmla="*/ 2147483646 h 810"/>
              <a:gd name="T76" fmla="*/ 2147483646 w 810"/>
              <a:gd name="T77" fmla="*/ 2147483646 h 810"/>
              <a:gd name="T78" fmla="*/ 2147483646 w 810"/>
              <a:gd name="T79" fmla="*/ 2147483646 h 810"/>
              <a:gd name="T80" fmla="*/ 2147483646 w 810"/>
              <a:gd name="T81" fmla="*/ 2147483646 h 810"/>
              <a:gd name="T82" fmla="*/ 2147483646 w 810"/>
              <a:gd name="T83" fmla="*/ 2147483646 h 810"/>
              <a:gd name="T84" fmla="*/ 2147483646 w 810"/>
              <a:gd name="T85" fmla="*/ 2147483646 h 810"/>
              <a:gd name="T86" fmla="*/ 2147483646 w 810"/>
              <a:gd name="T87" fmla="*/ 2147483646 h 810"/>
              <a:gd name="T88" fmla="*/ 2147483646 w 810"/>
              <a:gd name="T89" fmla="*/ 2147483646 h 810"/>
              <a:gd name="T90" fmla="*/ 2147483646 w 810"/>
              <a:gd name="T91" fmla="*/ 2147483646 h 810"/>
              <a:gd name="T92" fmla="*/ 2147483646 w 810"/>
              <a:gd name="T93" fmla="*/ 2147483646 h 810"/>
              <a:gd name="T94" fmla="*/ 2147483646 w 810"/>
              <a:gd name="T95" fmla="*/ 2147483646 h 810"/>
              <a:gd name="T96" fmla="*/ 2147483646 w 810"/>
              <a:gd name="T97" fmla="*/ 2147483646 h 810"/>
              <a:gd name="T98" fmla="*/ 2147483646 w 810"/>
              <a:gd name="T99" fmla="*/ 2147483646 h 810"/>
              <a:gd name="T100" fmla="*/ 2147483646 w 810"/>
              <a:gd name="T101" fmla="*/ 2147483646 h 810"/>
              <a:gd name="T102" fmla="*/ 2147483646 w 810"/>
              <a:gd name="T103" fmla="*/ 2147483646 h 810"/>
              <a:gd name="T104" fmla="*/ 2147483646 w 810"/>
              <a:gd name="T105" fmla="*/ 2147483646 h 810"/>
              <a:gd name="T106" fmla="*/ 2147483646 w 810"/>
              <a:gd name="T107" fmla="*/ 0 h 810"/>
              <a:gd name="T108" fmla="*/ 2147483646 w 810"/>
              <a:gd name="T109" fmla="*/ 0 h 810"/>
              <a:gd name="T110" fmla="*/ 2147483646 w 810"/>
              <a:gd name="T111" fmla="*/ 2147483646 h 810"/>
              <a:gd name="T112" fmla="*/ 2147483646 w 810"/>
              <a:gd name="T113" fmla="*/ 2147483646 h 810"/>
              <a:gd name="T114" fmla="*/ 2147483646 w 810"/>
              <a:gd name="T115" fmla="*/ 2147483646 h 810"/>
              <a:gd name="T116" fmla="*/ 0 w 810"/>
              <a:gd name="T117" fmla="*/ 2147483646 h 810"/>
              <a:gd name="T118" fmla="*/ 2147483646 w 810"/>
              <a:gd name="T119" fmla="*/ 2147483646 h 810"/>
              <a:gd name="T120" fmla="*/ 2147483646 w 810"/>
              <a:gd name="T121" fmla="*/ 2147483646 h 810"/>
              <a:gd name="T122" fmla="*/ 2147483646 w 810"/>
              <a:gd name="T123" fmla="*/ 2147483646 h 810"/>
              <a:gd name="T124" fmla="*/ 2147483646 w 810"/>
              <a:gd name="T125" fmla="*/ 2147483646 h 8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10" h="810">
                <a:moveTo>
                  <a:pt x="784" y="654"/>
                </a:moveTo>
                <a:lnTo>
                  <a:pt x="784" y="654"/>
                </a:lnTo>
                <a:cubicBezTo>
                  <a:pt x="715" y="660"/>
                  <a:pt x="660" y="715"/>
                  <a:pt x="654" y="784"/>
                </a:cubicBezTo>
                <a:lnTo>
                  <a:pt x="155" y="784"/>
                </a:lnTo>
                <a:cubicBezTo>
                  <a:pt x="149" y="715"/>
                  <a:pt x="94" y="660"/>
                  <a:pt x="25" y="654"/>
                </a:cubicBezTo>
                <a:lnTo>
                  <a:pt x="25" y="243"/>
                </a:lnTo>
                <a:lnTo>
                  <a:pt x="78" y="401"/>
                </a:lnTo>
                <a:cubicBezTo>
                  <a:pt x="91" y="440"/>
                  <a:pt x="126" y="465"/>
                  <a:pt x="166" y="465"/>
                </a:cubicBezTo>
                <a:lnTo>
                  <a:pt x="180" y="465"/>
                </a:lnTo>
                <a:lnTo>
                  <a:pt x="180" y="478"/>
                </a:lnTo>
                <a:cubicBezTo>
                  <a:pt x="180" y="512"/>
                  <a:pt x="207" y="540"/>
                  <a:pt x="241" y="540"/>
                </a:cubicBezTo>
                <a:cubicBezTo>
                  <a:pt x="275" y="540"/>
                  <a:pt x="302" y="512"/>
                  <a:pt x="302" y="478"/>
                </a:cubicBezTo>
                <a:lnTo>
                  <a:pt x="302" y="465"/>
                </a:lnTo>
                <a:lnTo>
                  <a:pt x="506" y="465"/>
                </a:lnTo>
                <a:lnTo>
                  <a:pt x="506" y="478"/>
                </a:lnTo>
                <a:cubicBezTo>
                  <a:pt x="506" y="512"/>
                  <a:pt x="534" y="540"/>
                  <a:pt x="568" y="540"/>
                </a:cubicBezTo>
                <a:cubicBezTo>
                  <a:pt x="602" y="540"/>
                  <a:pt x="629" y="512"/>
                  <a:pt x="629" y="478"/>
                </a:cubicBezTo>
                <a:lnTo>
                  <a:pt x="629" y="465"/>
                </a:lnTo>
                <a:lnTo>
                  <a:pt x="642" y="465"/>
                </a:lnTo>
                <a:cubicBezTo>
                  <a:pt x="683" y="465"/>
                  <a:pt x="718" y="440"/>
                  <a:pt x="731" y="401"/>
                </a:cubicBezTo>
                <a:lnTo>
                  <a:pt x="784" y="243"/>
                </a:lnTo>
                <a:lnTo>
                  <a:pt x="784" y="654"/>
                </a:lnTo>
                <a:close/>
                <a:moveTo>
                  <a:pt x="784" y="747"/>
                </a:moveTo>
                <a:lnTo>
                  <a:pt x="784" y="747"/>
                </a:lnTo>
                <a:cubicBezTo>
                  <a:pt x="784" y="768"/>
                  <a:pt x="768" y="784"/>
                  <a:pt x="748" y="784"/>
                </a:cubicBezTo>
                <a:lnTo>
                  <a:pt x="679" y="784"/>
                </a:lnTo>
                <a:cubicBezTo>
                  <a:pt x="684" y="729"/>
                  <a:pt x="729" y="684"/>
                  <a:pt x="784" y="679"/>
                </a:cubicBezTo>
                <a:lnTo>
                  <a:pt x="784" y="747"/>
                </a:lnTo>
                <a:close/>
                <a:moveTo>
                  <a:pt x="61" y="784"/>
                </a:moveTo>
                <a:lnTo>
                  <a:pt x="61" y="784"/>
                </a:lnTo>
                <a:cubicBezTo>
                  <a:pt x="41" y="784"/>
                  <a:pt x="25" y="768"/>
                  <a:pt x="25" y="747"/>
                </a:cubicBezTo>
                <a:lnTo>
                  <a:pt x="25" y="679"/>
                </a:lnTo>
                <a:cubicBezTo>
                  <a:pt x="80" y="684"/>
                  <a:pt x="125" y="729"/>
                  <a:pt x="130" y="784"/>
                </a:cubicBezTo>
                <a:lnTo>
                  <a:pt x="61" y="784"/>
                </a:lnTo>
                <a:close/>
                <a:moveTo>
                  <a:pt x="278" y="425"/>
                </a:moveTo>
                <a:lnTo>
                  <a:pt x="278" y="478"/>
                </a:lnTo>
                <a:cubicBezTo>
                  <a:pt x="278" y="498"/>
                  <a:pt x="261" y="515"/>
                  <a:pt x="241" y="515"/>
                </a:cubicBezTo>
                <a:cubicBezTo>
                  <a:pt x="221" y="515"/>
                  <a:pt x="205" y="498"/>
                  <a:pt x="205" y="478"/>
                </a:cubicBezTo>
                <a:lnTo>
                  <a:pt x="205" y="425"/>
                </a:lnTo>
                <a:lnTo>
                  <a:pt x="278" y="425"/>
                </a:lnTo>
                <a:close/>
                <a:moveTo>
                  <a:pt x="604" y="425"/>
                </a:moveTo>
                <a:lnTo>
                  <a:pt x="604" y="478"/>
                </a:lnTo>
                <a:cubicBezTo>
                  <a:pt x="604" y="498"/>
                  <a:pt x="588" y="515"/>
                  <a:pt x="568" y="515"/>
                </a:cubicBezTo>
                <a:cubicBezTo>
                  <a:pt x="548" y="515"/>
                  <a:pt x="531" y="498"/>
                  <a:pt x="531" y="478"/>
                </a:cubicBezTo>
                <a:lnTo>
                  <a:pt x="531" y="425"/>
                </a:lnTo>
                <a:lnTo>
                  <a:pt x="604" y="425"/>
                </a:lnTo>
                <a:close/>
                <a:moveTo>
                  <a:pt x="32" y="138"/>
                </a:moveTo>
                <a:lnTo>
                  <a:pt x="32" y="138"/>
                </a:lnTo>
                <a:cubicBezTo>
                  <a:pt x="38" y="128"/>
                  <a:pt x="49" y="123"/>
                  <a:pt x="61" y="123"/>
                </a:cubicBezTo>
                <a:lnTo>
                  <a:pt x="747" y="123"/>
                </a:lnTo>
                <a:cubicBezTo>
                  <a:pt x="760" y="123"/>
                  <a:pt x="770" y="128"/>
                  <a:pt x="777" y="138"/>
                </a:cubicBezTo>
                <a:cubicBezTo>
                  <a:pt x="784" y="148"/>
                  <a:pt x="786" y="159"/>
                  <a:pt x="783" y="171"/>
                </a:cubicBezTo>
                <a:lnTo>
                  <a:pt x="708" y="394"/>
                </a:lnTo>
                <a:cubicBezTo>
                  <a:pt x="698" y="422"/>
                  <a:pt x="672" y="441"/>
                  <a:pt x="642" y="441"/>
                </a:cubicBezTo>
                <a:lnTo>
                  <a:pt x="629" y="441"/>
                </a:lnTo>
                <a:lnTo>
                  <a:pt x="629" y="412"/>
                </a:lnTo>
                <a:cubicBezTo>
                  <a:pt x="629" y="406"/>
                  <a:pt x="624" y="400"/>
                  <a:pt x="617" y="400"/>
                </a:cubicBezTo>
                <a:lnTo>
                  <a:pt x="519" y="400"/>
                </a:lnTo>
                <a:cubicBezTo>
                  <a:pt x="512" y="400"/>
                  <a:pt x="506" y="406"/>
                  <a:pt x="506" y="412"/>
                </a:cubicBezTo>
                <a:lnTo>
                  <a:pt x="506" y="441"/>
                </a:lnTo>
                <a:lnTo>
                  <a:pt x="302" y="441"/>
                </a:lnTo>
                <a:lnTo>
                  <a:pt x="302" y="412"/>
                </a:lnTo>
                <a:cubicBezTo>
                  <a:pt x="302" y="406"/>
                  <a:pt x="297" y="400"/>
                  <a:pt x="290" y="400"/>
                </a:cubicBezTo>
                <a:lnTo>
                  <a:pt x="192" y="400"/>
                </a:lnTo>
                <a:cubicBezTo>
                  <a:pt x="185" y="400"/>
                  <a:pt x="180" y="406"/>
                  <a:pt x="180" y="412"/>
                </a:cubicBezTo>
                <a:lnTo>
                  <a:pt x="180" y="441"/>
                </a:lnTo>
                <a:lnTo>
                  <a:pt x="166" y="441"/>
                </a:lnTo>
                <a:cubicBezTo>
                  <a:pt x="137" y="441"/>
                  <a:pt x="110" y="422"/>
                  <a:pt x="101" y="394"/>
                </a:cubicBezTo>
                <a:lnTo>
                  <a:pt x="27" y="171"/>
                </a:lnTo>
                <a:cubicBezTo>
                  <a:pt x="23" y="159"/>
                  <a:pt x="25" y="148"/>
                  <a:pt x="32" y="138"/>
                </a:cubicBezTo>
                <a:close/>
                <a:moveTo>
                  <a:pt x="253" y="78"/>
                </a:moveTo>
                <a:lnTo>
                  <a:pt x="253" y="78"/>
                </a:lnTo>
                <a:cubicBezTo>
                  <a:pt x="253" y="48"/>
                  <a:pt x="277" y="24"/>
                  <a:pt x="306" y="24"/>
                </a:cubicBezTo>
                <a:lnTo>
                  <a:pt x="502" y="24"/>
                </a:lnTo>
                <a:cubicBezTo>
                  <a:pt x="532" y="24"/>
                  <a:pt x="556" y="48"/>
                  <a:pt x="556" y="78"/>
                </a:cubicBezTo>
                <a:lnTo>
                  <a:pt x="556" y="98"/>
                </a:lnTo>
                <a:lnTo>
                  <a:pt x="253" y="98"/>
                </a:lnTo>
                <a:lnTo>
                  <a:pt x="253" y="78"/>
                </a:lnTo>
                <a:close/>
                <a:moveTo>
                  <a:pt x="797" y="124"/>
                </a:moveTo>
                <a:lnTo>
                  <a:pt x="797" y="124"/>
                </a:lnTo>
                <a:cubicBezTo>
                  <a:pt x="785" y="107"/>
                  <a:pt x="767" y="98"/>
                  <a:pt x="747" y="98"/>
                </a:cubicBezTo>
                <a:lnTo>
                  <a:pt x="580" y="98"/>
                </a:lnTo>
                <a:lnTo>
                  <a:pt x="580" y="78"/>
                </a:lnTo>
                <a:cubicBezTo>
                  <a:pt x="580" y="35"/>
                  <a:pt x="545" y="0"/>
                  <a:pt x="502" y="0"/>
                </a:cubicBezTo>
                <a:lnTo>
                  <a:pt x="306" y="0"/>
                </a:lnTo>
                <a:cubicBezTo>
                  <a:pt x="264" y="0"/>
                  <a:pt x="229" y="35"/>
                  <a:pt x="229" y="78"/>
                </a:cubicBezTo>
                <a:lnTo>
                  <a:pt x="229" y="98"/>
                </a:lnTo>
                <a:lnTo>
                  <a:pt x="61" y="98"/>
                </a:lnTo>
                <a:cubicBezTo>
                  <a:pt x="41" y="98"/>
                  <a:pt x="24" y="107"/>
                  <a:pt x="12" y="124"/>
                </a:cubicBezTo>
                <a:cubicBezTo>
                  <a:pt x="4" y="135"/>
                  <a:pt x="0" y="148"/>
                  <a:pt x="0" y="161"/>
                </a:cubicBezTo>
                <a:lnTo>
                  <a:pt x="0" y="747"/>
                </a:lnTo>
                <a:cubicBezTo>
                  <a:pt x="0" y="782"/>
                  <a:pt x="28" y="809"/>
                  <a:pt x="61" y="809"/>
                </a:cubicBezTo>
                <a:lnTo>
                  <a:pt x="748" y="809"/>
                </a:lnTo>
                <a:cubicBezTo>
                  <a:pt x="781" y="809"/>
                  <a:pt x="809" y="782"/>
                  <a:pt x="809" y="747"/>
                </a:cubicBezTo>
                <a:lnTo>
                  <a:pt x="809" y="161"/>
                </a:lnTo>
                <a:cubicBezTo>
                  <a:pt x="809" y="148"/>
                  <a:pt x="805" y="135"/>
                  <a:pt x="797" y="124"/>
                </a:cubicBezTo>
                <a:close/>
              </a:path>
            </a:pathLst>
          </a:custGeom>
          <a:solidFill>
            <a:schemeClr val="bg1"/>
          </a:solidFill>
          <a:ln>
            <a:noFill/>
          </a:ln>
          <a:effectLst/>
        </p:spPr>
        <p:txBody>
          <a:bodyPr wrap="none" anchor="ctr"/>
          <a:lstStyle/>
          <a:p>
            <a:endParaRPr lang="en-GB" sz="567" dirty="0"/>
          </a:p>
        </p:txBody>
      </p:sp>
      <p:sp>
        <p:nvSpPr>
          <p:cNvPr id="29" name="Freeform 949">
            <a:extLst>
              <a:ext uri="{FF2B5EF4-FFF2-40B4-BE49-F238E27FC236}">
                <a16:creationId xmlns:a16="http://schemas.microsoft.com/office/drawing/2014/main" xmlns="" id="{A7B685A6-D4C7-44E9-951B-7022BEF6089D}"/>
              </a:ext>
            </a:extLst>
          </p:cNvPr>
          <p:cNvSpPr>
            <a:spLocks noChangeAspect="1" noChangeArrowheads="1"/>
          </p:cNvSpPr>
          <p:nvPr/>
        </p:nvSpPr>
        <p:spPr bwMode="auto">
          <a:xfrm>
            <a:off x="7035874" y="2574837"/>
            <a:ext cx="532292" cy="533891"/>
          </a:xfrm>
          <a:custGeom>
            <a:avLst/>
            <a:gdLst>
              <a:gd name="T0" fmla="*/ 1584479 w 291288"/>
              <a:gd name="T1" fmla="*/ 5081546 h 291739"/>
              <a:gd name="T2" fmla="*/ 1497482 w 291288"/>
              <a:gd name="T3" fmla="*/ 5650958 h 291739"/>
              <a:gd name="T4" fmla="*/ 2845342 w 291288"/>
              <a:gd name="T5" fmla="*/ 5650958 h 291739"/>
              <a:gd name="T6" fmla="*/ 2845342 w 291288"/>
              <a:gd name="T7" fmla="*/ 5081546 h 291739"/>
              <a:gd name="T8" fmla="*/ 1693171 w 291288"/>
              <a:gd name="T9" fmla="*/ 4411191 h 291739"/>
              <a:gd name="T10" fmla="*/ 1613438 w 291288"/>
              <a:gd name="T11" fmla="*/ 4901341 h 291739"/>
              <a:gd name="T12" fmla="*/ 2932303 w 291288"/>
              <a:gd name="T13" fmla="*/ 4901341 h 291739"/>
              <a:gd name="T14" fmla="*/ 3019233 w 291288"/>
              <a:gd name="T15" fmla="*/ 4995057 h 291739"/>
              <a:gd name="T16" fmla="*/ 3019233 w 291288"/>
              <a:gd name="T17" fmla="*/ 5650958 h 291739"/>
              <a:gd name="T18" fmla="*/ 5396083 w 291288"/>
              <a:gd name="T19" fmla="*/ 5650958 h 291739"/>
              <a:gd name="T20" fmla="*/ 2910585 w 291288"/>
              <a:gd name="T21" fmla="*/ 4411191 h 291739"/>
              <a:gd name="T22" fmla="*/ 584454 w 291288"/>
              <a:gd name="T23" fmla="*/ 4411191 h 291739"/>
              <a:gd name="T24" fmla="*/ 207645 w 291288"/>
              <a:gd name="T25" fmla="*/ 5650958 h 291739"/>
              <a:gd name="T26" fmla="*/ 1316308 w 291288"/>
              <a:gd name="T27" fmla="*/ 5650958 h 291739"/>
              <a:gd name="T28" fmla="*/ 1519225 w 291288"/>
              <a:gd name="T29" fmla="*/ 4411191 h 291739"/>
              <a:gd name="T30" fmla="*/ 5193231 w 291288"/>
              <a:gd name="T31" fmla="*/ 4122900 h 291739"/>
              <a:gd name="T32" fmla="*/ 3954030 w 291288"/>
              <a:gd name="T33" fmla="*/ 4742764 h 291739"/>
              <a:gd name="T34" fmla="*/ 5627966 w 291288"/>
              <a:gd name="T35" fmla="*/ 5571682 h 291739"/>
              <a:gd name="T36" fmla="*/ 3794641 w 291288"/>
              <a:gd name="T37" fmla="*/ 3474189 h 291739"/>
              <a:gd name="T38" fmla="*/ 3077250 w 291288"/>
              <a:gd name="T39" fmla="*/ 4303085 h 291739"/>
              <a:gd name="T40" fmla="*/ 3758425 w 291288"/>
              <a:gd name="T41" fmla="*/ 4634659 h 291739"/>
              <a:gd name="T42" fmla="*/ 5142442 w 291288"/>
              <a:gd name="T43" fmla="*/ 3949899 h 291739"/>
              <a:gd name="T44" fmla="*/ 4997488 w 291288"/>
              <a:gd name="T45" fmla="*/ 3474189 h 291739"/>
              <a:gd name="T46" fmla="*/ 1852580 w 291288"/>
              <a:gd name="T47" fmla="*/ 3474189 h 291739"/>
              <a:gd name="T48" fmla="*/ 1729406 w 291288"/>
              <a:gd name="T49" fmla="*/ 4238207 h 291739"/>
              <a:gd name="T50" fmla="*/ 2714865 w 291288"/>
              <a:gd name="T51" fmla="*/ 4238207 h 291739"/>
              <a:gd name="T52" fmla="*/ 2069980 w 291288"/>
              <a:gd name="T53" fmla="*/ 3474189 h 291739"/>
              <a:gd name="T54" fmla="*/ 867039 w 291288"/>
              <a:gd name="T55" fmla="*/ 3474189 h 291739"/>
              <a:gd name="T56" fmla="*/ 635160 w 291288"/>
              <a:gd name="T57" fmla="*/ 4238207 h 291739"/>
              <a:gd name="T58" fmla="*/ 1548259 w 291288"/>
              <a:gd name="T59" fmla="*/ 4238207 h 291739"/>
              <a:gd name="T60" fmla="*/ 1671433 w 291288"/>
              <a:gd name="T61" fmla="*/ 3474189 h 291739"/>
              <a:gd name="T62" fmla="*/ 2932303 w 291288"/>
              <a:gd name="T63" fmla="*/ 1029775 h 291739"/>
              <a:gd name="T64" fmla="*/ 2318097 w 291288"/>
              <a:gd name="T65" fmla="*/ 1649975 h 291739"/>
              <a:gd name="T66" fmla="*/ 2932303 w 291288"/>
              <a:gd name="T67" fmla="*/ 2262922 h 291739"/>
              <a:gd name="T68" fmla="*/ 3546535 w 291288"/>
              <a:gd name="T69" fmla="*/ 1649975 h 291739"/>
              <a:gd name="T70" fmla="*/ 2932303 w 291288"/>
              <a:gd name="T71" fmla="*/ 1029775 h 291739"/>
              <a:gd name="T72" fmla="*/ 2932303 w 291288"/>
              <a:gd name="T73" fmla="*/ 856672 h 291739"/>
              <a:gd name="T74" fmla="*/ 3727168 w 291288"/>
              <a:gd name="T75" fmla="*/ 1649975 h 291739"/>
              <a:gd name="T76" fmla="*/ 2932303 w 291288"/>
              <a:gd name="T77" fmla="*/ 2436012 h 291739"/>
              <a:gd name="T78" fmla="*/ 2137424 w 291288"/>
              <a:gd name="T79" fmla="*/ 1649975 h 291739"/>
              <a:gd name="T80" fmla="*/ 2932303 w 291288"/>
              <a:gd name="T81" fmla="*/ 856672 h 291739"/>
              <a:gd name="T82" fmla="*/ 2932303 w 291288"/>
              <a:gd name="T83" fmla="*/ 173024 h 291739"/>
              <a:gd name="T84" fmla="*/ 1468514 w 291288"/>
              <a:gd name="T85" fmla="*/ 1628973 h 291739"/>
              <a:gd name="T86" fmla="*/ 2932303 w 291288"/>
              <a:gd name="T87" fmla="*/ 4202168 h 291739"/>
              <a:gd name="T88" fmla="*/ 4388832 w 291288"/>
              <a:gd name="T89" fmla="*/ 1628973 h 291739"/>
              <a:gd name="T90" fmla="*/ 2932303 w 291288"/>
              <a:gd name="T91" fmla="*/ 173024 h 291739"/>
              <a:gd name="T92" fmla="*/ 2932303 w 291288"/>
              <a:gd name="T93" fmla="*/ 0 h 291739"/>
              <a:gd name="T94" fmla="*/ 4562730 w 291288"/>
              <a:gd name="T95" fmla="*/ 1628973 h 291739"/>
              <a:gd name="T96" fmla="*/ 3910540 w 291288"/>
              <a:gd name="T97" fmla="*/ 3293975 h 291739"/>
              <a:gd name="T98" fmla="*/ 5062700 w 291288"/>
              <a:gd name="T99" fmla="*/ 3293975 h 291739"/>
              <a:gd name="T100" fmla="*/ 5142442 w 291288"/>
              <a:gd name="T101" fmla="*/ 3358853 h 291739"/>
              <a:gd name="T102" fmla="*/ 5852599 w 291288"/>
              <a:gd name="T103" fmla="*/ 5708624 h 291739"/>
              <a:gd name="T104" fmla="*/ 5845367 w 291288"/>
              <a:gd name="T105" fmla="*/ 5795115 h 291739"/>
              <a:gd name="T106" fmla="*/ 5772890 w 291288"/>
              <a:gd name="T107" fmla="*/ 5831143 h 291739"/>
              <a:gd name="T108" fmla="*/ 84495 w 291288"/>
              <a:gd name="T109" fmla="*/ 5831143 h 291739"/>
              <a:gd name="T110" fmla="*/ 12038 w 291288"/>
              <a:gd name="T111" fmla="*/ 5795115 h 291739"/>
              <a:gd name="T112" fmla="*/ 4793 w 291288"/>
              <a:gd name="T113" fmla="*/ 5708624 h 291739"/>
              <a:gd name="T114" fmla="*/ 714891 w 291288"/>
              <a:gd name="T115" fmla="*/ 3358853 h 291739"/>
              <a:gd name="T116" fmla="*/ 801841 w 291288"/>
              <a:gd name="T117" fmla="*/ 3293975 h 291739"/>
              <a:gd name="T118" fmla="*/ 1939515 w 291288"/>
              <a:gd name="T119" fmla="*/ 3293975 h 291739"/>
              <a:gd name="T120" fmla="*/ 1294593 w 291288"/>
              <a:gd name="T121" fmla="*/ 1628973 h 291739"/>
              <a:gd name="T122" fmla="*/ 2932303 w 291288"/>
              <a:gd name="T123" fmla="*/ 0 h 2917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1288" h="291739">
                <a:moveTo>
                  <a:pt x="78754" y="254235"/>
                </a:moveTo>
                <a:lnTo>
                  <a:pt x="74431" y="282724"/>
                </a:lnTo>
                <a:lnTo>
                  <a:pt x="141424" y="282724"/>
                </a:lnTo>
                <a:lnTo>
                  <a:pt x="141424" y="254235"/>
                </a:lnTo>
                <a:lnTo>
                  <a:pt x="78754" y="254235"/>
                </a:lnTo>
                <a:close/>
                <a:moveTo>
                  <a:pt x="84156" y="220698"/>
                </a:moveTo>
                <a:lnTo>
                  <a:pt x="80194" y="245220"/>
                </a:lnTo>
                <a:lnTo>
                  <a:pt x="145746" y="245220"/>
                </a:lnTo>
                <a:cubicBezTo>
                  <a:pt x="147907" y="245220"/>
                  <a:pt x="150068" y="247384"/>
                  <a:pt x="150068" y="249908"/>
                </a:cubicBezTo>
                <a:lnTo>
                  <a:pt x="150068" y="282724"/>
                </a:lnTo>
                <a:lnTo>
                  <a:pt x="268205" y="282724"/>
                </a:lnTo>
                <a:lnTo>
                  <a:pt x="144666" y="220698"/>
                </a:lnTo>
                <a:lnTo>
                  <a:pt x="84156" y="220698"/>
                </a:lnTo>
                <a:close/>
                <a:moveTo>
                  <a:pt x="29050" y="220698"/>
                </a:moveTo>
                <a:lnTo>
                  <a:pt x="10321" y="282724"/>
                </a:lnTo>
                <a:lnTo>
                  <a:pt x="65427" y="282724"/>
                </a:lnTo>
                <a:lnTo>
                  <a:pt x="75512" y="220698"/>
                </a:lnTo>
                <a:lnTo>
                  <a:pt x="29050" y="220698"/>
                </a:lnTo>
                <a:close/>
                <a:moveTo>
                  <a:pt x="258120" y="206273"/>
                </a:moveTo>
                <a:lnTo>
                  <a:pt x="196530" y="237286"/>
                </a:lnTo>
                <a:lnTo>
                  <a:pt x="279730" y="278757"/>
                </a:lnTo>
                <a:lnTo>
                  <a:pt x="258120" y="206273"/>
                </a:lnTo>
                <a:close/>
                <a:moveTo>
                  <a:pt x="188607" y="173818"/>
                </a:moveTo>
                <a:cubicBezTo>
                  <a:pt x="174200" y="192930"/>
                  <a:pt x="160153" y="208076"/>
                  <a:pt x="152950" y="215289"/>
                </a:cubicBezTo>
                <a:lnTo>
                  <a:pt x="186806" y="231877"/>
                </a:lnTo>
                <a:lnTo>
                  <a:pt x="255599" y="197618"/>
                </a:lnTo>
                <a:lnTo>
                  <a:pt x="248395" y="173818"/>
                </a:lnTo>
                <a:lnTo>
                  <a:pt x="188607" y="173818"/>
                </a:lnTo>
                <a:close/>
                <a:moveTo>
                  <a:pt x="92080" y="173818"/>
                </a:moveTo>
                <a:lnTo>
                  <a:pt x="85957" y="212043"/>
                </a:lnTo>
                <a:lnTo>
                  <a:pt x="134941" y="212043"/>
                </a:lnTo>
                <a:cubicBezTo>
                  <a:pt x="127377" y="204109"/>
                  <a:pt x="115131" y="190406"/>
                  <a:pt x="102885" y="173818"/>
                </a:cubicBezTo>
                <a:lnTo>
                  <a:pt x="92080" y="173818"/>
                </a:lnTo>
                <a:close/>
                <a:moveTo>
                  <a:pt x="43096" y="173818"/>
                </a:moveTo>
                <a:lnTo>
                  <a:pt x="31571" y="212043"/>
                </a:lnTo>
                <a:lnTo>
                  <a:pt x="76953" y="212043"/>
                </a:lnTo>
                <a:lnTo>
                  <a:pt x="83076" y="173818"/>
                </a:lnTo>
                <a:lnTo>
                  <a:pt x="43096" y="173818"/>
                </a:lnTo>
                <a:close/>
                <a:moveTo>
                  <a:pt x="145746" y="51521"/>
                </a:moveTo>
                <a:cubicBezTo>
                  <a:pt x="128866" y="51521"/>
                  <a:pt x="115217" y="65592"/>
                  <a:pt x="115217" y="82550"/>
                </a:cubicBezTo>
                <a:cubicBezTo>
                  <a:pt x="115217" y="99507"/>
                  <a:pt x="128866" y="113217"/>
                  <a:pt x="145746" y="113217"/>
                </a:cubicBezTo>
                <a:cubicBezTo>
                  <a:pt x="162627" y="113217"/>
                  <a:pt x="176275" y="99507"/>
                  <a:pt x="176275" y="82550"/>
                </a:cubicBezTo>
                <a:cubicBezTo>
                  <a:pt x="176275" y="65592"/>
                  <a:pt x="162627" y="51521"/>
                  <a:pt x="145746" y="51521"/>
                </a:cubicBezTo>
                <a:close/>
                <a:moveTo>
                  <a:pt x="145746" y="42862"/>
                </a:moveTo>
                <a:cubicBezTo>
                  <a:pt x="167296" y="42862"/>
                  <a:pt x="185254" y="60541"/>
                  <a:pt x="185254" y="82550"/>
                </a:cubicBezTo>
                <a:cubicBezTo>
                  <a:pt x="185254" y="104197"/>
                  <a:pt x="167296" y="121876"/>
                  <a:pt x="145746" y="121876"/>
                </a:cubicBezTo>
                <a:cubicBezTo>
                  <a:pt x="123837" y="121876"/>
                  <a:pt x="106238" y="104197"/>
                  <a:pt x="106238" y="82550"/>
                </a:cubicBezTo>
                <a:cubicBezTo>
                  <a:pt x="106238" y="60541"/>
                  <a:pt x="123837" y="42862"/>
                  <a:pt x="145746" y="42862"/>
                </a:cubicBezTo>
                <a:close/>
                <a:moveTo>
                  <a:pt x="145746" y="8655"/>
                </a:moveTo>
                <a:cubicBezTo>
                  <a:pt x="105767" y="8655"/>
                  <a:pt x="72991" y="41471"/>
                  <a:pt x="72991" y="81500"/>
                </a:cubicBezTo>
                <a:cubicBezTo>
                  <a:pt x="72991" y="133428"/>
                  <a:pt x="131339" y="195815"/>
                  <a:pt x="145746" y="210240"/>
                </a:cubicBezTo>
                <a:cubicBezTo>
                  <a:pt x="159793" y="195815"/>
                  <a:pt x="218141" y="133068"/>
                  <a:pt x="218141" y="81500"/>
                </a:cubicBezTo>
                <a:cubicBezTo>
                  <a:pt x="218141" y="41471"/>
                  <a:pt x="185725" y="8655"/>
                  <a:pt x="145746" y="8655"/>
                </a:cubicBezTo>
                <a:close/>
                <a:moveTo>
                  <a:pt x="145746" y="0"/>
                </a:moveTo>
                <a:cubicBezTo>
                  <a:pt x="190408" y="0"/>
                  <a:pt x="226785" y="36422"/>
                  <a:pt x="226785" y="81500"/>
                </a:cubicBezTo>
                <a:cubicBezTo>
                  <a:pt x="226785" y="109628"/>
                  <a:pt x="211658" y="139920"/>
                  <a:pt x="194369" y="164802"/>
                </a:cubicBezTo>
                <a:lnTo>
                  <a:pt x="251637" y="164802"/>
                </a:lnTo>
                <a:cubicBezTo>
                  <a:pt x="253438" y="164802"/>
                  <a:pt x="255239" y="166245"/>
                  <a:pt x="255599" y="168048"/>
                </a:cubicBezTo>
                <a:lnTo>
                  <a:pt x="290896" y="285609"/>
                </a:lnTo>
                <a:cubicBezTo>
                  <a:pt x="291616" y="287051"/>
                  <a:pt x="291256" y="288494"/>
                  <a:pt x="290536" y="289936"/>
                </a:cubicBezTo>
                <a:cubicBezTo>
                  <a:pt x="289455" y="291018"/>
                  <a:pt x="288375" y="291739"/>
                  <a:pt x="286934" y="291739"/>
                </a:cubicBezTo>
                <a:lnTo>
                  <a:pt x="4198" y="291739"/>
                </a:lnTo>
                <a:cubicBezTo>
                  <a:pt x="3117" y="291739"/>
                  <a:pt x="1677" y="291018"/>
                  <a:pt x="596" y="289936"/>
                </a:cubicBezTo>
                <a:cubicBezTo>
                  <a:pt x="-124" y="288494"/>
                  <a:pt x="-124" y="287051"/>
                  <a:pt x="236" y="285609"/>
                </a:cubicBezTo>
                <a:lnTo>
                  <a:pt x="35533" y="168048"/>
                </a:lnTo>
                <a:cubicBezTo>
                  <a:pt x="36253" y="166245"/>
                  <a:pt x="37694" y="164802"/>
                  <a:pt x="39855" y="164802"/>
                </a:cubicBezTo>
                <a:lnTo>
                  <a:pt x="96402" y="164802"/>
                </a:lnTo>
                <a:cubicBezTo>
                  <a:pt x="79834" y="139920"/>
                  <a:pt x="64347" y="109628"/>
                  <a:pt x="64347" y="81500"/>
                </a:cubicBezTo>
                <a:cubicBezTo>
                  <a:pt x="64347" y="36422"/>
                  <a:pt x="100724" y="0"/>
                  <a:pt x="145746" y="0"/>
                </a:cubicBezTo>
                <a:close/>
              </a:path>
            </a:pathLst>
          </a:custGeom>
          <a:solidFill>
            <a:schemeClr val="bg1"/>
          </a:solidFill>
          <a:ln>
            <a:noFill/>
          </a:ln>
          <a:effectLst/>
        </p:spPr>
        <p:txBody>
          <a:bodyPr anchor="ctr"/>
          <a:lstStyle/>
          <a:p>
            <a:endParaRPr lang="en-GB" sz="567" dirty="0"/>
          </a:p>
        </p:txBody>
      </p:sp>
      <p:sp>
        <p:nvSpPr>
          <p:cNvPr id="30" name="Freeform 950">
            <a:extLst>
              <a:ext uri="{FF2B5EF4-FFF2-40B4-BE49-F238E27FC236}">
                <a16:creationId xmlns:a16="http://schemas.microsoft.com/office/drawing/2014/main" xmlns="" id="{5D9C329F-EAE0-4A7D-A444-1DB72D87DFCB}"/>
              </a:ext>
            </a:extLst>
          </p:cNvPr>
          <p:cNvSpPr>
            <a:spLocks noChangeAspect="1" noChangeArrowheads="1"/>
          </p:cNvSpPr>
          <p:nvPr/>
        </p:nvSpPr>
        <p:spPr bwMode="auto">
          <a:xfrm>
            <a:off x="6565581" y="4488107"/>
            <a:ext cx="533891" cy="533891"/>
          </a:xfrm>
          <a:custGeom>
            <a:avLst/>
            <a:gdLst>
              <a:gd name="T0" fmla="*/ 2720448 w 291740"/>
              <a:gd name="T1" fmla="*/ 4440269 h 291739"/>
              <a:gd name="T2" fmla="*/ 2720448 w 291740"/>
              <a:gd name="T3" fmla="*/ 4559972 h 291739"/>
              <a:gd name="T4" fmla="*/ 2596118 w 291740"/>
              <a:gd name="T5" fmla="*/ 4559972 h 291739"/>
              <a:gd name="T6" fmla="*/ 2596118 w 291740"/>
              <a:gd name="T7" fmla="*/ 4440269 h 291739"/>
              <a:gd name="T8" fmla="*/ 1072569 w 291740"/>
              <a:gd name="T9" fmla="*/ 4440269 h 291739"/>
              <a:gd name="T10" fmla="*/ 1072569 w 291740"/>
              <a:gd name="T11" fmla="*/ 4559972 h 291739"/>
              <a:gd name="T12" fmla="*/ 948255 w 291740"/>
              <a:gd name="T13" fmla="*/ 4559972 h 291739"/>
              <a:gd name="T14" fmla="*/ 948255 w 291740"/>
              <a:gd name="T15" fmla="*/ 4440269 h 291739"/>
              <a:gd name="T16" fmla="*/ 1925738 w 291740"/>
              <a:gd name="T17" fmla="*/ 4496307 h 291739"/>
              <a:gd name="T18" fmla="*/ 1742923 w 291740"/>
              <a:gd name="T19" fmla="*/ 4496307 h 291739"/>
              <a:gd name="T20" fmla="*/ 453510 w 291740"/>
              <a:gd name="T21" fmla="*/ 2613220 h 291739"/>
              <a:gd name="T22" fmla="*/ 179943 w 291740"/>
              <a:gd name="T23" fmla="*/ 4801691 h 291739"/>
              <a:gd name="T24" fmla="*/ 2267603 w 291740"/>
              <a:gd name="T25" fmla="*/ 5075267 h 291739"/>
              <a:gd name="T26" fmla="*/ 3505773 w 291740"/>
              <a:gd name="T27" fmla="*/ 5579186 h 291739"/>
              <a:gd name="T28" fmla="*/ 3030652 w 291740"/>
              <a:gd name="T29" fmla="*/ 3405091 h 291739"/>
              <a:gd name="T30" fmla="*/ 1497334 w 291740"/>
              <a:gd name="T31" fmla="*/ 4103407 h 291739"/>
              <a:gd name="T32" fmla="*/ 1403730 w 291740"/>
              <a:gd name="T33" fmla="*/ 4103407 h 291739"/>
              <a:gd name="T34" fmla="*/ 1360534 w 291740"/>
              <a:gd name="T35" fmla="*/ 2613220 h 291739"/>
              <a:gd name="T36" fmla="*/ 2178112 w 291740"/>
              <a:gd name="T37" fmla="*/ 2440190 h 291739"/>
              <a:gd name="T38" fmla="*/ 4270905 w 291740"/>
              <a:gd name="T39" fmla="*/ 2527945 h 291739"/>
              <a:gd name="T40" fmla="*/ 2178112 w 291740"/>
              <a:gd name="T41" fmla="*/ 2623047 h 291739"/>
              <a:gd name="T42" fmla="*/ 2178112 w 291740"/>
              <a:gd name="T43" fmla="*/ 2440190 h 291739"/>
              <a:gd name="T44" fmla="*/ 5007846 w 291740"/>
              <a:gd name="T45" fmla="*/ 1616230 h 291739"/>
              <a:gd name="T46" fmla="*/ 5007846 w 291740"/>
              <a:gd name="T47" fmla="*/ 1798769 h 291739"/>
              <a:gd name="T48" fmla="*/ 3232371 w 291740"/>
              <a:gd name="T49" fmla="*/ 1707480 h 291739"/>
              <a:gd name="T50" fmla="*/ 2176456 w 291740"/>
              <a:gd name="T51" fmla="*/ 1616230 h 291739"/>
              <a:gd name="T52" fmla="*/ 2813320 w 291740"/>
              <a:gd name="T53" fmla="*/ 1707480 h 291739"/>
              <a:gd name="T54" fmla="*/ 2176456 w 291740"/>
              <a:gd name="T55" fmla="*/ 1798769 h 291739"/>
              <a:gd name="T56" fmla="*/ 2176456 w 291740"/>
              <a:gd name="T57" fmla="*/ 1616230 h 291739"/>
              <a:gd name="T58" fmla="*/ 5007273 w 291740"/>
              <a:gd name="T59" fmla="*/ 792232 h 291739"/>
              <a:gd name="T60" fmla="*/ 5007273 w 291740"/>
              <a:gd name="T61" fmla="*/ 974820 h 291739"/>
              <a:gd name="T62" fmla="*/ 4278102 w 291740"/>
              <a:gd name="T63" fmla="*/ 883549 h 291739"/>
              <a:gd name="T64" fmla="*/ 2177405 w 291740"/>
              <a:gd name="T65" fmla="*/ 792232 h 291739"/>
              <a:gd name="T66" fmla="*/ 3859022 w 291740"/>
              <a:gd name="T67" fmla="*/ 883549 h 291739"/>
              <a:gd name="T68" fmla="*/ 2177405 w 291740"/>
              <a:gd name="T69" fmla="*/ 974820 h 291739"/>
              <a:gd name="T70" fmla="*/ 2177405 w 291740"/>
              <a:gd name="T71" fmla="*/ 792232 h 291739"/>
              <a:gd name="T72" fmla="*/ 1626897 w 291740"/>
              <a:gd name="T73" fmla="*/ 252009 h 291739"/>
              <a:gd name="T74" fmla="*/ 1540510 w 291740"/>
              <a:gd name="T75" fmla="*/ 3873031 h 291739"/>
              <a:gd name="T76" fmla="*/ 3030652 w 291740"/>
              <a:gd name="T77" fmla="*/ 3225140 h 291739"/>
              <a:gd name="T78" fmla="*/ 5564564 w 291740"/>
              <a:gd name="T79" fmla="*/ 3145937 h 291739"/>
              <a:gd name="T80" fmla="*/ 5643767 w 291740"/>
              <a:gd name="T81" fmla="*/ 446358 h 291739"/>
              <a:gd name="T82" fmla="*/ 5370223 w 291740"/>
              <a:gd name="T83" fmla="*/ 172808 h 291739"/>
              <a:gd name="T84" fmla="*/ 1814051 w 291740"/>
              <a:gd name="T85" fmla="*/ 0 h 291739"/>
              <a:gd name="T86" fmla="*/ 5686966 w 291740"/>
              <a:gd name="T87" fmla="*/ 122423 h 291739"/>
              <a:gd name="T88" fmla="*/ 5823729 w 291740"/>
              <a:gd name="T89" fmla="*/ 2951564 h 291739"/>
              <a:gd name="T90" fmla="*/ 5370223 w 291740"/>
              <a:gd name="T91" fmla="*/ 3405091 h 291739"/>
              <a:gd name="T92" fmla="*/ 3678545 w 291740"/>
              <a:gd name="T93" fmla="*/ 5730355 h 291739"/>
              <a:gd name="T94" fmla="*/ 3592130 w 291740"/>
              <a:gd name="T95" fmla="*/ 5823931 h 291739"/>
              <a:gd name="T96" fmla="*/ 2829096 w 291740"/>
              <a:gd name="T97" fmla="*/ 5399223 h 291739"/>
              <a:gd name="T98" fmla="*/ 453510 w 291740"/>
              <a:gd name="T99" fmla="*/ 5255254 h 291739"/>
              <a:gd name="T100" fmla="*/ 0 w 291740"/>
              <a:gd name="T101" fmla="*/ 2893956 h 291739"/>
              <a:gd name="T102" fmla="*/ 1360534 w 291740"/>
              <a:gd name="T103" fmla="*/ 2433257 h 291739"/>
              <a:gd name="T104" fmla="*/ 1504513 w 291740"/>
              <a:gd name="T105" fmla="*/ 122423 h 291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1740" h="291739">
                <a:moveTo>
                  <a:pt x="130053" y="222426"/>
                </a:moveTo>
                <a:cubicBezTo>
                  <a:pt x="131518" y="220662"/>
                  <a:pt x="134449" y="220662"/>
                  <a:pt x="136281" y="222426"/>
                </a:cubicBezTo>
                <a:cubicBezTo>
                  <a:pt x="137013" y="223484"/>
                  <a:pt x="137746" y="224190"/>
                  <a:pt x="137746" y="225601"/>
                </a:cubicBezTo>
                <a:cubicBezTo>
                  <a:pt x="137746" y="226659"/>
                  <a:pt x="137013" y="227718"/>
                  <a:pt x="136281" y="228423"/>
                </a:cubicBezTo>
                <a:cubicBezTo>
                  <a:pt x="135548" y="229482"/>
                  <a:pt x="134082" y="229834"/>
                  <a:pt x="132983" y="229834"/>
                </a:cubicBezTo>
                <a:cubicBezTo>
                  <a:pt x="131884" y="229834"/>
                  <a:pt x="130785" y="229482"/>
                  <a:pt x="130053" y="228423"/>
                </a:cubicBezTo>
                <a:cubicBezTo>
                  <a:pt x="128954" y="227718"/>
                  <a:pt x="128587" y="226659"/>
                  <a:pt x="128587" y="225601"/>
                </a:cubicBezTo>
                <a:cubicBezTo>
                  <a:pt x="128587" y="224190"/>
                  <a:pt x="128954" y="223484"/>
                  <a:pt x="130053" y="222426"/>
                </a:cubicBezTo>
                <a:close/>
                <a:moveTo>
                  <a:pt x="47502" y="222426"/>
                </a:moveTo>
                <a:cubicBezTo>
                  <a:pt x="48968" y="220662"/>
                  <a:pt x="52265" y="220662"/>
                  <a:pt x="53730" y="222426"/>
                </a:cubicBezTo>
                <a:cubicBezTo>
                  <a:pt x="54463" y="223484"/>
                  <a:pt x="55195" y="224190"/>
                  <a:pt x="55195" y="225601"/>
                </a:cubicBezTo>
                <a:cubicBezTo>
                  <a:pt x="55195" y="226659"/>
                  <a:pt x="54463" y="227718"/>
                  <a:pt x="53730" y="228423"/>
                </a:cubicBezTo>
                <a:cubicBezTo>
                  <a:pt x="52997" y="229482"/>
                  <a:pt x="51898" y="229834"/>
                  <a:pt x="50799" y="229834"/>
                </a:cubicBezTo>
                <a:cubicBezTo>
                  <a:pt x="49334" y="229834"/>
                  <a:pt x="48601" y="229482"/>
                  <a:pt x="47502" y="228423"/>
                </a:cubicBezTo>
                <a:cubicBezTo>
                  <a:pt x="46769" y="227718"/>
                  <a:pt x="46037" y="226659"/>
                  <a:pt x="46037" y="225601"/>
                </a:cubicBezTo>
                <a:cubicBezTo>
                  <a:pt x="46037" y="224190"/>
                  <a:pt x="46769" y="223484"/>
                  <a:pt x="47502" y="222426"/>
                </a:cubicBezTo>
                <a:close/>
                <a:moveTo>
                  <a:pt x="92074" y="220662"/>
                </a:moveTo>
                <a:cubicBezTo>
                  <a:pt x="94639" y="220662"/>
                  <a:pt x="96470" y="222567"/>
                  <a:pt x="96470" y="225234"/>
                </a:cubicBezTo>
                <a:cubicBezTo>
                  <a:pt x="96470" y="227520"/>
                  <a:pt x="94639" y="229806"/>
                  <a:pt x="92074" y="229806"/>
                </a:cubicBezTo>
                <a:cubicBezTo>
                  <a:pt x="89510" y="229806"/>
                  <a:pt x="87312" y="227520"/>
                  <a:pt x="87312" y="225234"/>
                </a:cubicBezTo>
                <a:cubicBezTo>
                  <a:pt x="87312" y="222567"/>
                  <a:pt x="89510" y="220662"/>
                  <a:pt x="92074" y="220662"/>
                </a:cubicBezTo>
                <a:close/>
                <a:moveTo>
                  <a:pt x="22719" y="130904"/>
                </a:moveTo>
                <a:cubicBezTo>
                  <a:pt x="15146" y="130904"/>
                  <a:pt x="9015" y="137035"/>
                  <a:pt x="9015" y="144968"/>
                </a:cubicBezTo>
                <a:lnTo>
                  <a:pt x="9015" y="240532"/>
                </a:lnTo>
                <a:cubicBezTo>
                  <a:pt x="9015" y="248105"/>
                  <a:pt x="15146" y="254235"/>
                  <a:pt x="22719" y="254235"/>
                </a:cubicBezTo>
                <a:lnTo>
                  <a:pt x="113595" y="254235"/>
                </a:lnTo>
                <a:cubicBezTo>
                  <a:pt x="124774" y="254235"/>
                  <a:pt x="135953" y="257120"/>
                  <a:pt x="145690" y="262890"/>
                </a:cubicBezTo>
                <a:lnTo>
                  <a:pt x="175621" y="279478"/>
                </a:lnTo>
                <a:lnTo>
                  <a:pt x="175621" y="170572"/>
                </a:lnTo>
                <a:lnTo>
                  <a:pt x="151820" y="170572"/>
                </a:lnTo>
                <a:cubicBezTo>
                  <a:pt x="142083" y="170572"/>
                  <a:pt x="132707" y="172736"/>
                  <a:pt x="124053" y="177784"/>
                </a:cubicBezTo>
                <a:lnTo>
                  <a:pt x="75008" y="205552"/>
                </a:lnTo>
                <a:cubicBezTo>
                  <a:pt x="74287" y="205913"/>
                  <a:pt x="73566" y="206273"/>
                  <a:pt x="72844" y="206273"/>
                </a:cubicBezTo>
                <a:cubicBezTo>
                  <a:pt x="71763" y="206273"/>
                  <a:pt x="71402" y="205913"/>
                  <a:pt x="70320" y="205552"/>
                </a:cubicBezTo>
                <a:cubicBezTo>
                  <a:pt x="69238" y="204831"/>
                  <a:pt x="68156" y="203388"/>
                  <a:pt x="68156" y="201585"/>
                </a:cubicBezTo>
                <a:lnTo>
                  <a:pt x="68156" y="130904"/>
                </a:lnTo>
                <a:lnTo>
                  <a:pt x="22719" y="130904"/>
                </a:lnTo>
                <a:close/>
                <a:moveTo>
                  <a:pt x="109113" y="122237"/>
                </a:moveTo>
                <a:lnTo>
                  <a:pt x="209613" y="122237"/>
                </a:lnTo>
                <a:cubicBezTo>
                  <a:pt x="212143" y="122237"/>
                  <a:pt x="213951" y="124435"/>
                  <a:pt x="213951" y="126633"/>
                </a:cubicBezTo>
                <a:cubicBezTo>
                  <a:pt x="213951" y="129198"/>
                  <a:pt x="212143" y="131396"/>
                  <a:pt x="209613" y="131396"/>
                </a:cubicBezTo>
                <a:lnTo>
                  <a:pt x="109113" y="131396"/>
                </a:lnTo>
                <a:cubicBezTo>
                  <a:pt x="106583" y="131396"/>
                  <a:pt x="104775" y="129198"/>
                  <a:pt x="104775" y="126633"/>
                </a:cubicBezTo>
                <a:cubicBezTo>
                  <a:pt x="104775" y="124435"/>
                  <a:pt x="106583" y="122237"/>
                  <a:pt x="109113" y="122237"/>
                </a:cubicBezTo>
                <a:close/>
                <a:moveTo>
                  <a:pt x="166282" y="80962"/>
                </a:moveTo>
                <a:lnTo>
                  <a:pt x="250868" y="80962"/>
                </a:lnTo>
                <a:cubicBezTo>
                  <a:pt x="253409" y="80962"/>
                  <a:pt x="255224" y="82867"/>
                  <a:pt x="255224" y="85534"/>
                </a:cubicBezTo>
                <a:cubicBezTo>
                  <a:pt x="255224" y="88201"/>
                  <a:pt x="253409" y="90106"/>
                  <a:pt x="250868" y="90106"/>
                </a:cubicBezTo>
                <a:lnTo>
                  <a:pt x="166282" y="90106"/>
                </a:lnTo>
                <a:cubicBezTo>
                  <a:pt x="163740" y="90106"/>
                  <a:pt x="161925" y="88201"/>
                  <a:pt x="161925" y="85534"/>
                </a:cubicBezTo>
                <a:cubicBezTo>
                  <a:pt x="161925" y="82867"/>
                  <a:pt x="163740" y="80962"/>
                  <a:pt x="166282" y="80962"/>
                </a:cubicBezTo>
                <a:close/>
                <a:moveTo>
                  <a:pt x="109029" y="80962"/>
                </a:moveTo>
                <a:lnTo>
                  <a:pt x="136324" y="80962"/>
                </a:lnTo>
                <a:cubicBezTo>
                  <a:pt x="138806" y="80962"/>
                  <a:pt x="140933" y="82867"/>
                  <a:pt x="140933" y="85534"/>
                </a:cubicBezTo>
                <a:cubicBezTo>
                  <a:pt x="140933" y="88201"/>
                  <a:pt x="138806" y="90106"/>
                  <a:pt x="136324" y="90106"/>
                </a:cubicBezTo>
                <a:lnTo>
                  <a:pt x="109029" y="90106"/>
                </a:lnTo>
                <a:cubicBezTo>
                  <a:pt x="106548" y="90106"/>
                  <a:pt x="104775" y="88201"/>
                  <a:pt x="104775" y="85534"/>
                </a:cubicBezTo>
                <a:cubicBezTo>
                  <a:pt x="104775" y="82867"/>
                  <a:pt x="106548" y="80962"/>
                  <a:pt x="109029" y="80962"/>
                </a:cubicBezTo>
                <a:close/>
                <a:moveTo>
                  <a:pt x="218695" y="39687"/>
                </a:moveTo>
                <a:lnTo>
                  <a:pt x="250839" y="39687"/>
                </a:lnTo>
                <a:cubicBezTo>
                  <a:pt x="253396" y="39687"/>
                  <a:pt x="255222" y="41592"/>
                  <a:pt x="255222" y="44259"/>
                </a:cubicBezTo>
                <a:cubicBezTo>
                  <a:pt x="255222" y="46545"/>
                  <a:pt x="253396" y="48831"/>
                  <a:pt x="250839" y="48831"/>
                </a:cubicBezTo>
                <a:lnTo>
                  <a:pt x="218695" y="48831"/>
                </a:lnTo>
                <a:cubicBezTo>
                  <a:pt x="216139" y="48831"/>
                  <a:pt x="214312" y="46545"/>
                  <a:pt x="214312" y="44259"/>
                </a:cubicBezTo>
                <a:cubicBezTo>
                  <a:pt x="214312" y="41592"/>
                  <a:pt x="216139" y="39687"/>
                  <a:pt x="218695" y="39687"/>
                </a:cubicBezTo>
                <a:close/>
                <a:moveTo>
                  <a:pt x="109077" y="39687"/>
                </a:moveTo>
                <a:lnTo>
                  <a:pt x="188657" y="39687"/>
                </a:lnTo>
                <a:cubicBezTo>
                  <a:pt x="191166" y="39687"/>
                  <a:pt x="193317" y="41592"/>
                  <a:pt x="193317" y="44259"/>
                </a:cubicBezTo>
                <a:cubicBezTo>
                  <a:pt x="193317" y="46545"/>
                  <a:pt x="191166" y="48831"/>
                  <a:pt x="188657" y="48831"/>
                </a:cubicBezTo>
                <a:lnTo>
                  <a:pt x="109077" y="48831"/>
                </a:lnTo>
                <a:cubicBezTo>
                  <a:pt x="106568" y="48831"/>
                  <a:pt x="104775" y="46545"/>
                  <a:pt x="104775" y="44259"/>
                </a:cubicBezTo>
                <a:cubicBezTo>
                  <a:pt x="104775" y="41592"/>
                  <a:pt x="106568" y="39687"/>
                  <a:pt x="109077" y="39687"/>
                </a:cubicBezTo>
                <a:close/>
                <a:moveTo>
                  <a:pt x="90875" y="8655"/>
                </a:moveTo>
                <a:cubicBezTo>
                  <a:pt x="87269" y="8655"/>
                  <a:pt x="84024" y="10097"/>
                  <a:pt x="81499" y="12622"/>
                </a:cubicBezTo>
                <a:cubicBezTo>
                  <a:pt x="78614" y="15146"/>
                  <a:pt x="77172" y="18752"/>
                  <a:pt x="77172" y="22358"/>
                </a:cubicBezTo>
                <a:lnTo>
                  <a:pt x="77172" y="194012"/>
                </a:lnTo>
                <a:lnTo>
                  <a:pt x="119725" y="169851"/>
                </a:lnTo>
                <a:cubicBezTo>
                  <a:pt x="129462" y="164442"/>
                  <a:pt x="140641" y="161557"/>
                  <a:pt x="151820" y="161557"/>
                </a:cubicBezTo>
                <a:lnTo>
                  <a:pt x="269021" y="161557"/>
                </a:lnTo>
                <a:cubicBezTo>
                  <a:pt x="272627" y="161557"/>
                  <a:pt x="276233" y="160114"/>
                  <a:pt x="278757" y="157590"/>
                </a:cubicBezTo>
                <a:cubicBezTo>
                  <a:pt x="281282" y="155066"/>
                  <a:pt x="282724" y="151459"/>
                  <a:pt x="282724" y="147853"/>
                </a:cubicBezTo>
                <a:lnTo>
                  <a:pt x="282724" y="22358"/>
                </a:lnTo>
                <a:cubicBezTo>
                  <a:pt x="282724" y="18752"/>
                  <a:pt x="281282" y="15146"/>
                  <a:pt x="278757" y="12622"/>
                </a:cubicBezTo>
                <a:cubicBezTo>
                  <a:pt x="275872" y="10097"/>
                  <a:pt x="272627" y="8655"/>
                  <a:pt x="269021" y="8655"/>
                </a:cubicBezTo>
                <a:lnTo>
                  <a:pt x="90875" y="8655"/>
                </a:lnTo>
                <a:close/>
                <a:moveTo>
                  <a:pt x="90875" y="0"/>
                </a:moveTo>
                <a:lnTo>
                  <a:pt x="269021" y="0"/>
                </a:lnTo>
                <a:cubicBezTo>
                  <a:pt x="274791" y="0"/>
                  <a:pt x="280200" y="2164"/>
                  <a:pt x="284888" y="6130"/>
                </a:cubicBezTo>
                <a:cubicBezTo>
                  <a:pt x="289215" y="10458"/>
                  <a:pt x="291740" y="16588"/>
                  <a:pt x="291740" y="22358"/>
                </a:cubicBezTo>
                <a:lnTo>
                  <a:pt x="291740" y="147853"/>
                </a:lnTo>
                <a:cubicBezTo>
                  <a:pt x="291740" y="153984"/>
                  <a:pt x="289215" y="159754"/>
                  <a:pt x="284888" y="164081"/>
                </a:cubicBezTo>
                <a:cubicBezTo>
                  <a:pt x="280560" y="168048"/>
                  <a:pt x="274791" y="170572"/>
                  <a:pt x="269021" y="170572"/>
                </a:cubicBezTo>
                <a:lnTo>
                  <a:pt x="184276" y="170572"/>
                </a:lnTo>
                <a:lnTo>
                  <a:pt x="184276" y="287051"/>
                </a:lnTo>
                <a:cubicBezTo>
                  <a:pt x="184276" y="288855"/>
                  <a:pt x="183554" y="289936"/>
                  <a:pt x="182112" y="291018"/>
                </a:cubicBezTo>
                <a:cubicBezTo>
                  <a:pt x="181751" y="291379"/>
                  <a:pt x="180670" y="291739"/>
                  <a:pt x="179948" y="291739"/>
                </a:cubicBezTo>
                <a:cubicBezTo>
                  <a:pt x="179227" y="291739"/>
                  <a:pt x="178506" y="291379"/>
                  <a:pt x="177785" y="291018"/>
                </a:cubicBezTo>
                <a:lnTo>
                  <a:pt x="141723" y="270463"/>
                </a:lnTo>
                <a:cubicBezTo>
                  <a:pt x="133068" y="265775"/>
                  <a:pt x="123331" y="263251"/>
                  <a:pt x="113595" y="263251"/>
                </a:cubicBezTo>
                <a:lnTo>
                  <a:pt x="22719" y="263251"/>
                </a:lnTo>
                <a:cubicBezTo>
                  <a:pt x="10097" y="263251"/>
                  <a:pt x="0" y="252793"/>
                  <a:pt x="0" y="240532"/>
                </a:cubicBezTo>
                <a:lnTo>
                  <a:pt x="0" y="144968"/>
                </a:lnTo>
                <a:cubicBezTo>
                  <a:pt x="0" y="131986"/>
                  <a:pt x="10097" y="121889"/>
                  <a:pt x="22719" y="121889"/>
                </a:cubicBezTo>
                <a:lnTo>
                  <a:pt x="68156" y="121889"/>
                </a:lnTo>
                <a:lnTo>
                  <a:pt x="68156" y="22358"/>
                </a:lnTo>
                <a:cubicBezTo>
                  <a:pt x="68156" y="16588"/>
                  <a:pt x="71041" y="10458"/>
                  <a:pt x="75369" y="6130"/>
                </a:cubicBezTo>
                <a:cubicBezTo>
                  <a:pt x="79696" y="2164"/>
                  <a:pt x="85466" y="0"/>
                  <a:pt x="90875" y="0"/>
                </a:cubicBezTo>
                <a:close/>
              </a:path>
            </a:pathLst>
          </a:custGeom>
          <a:solidFill>
            <a:schemeClr val="bg1"/>
          </a:solidFill>
          <a:ln>
            <a:noFill/>
          </a:ln>
          <a:effectLst/>
        </p:spPr>
        <p:txBody>
          <a:bodyPr anchor="ctr"/>
          <a:lstStyle/>
          <a:p>
            <a:endParaRPr lang="en-GB" sz="567" dirty="0"/>
          </a:p>
        </p:txBody>
      </p:sp>
      <p:sp>
        <p:nvSpPr>
          <p:cNvPr id="31" name="TextBox 26">
            <a:extLst>
              <a:ext uri="{FF2B5EF4-FFF2-40B4-BE49-F238E27FC236}">
                <a16:creationId xmlns:a16="http://schemas.microsoft.com/office/drawing/2014/main" xmlns="" id="{2850A038-D12B-4DCE-A996-78602C02C579}"/>
              </a:ext>
            </a:extLst>
          </p:cNvPr>
          <p:cNvSpPr txBox="1"/>
          <p:nvPr/>
        </p:nvSpPr>
        <p:spPr>
          <a:xfrm>
            <a:off x="4471989" y="4118850"/>
            <a:ext cx="1417183" cy="338554"/>
          </a:xfrm>
          <a:prstGeom prst="rect">
            <a:avLst/>
          </a:prstGeom>
          <a:noFill/>
        </p:spPr>
        <p:txBody>
          <a:bodyPr wrap="none" lIns="91440" tIns="45720" rIns="91440" bIns="45720" rtlCol="0" anchor="b" anchorCtr="0">
            <a:spAutoFit/>
          </a:bodyPr>
          <a:lstStyle/>
          <a:p>
            <a:r>
              <a:rPr lang="en-GB" sz="1600" b="1" dirty="0">
                <a:solidFill>
                  <a:srgbClr val="0070C0"/>
                </a:solidFill>
                <a:latin typeface="+mj-lt"/>
                <a:ea typeface="League Spartan" charset="0"/>
                <a:cs typeface="Poppins" pitchFamily="2" charset="77"/>
              </a:rPr>
              <a:t>Condiciones de pago</a:t>
            </a:r>
          </a:p>
        </p:txBody>
      </p:sp>
      <p:sp>
        <p:nvSpPr>
          <p:cNvPr id="32" name="Subtitle 2">
            <a:extLst>
              <a:ext uri="{FF2B5EF4-FFF2-40B4-BE49-F238E27FC236}">
                <a16:creationId xmlns:a16="http://schemas.microsoft.com/office/drawing/2014/main" xmlns="" id="{1636C762-3BC1-413E-8E38-BA05983529EC}"/>
              </a:ext>
            </a:extLst>
          </p:cNvPr>
          <p:cNvSpPr txBox="1">
            <a:spLocks/>
          </p:cNvSpPr>
          <p:nvPr/>
        </p:nvSpPr>
        <p:spPr>
          <a:xfrm>
            <a:off x="3877448" y="4421606"/>
            <a:ext cx="2584545" cy="244760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Qué condiciones y sobre qué base?</a:t>
            </a:r>
            <a:endParaRPr lang="en-US" sz="1600" dirty="0">
              <a:solidFill>
                <a:srgbClr val="245473"/>
              </a:solidFill>
            </a:endParaRP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Quién determina las nuevas condicione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Importe del plazo medio de pago?</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Procedimiento con anticipos?</a:t>
            </a:r>
          </a:p>
          <a:p>
            <a:pPr marL="182245" indent="-182245" algn="l">
              <a:lnSpc>
                <a:spcPct val="100000"/>
              </a:lnSpc>
              <a:buFont typeface="Arial" panose="020B0604020202020204" pitchFamily="34" charset="0"/>
              <a:buChar char="•"/>
            </a:pPr>
            <a:r>
              <a:rPr lang="en-GB" sz="1600" dirty="0">
                <a:solidFill>
                  <a:srgbClr val="245473"/>
                </a:solidFill>
                <a:latin typeface="+mj-lt"/>
                <a:ea typeface="Lato Light" panose="020F0502020204030203" pitchFamily="34" charset="0"/>
                <a:cs typeface="Mukta ExtraLight" panose="020B0000000000000000" pitchFamily="34" charset="77"/>
              </a:rPr>
              <a:t>¿Qué medios de pago?</a:t>
            </a:r>
          </a:p>
        </p:txBody>
      </p:sp>
      <p:sp>
        <p:nvSpPr>
          <p:cNvPr id="33" name="TextBox 26">
            <a:extLst>
              <a:ext uri="{FF2B5EF4-FFF2-40B4-BE49-F238E27FC236}">
                <a16:creationId xmlns:a16="http://schemas.microsoft.com/office/drawing/2014/main" xmlns="" id="{255F3EF2-2B7B-41DC-9FD1-F9D24FAC8F1F}"/>
              </a:ext>
            </a:extLst>
          </p:cNvPr>
          <p:cNvSpPr txBox="1"/>
          <p:nvPr/>
        </p:nvSpPr>
        <p:spPr>
          <a:xfrm>
            <a:off x="7239686" y="3650357"/>
            <a:ext cx="936731" cy="523220"/>
          </a:xfrm>
          <a:prstGeom prst="rect">
            <a:avLst/>
          </a:prstGeom>
          <a:noFill/>
        </p:spPr>
        <p:txBody>
          <a:bodyPr wrap="none" rtlCol="0" anchor="b" anchorCtr="0">
            <a:spAutoFit/>
          </a:bodyPr>
          <a:lstStyle/>
          <a:p>
            <a:pPr algn="ctr"/>
            <a:r>
              <a:rPr lang="en-GB" sz="1400" b="1">
                <a:solidFill>
                  <a:schemeClr val="tx2"/>
                </a:solidFill>
                <a:latin typeface="+mj-lt"/>
                <a:ea typeface="League Spartan" charset="0"/>
                <a:cs typeface="Poppins" pitchFamily="2" charset="77"/>
              </a:rPr>
              <a:t>Cuentas</a:t>
            </a:r>
            <a:br>
              <a:rPr lang="en-GB" sz="1400" b="1">
                <a:solidFill>
                  <a:schemeClr val="tx2"/>
                </a:solidFill>
                <a:latin typeface="+mj-lt"/>
                <a:ea typeface="League Spartan" charset="0"/>
                <a:cs typeface="Poppins" pitchFamily="2" charset="77"/>
              </a:rPr>
            </a:br>
            <a:r>
              <a:rPr lang="en-GB" sz="1400" b="1">
                <a:solidFill>
                  <a:schemeClr val="tx2"/>
                </a:solidFill>
                <a:latin typeface="+mj-lt"/>
                <a:ea typeface="League Spartan" charset="0"/>
                <a:cs typeface="Poppins" pitchFamily="2" charset="77"/>
              </a:rPr>
              <a:t>Deudores</a:t>
            </a:r>
            <a:endParaRPr lang="en-GB" sz="14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263933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2123770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24067" y="505784"/>
            <a:ext cx="8852375" cy="697353"/>
          </a:xfrm>
        </p:spPr>
        <p:txBody>
          <a:bodyPr>
            <a:normAutofit fontScale="92500"/>
          </a:bodyPr>
          <a:lstStyle/>
          <a:p>
            <a:r>
              <a:rPr lang="en-GB" dirty="0"/>
              <a:t>Opciones estratégicas en la crisis: Acelerar la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3607" y="1775959"/>
            <a:ext cx="2775346" cy="446819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i la crisis se refleja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en los ratios corporativos relevantes, las opciones estratégicas ya están masivamente restringidas.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La regla general es: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Cuanto más avance la crisis antes de tomar medidas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menos probable es que los recursos propios de la empresa sean suficientes para dominar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la crisis por sí sola.</a:t>
            </a:r>
            <a:endParaRPr lang="en-US" sz="2000" dirty="0">
              <a:solidFill>
                <a:srgbClr val="245473"/>
              </a:solidFill>
              <a:ea typeface="Open Sans Light" panose="020B0306030504020204" pitchFamily="34" charset="0"/>
              <a:cs typeface="Open Sans Light" panose="020B0306030504020204" pitchFamily="34" charset="0"/>
            </a:endParaRP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003756" y="1861557"/>
            <a:ext cx="7111614" cy="84006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escenso notable de los ingresos y los beneficio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Incumplimiento de los pactos bancario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blemas de calidad y devoluciones</a:t>
            </a:r>
          </a:p>
          <a:p>
            <a:pPr marL="182563" indent="-182563" algn="l">
              <a:lnSpc>
                <a:spcPct val="100000"/>
              </a:lnSpc>
              <a:buFont typeface="Arial" panose="020B0604020202020204" pitchFamily="34" charset="0"/>
              <a:buChar char="•"/>
            </a:pPr>
            <a:endParaRPr lang="en-GB" sz="1800" dirty="0">
              <a:solidFill>
                <a:srgbClr val="245473"/>
              </a:solidFill>
              <a:latin typeface="+mj-lt"/>
              <a:ea typeface="Lato Light" panose="020F0502020204030203" pitchFamily="34" charset="0"/>
              <a:cs typeface="Mukta ExtraLight" panose="020B0000000000000000" pitchFamily="34" charset="77"/>
            </a:endParaRP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ínea de crédito al máximo</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isminución de los fondos líquido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blemas agudos de producción (dificultad de suministro de material / los proveedores exigen pagos por adelantado) </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45252" y="2060197"/>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Los síntomas:</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003756" y="5222088"/>
            <a:ext cx="6770233" cy="100661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ntrol de la afirmació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esarrollar un plan de reestructuració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Gestión del cambio</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estructuración de la deuda</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Vender activos fijo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Vender la empresa / buscar inversores / socios estratégicos</a:t>
            </a:r>
          </a:p>
          <a:p>
            <a:pPr marL="182245" indent="-182245"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51923"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Acciones:</a:t>
            </a:r>
          </a:p>
        </p:txBody>
      </p:sp>
      <p:sp>
        <p:nvSpPr>
          <p:cNvPr id="12" name="Trapezoid 11">
            <a:extLst>
              <a:ext uri="{FF2B5EF4-FFF2-40B4-BE49-F238E27FC236}">
                <a16:creationId xmlns:a16="http://schemas.microsoft.com/office/drawing/2014/main" xmlns="" id="{9160F301-36F6-478C-ABB0-548F09720128}"/>
              </a:ext>
            </a:extLst>
          </p:cNvPr>
          <p:cNvSpPr/>
          <p:nvPr/>
        </p:nvSpPr>
        <p:spPr>
          <a:xfrm rot="5400000">
            <a:off x="5625993" y="3085356"/>
            <a:ext cx="1707797" cy="1889760"/>
          </a:xfrm>
          <a:prstGeom prst="trapezoid">
            <a:avLst>
              <a:gd name="adj" fmla="val 14862"/>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5528339" y="3470028"/>
            <a:ext cx="1883088" cy="131254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Aceleración de las fases de crisis</a:t>
            </a:r>
            <a:br>
              <a:rPr lang="en-GB" sz="1600" b="1">
                <a:solidFill>
                  <a:schemeClr val="bg1"/>
                </a:solidFill>
                <a:latin typeface="+mj-lt"/>
                <a:ea typeface="Lato Light" panose="020F0502020204030203" pitchFamily="34" charset="0"/>
                <a:cs typeface="Mukta ExtraLight" panose="020B0000000000000000" pitchFamily="34" charset="77"/>
              </a:rPr>
            </a:br>
            <a:r>
              <a:rPr lang="en-GB" sz="1600" b="1">
                <a:solidFill>
                  <a:schemeClr val="bg1"/>
                </a:solidFill>
                <a:latin typeface="+mj-lt"/>
                <a:ea typeface="Lato Light" panose="020F0502020204030203" pitchFamily="34" charset="0"/>
                <a:cs typeface="Mukta ExtraLight" panose="020B0000000000000000" pitchFamily="34" charset="77"/>
              </a:rPr>
              <a:t/>
            </a:r>
            <a:br>
              <a:rPr lang="en-GB" sz="1600" b="1">
                <a:solidFill>
                  <a:schemeClr val="bg1"/>
                </a:solidFill>
                <a:latin typeface="+mj-lt"/>
                <a:ea typeface="Lato Light" panose="020F0502020204030203" pitchFamily="34" charset="0"/>
                <a:cs typeface="Mukta ExtraLight" panose="020B0000000000000000" pitchFamily="34" charset="77"/>
              </a:rPr>
            </a:br>
            <a:endParaRPr lang="en-GB" sz="1600" b="1">
              <a:solidFill>
                <a:schemeClr val="bg1"/>
              </a:solidFill>
              <a:latin typeface="+mj-lt"/>
              <a:ea typeface="Lato Light" panose="020F0502020204030203" pitchFamily="34" charset="0"/>
              <a:cs typeface="Mukta ExtraLight" panose="020B0000000000000000" pitchFamily="34" charset="77"/>
            </a:endParaRPr>
          </a:p>
          <a:p>
            <a:pPr marL="285750" indent="-285750">
              <a:lnSpc>
                <a:spcPts val="1313"/>
              </a:lnSpc>
              <a:buFont typeface="Wingdings" panose="05000000000000000000" pitchFamily="2" charset="2"/>
              <a:buChar char="à"/>
            </a:pPr>
            <a: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Menos opciones estratégicas</a:t>
            </a:r>
            <a:b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br>
            <a: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Opciones</a:t>
            </a:r>
          </a:p>
          <a:p>
            <a:pPr>
              <a:lnSpc>
                <a:spcPts val="1313"/>
              </a:lnSpc>
            </a:pP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13" name="Subtitle 2">
            <a:extLst>
              <a:ext uri="{FF2B5EF4-FFF2-40B4-BE49-F238E27FC236}">
                <a16:creationId xmlns:a16="http://schemas.microsoft.com/office/drawing/2014/main" xmlns="" id="{4A73B857-2366-4BF2-BA46-E3276B745461}"/>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Opciones estratégicas</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9318615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30153" y="488250"/>
            <a:ext cx="8852375" cy="697353"/>
          </a:xfrm>
        </p:spPr>
        <p:txBody>
          <a:bodyPr>
            <a:normAutofit/>
          </a:bodyPr>
          <a:lstStyle/>
          <a:p>
            <a:r>
              <a:rPr lang="en-GB" dirty="0"/>
              <a:t>Gestión del capital circulante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7862" y="2014639"/>
            <a:ext cx="2903993" cy="505296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pago de las facturas en el momento oportuno puede mantener la liquidez de la empresa y aumentar los ingresos por intereses</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s condiciones de pago las determinan los proveedores en el momento de hacer el pedido y sólo en algunos casos hay margen de maniobra para el cliente</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0" name="Freeform 1">
            <a:extLst>
              <a:ext uri="{FF2B5EF4-FFF2-40B4-BE49-F238E27FC236}">
                <a16:creationId xmlns:a16="http://schemas.microsoft.com/office/drawing/2014/main" xmlns="" id="{205EAD36-EE8A-4DBB-A341-9402EAD5F703}"/>
              </a:ext>
            </a:extLst>
          </p:cNvPr>
          <p:cNvSpPr>
            <a:spLocks noChangeArrowheads="1"/>
          </p:cNvSpPr>
          <p:nvPr/>
        </p:nvSpPr>
        <p:spPr bwMode="auto">
          <a:xfrm>
            <a:off x="4342789" y="5540292"/>
            <a:ext cx="402736" cy="231320"/>
          </a:xfrm>
          <a:custGeom>
            <a:avLst/>
            <a:gdLst>
              <a:gd name="T0" fmla="*/ 964 w 1928"/>
              <a:gd name="T1" fmla="*/ 1107 h 1108"/>
              <a:gd name="T2" fmla="*/ 964 w 1928"/>
              <a:gd name="T3" fmla="*/ 1107 h 1108"/>
              <a:gd name="T4" fmla="*/ 964 w 1928"/>
              <a:gd name="T5" fmla="*/ 1107 h 1108"/>
              <a:gd name="T6" fmla="*/ 0 w 1928"/>
              <a:gd name="T7" fmla="*/ 144 h 1108"/>
              <a:gd name="T8" fmla="*/ 0 w 1928"/>
              <a:gd name="T9" fmla="*/ 0 h 1108"/>
              <a:gd name="T10" fmla="*/ 1927 w 1928"/>
              <a:gd name="T11" fmla="*/ 0 h 1108"/>
              <a:gd name="T12" fmla="*/ 1927 w 1928"/>
              <a:gd name="T13" fmla="*/ 144 h 1108"/>
              <a:gd name="T14" fmla="*/ 1927 w 1928"/>
              <a:gd name="T15" fmla="*/ 144 h 1108"/>
              <a:gd name="T16" fmla="*/ 964 w 1928"/>
              <a:gd name="T17" fmla="*/ 1107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8" h="1108">
                <a:moveTo>
                  <a:pt x="964" y="1107"/>
                </a:moveTo>
                <a:lnTo>
                  <a:pt x="964" y="1107"/>
                </a:lnTo>
                <a:lnTo>
                  <a:pt x="964" y="1107"/>
                </a:lnTo>
                <a:cubicBezTo>
                  <a:pt x="432" y="1107"/>
                  <a:pt x="0" y="676"/>
                  <a:pt x="0" y="144"/>
                </a:cubicBezTo>
                <a:lnTo>
                  <a:pt x="0" y="0"/>
                </a:lnTo>
                <a:lnTo>
                  <a:pt x="1927" y="0"/>
                </a:lnTo>
                <a:lnTo>
                  <a:pt x="1927" y="144"/>
                </a:lnTo>
                <a:lnTo>
                  <a:pt x="1927" y="144"/>
                </a:lnTo>
                <a:cubicBezTo>
                  <a:pt x="1927" y="676"/>
                  <a:pt x="1496" y="1107"/>
                  <a:pt x="964" y="1107"/>
                </a:cubicBezTo>
              </a:path>
            </a:pathLst>
          </a:custGeom>
          <a:solidFill>
            <a:schemeClr val="accent6"/>
          </a:solidFill>
          <a:ln>
            <a:noFill/>
          </a:ln>
          <a:effectLst/>
        </p:spPr>
        <p:txBody>
          <a:bodyPr wrap="none" anchor="ctr"/>
          <a:lstStyle/>
          <a:p>
            <a:endParaRPr lang="en-GB" sz="1400" dirty="0">
              <a:latin typeface="+mj-lt"/>
            </a:endParaRPr>
          </a:p>
        </p:txBody>
      </p:sp>
      <p:sp>
        <p:nvSpPr>
          <p:cNvPr id="21" name="Freeform 2">
            <a:extLst>
              <a:ext uri="{FF2B5EF4-FFF2-40B4-BE49-F238E27FC236}">
                <a16:creationId xmlns:a16="http://schemas.microsoft.com/office/drawing/2014/main" xmlns="" id="{34D26748-3622-4481-A1D1-B0BFCDE6545B}"/>
              </a:ext>
            </a:extLst>
          </p:cNvPr>
          <p:cNvSpPr>
            <a:spLocks noChangeArrowheads="1"/>
          </p:cNvSpPr>
          <p:nvPr/>
        </p:nvSpPr>
        <p:spPr bwMode="auto">
          <a:xfrm>
            <a:off x="4090273" y="5324640"/>
            <a:ext cx="907769" cy="252517"/>
          </a:xfrm>
          <a:custGeom>
            <a:avLst/>
            <a:gdLst>
              <a:gd name="T0" fmla="*/ 3740 w 4344"/>
              <a:gd name="T1" fmla="*/ 1207 h 1208"/>
              <a:gd name="T2" fmla="*/ 604 w 4344"/>
              <a:gd name="T3" fmla="*/ 1207 h 1208"/>
              <a:gd name="T4" fmla="*/ 604 w 4344"/>
              <a:gd name="T5" fmla="*/ 1207 h 1208"/>
              <a:gd name="T6" fmla="*/ 0 w 4344"/>
              <a:gd name="T7" fmla="*/ 604 h 1208"/>
              <a:gd name="T8" fmla="*/ 0 w 4344"/>
              <a:gd name="T9" fmla="*/ 604 h 1208"/>
              <a:gd name="T10" fmla="*/ 604 w 4344"/>
              <a:gd name="T11" fmla="*/ 0 h 1208"/>
              <a:gd name="T12" fmla="*/ 3740 w 4344"/>
              <a:gd name="T13" fmla="*/ 0 h 1208"/>
              <a:gd name="T14" fmla="*/ 3740 w 4344"/>
              <a:gd name="T15" fmla="*/ 0 h 1208"/>
              <a:gd name="T16" fmla="*/ 4343 w 4344"/>
              <a:gd name="T17" fmla="*/ 604 h 1208"/>
              <a:gd name="T18" fmla="*/ 4343 w 4344"/>
              <a:gd name="T19" fmla="*/ 604 h 1208"/>
              <a:gd name="T20" fmla="*/ 3740 w 4344"/>
              <a:gd name="T21" fmla="*/ 1207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44" h="1208">
                <a:moveTo>
                  <a:pt x="3740" y="1207"/>
                </a:moveTo>
                <a:lnTo>
                  <a:pt x="604" y="1207"/>
                </a:lnTo>
                <a:lnTo>
                  <a:pt x="604" y="1207"/>
                </a:lnTo>
                <a:cubicBezTo>
                  <a:pt x="271" y="1207"/>
                  <a:pt x="0" y="937"/>
                  <a:pt x="0" y="604"/>
                </a:cubicBezTo>
                <a:lnTo>
                  <a:pt x="0" y="604"/>
                </a:lnTo>
                <a:cubicBezTo>
                  <a:pt x="0" y="271"/>
                  <a:pt x="271" y="0"/>
                  <a:pt x="604" y="0"/>
                </a:cubicBezTo>
                <a:lnTo>
                  <a:pt x="3740" y="0"/>
                </a:lnTo>
                <a:lnTo>
                  <a:pt x="3740" y="0"/>
                </a:lnTo>
                <a:cubicBezTo>
                  <a:pt x="4073" y="0"/>
                  <a:pt x="4343" y="271"/>
                  <a:pt x="4343" y="604"/>
                </a:cubicBezTo>
                <a:lnTo>
                  <a:pt x="4343" y="604"/>
                </a:lnTo>
                <a:cubicBezTo>
                  <a:pt x="4343" y="937"/>
                  <a:pt x="4073" y="1207"/>
                  <a:pt x="3740" y="1207"/>
                </a:cubicBezTo>
              </a:path>
            </a:pathLst>
          </a:custGeom>
          <a:solidFill>
            <a:schemeClr val="accent6"/>
          </a:solidFill>
          <a:ln>
            <a:noFill/>
          </a:ln>
          <a:effectLst/>
        </p:spPr>
        <p:txBody>
          <a:bodyPr wrap="none" anchor="ctr"/>
          <a:lstStyle/>
          <a:p>
            <a:endParaRPr lang="en-GB" sz="1400" dirty="0">
              <a:latin typeface="+mj-lt"/>
            </a:endParaRPr>
          </a:p>
        </p:txBody>
      </p:sp>
      <p:sp>
        <p:nvSpPr>
          <p:cNvPr id="34" name="Freeform 3">
            <a:extLst>
              <a:ext uri="{FF2B5EF4-FFF2-40B4-BE49-F238E27FC236}">
                <a16:creationId xmlns:a16="http://schemas.microsoft.com/office/drawing/2014/main" xmlns="" id="{0EC32AFF-E6A5-4CF4-892B-D537B77AF87F}"/>
              </a:ext>
            </a:extLst>
          </p:cNvPr>
          <p:cNvSpPr>
            <a:spLocks noChangeArrowheads="1"/>
          </p:cNvSpPr>
          <p:nvPr/>
        </p:nvSpPr>
        <p:spPr bwMode="auto">
          <a:xfrm>
            <a:off x="3995349" y="5198382"/>
            <a:ext cx="1099461" cy="252517"/>
          </a:xfrm>
          <a:custGeom>
            <a:avLst/>
            <a:gdLst>
              <a:gd name="T0" fmla="*/ 4655 w 5260"/>
              <a:gd name="T1" fmla="*/ 1207 h 1208"/>
              <a:gd name="T2" fmla="*/ 604 w 5260"/>
              <a:gd name="T3" fmla="*/ 1207 h 1208"/>
              <a:gd name="T4" fmla="*/ 604 w 5260"/>
              <a:gd name="T5" fmla="*/ 1207 h 1208"/>
              <a:gd name="T6" fmla="*/ 0 w 5260"/>
              <a:gd name="T7" fmla="*/ 603 h 1208"/>
              <a:gd name="T8" fmla="*/ 0 w 5260"/>
              <a:gd name="T9" fmla="*/ 603 h 1208"/>
              <a:gd name="T10" fmla="*/ 604 w 5260"/>
              <a:gd name="T11" fmla="*/ 0 h 1208"/>
              <a:gd name="T12" fmla="*/ 4655 w 5260"/>
              <a:gd name="T13" fmla="*/ 0 h 1208"/>
              <a:gd name="T14" fmla="*/ 4655 w 5260"/>
              <a:gd name="T15" fmla="*/ 0 h 1208"/>
              <a:gd name="T16" fmla="*/ 5259 w 5260"/>
              <a:gd name="T17" fmla="*/ 603 h 1208"/>
              <a:gd name="T18" fmla="*/ 5259 w 5260"/>
              <a:gd name="T19" fmla="*/ 603 h 1208"/>
              <a:gd name="T20" fmla="*/ 4655 w 5260"/>
              <a:gd name="T21" fmla="*/ 1207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60" h="1208">
                <a:moveTo>
                  <a:pt x="4655" y="1207"/>
                </a:moveTo>
                <a:lnTo>
                  <a:pt x="604" y="1207"/>
                </a:lnTo>
                <a:lnTo>
                  <a:pt x="604" y="1207"/>
                </a:lnTo>
                <a:cubicBezTo>
                  <a:pt x="271" y="1207"/>
                  <a:pt x="0" y="937"/>
                  <a:pt x="0" y="603"/>
                </a:cubicBezTo>
                <a:lnTo>
                  <a:pt x="0" y="603"/>
                </a:lnTo>
                <a:cubicBezTo>
                  <a:pt x="0" y="270"/>
                  <a:pt x="271" y="0"/>
                  <a:pt x="604" y="0"/>
                </a:cubicBezTo>
                <a:lnTo>
                  <a:pt x="4655" y="0"/>
                </a:lnTo>
                <a:lnTo>
                  <a:pt x="4655" y="0"/>
                </a:lnTo>
                <a:cubicBezTo>
                  <a:pt x="4988" y="0"/>
                  <a:pt x="5259" y="270"/>
                  <a:pt x="5259" y="603"/>
                </a:cubicBezTo>
                <a:lnTo>
                  <a:pt x="5259" y="603"/>
                </a:lnTo>
                <a:cubicBezTo>
                  <a:pt x="5259" y="937"/>
                  <a:pt x="4988" y="1207"/>
                  <a:pt x="4655" y="1207"/>
                </a:cubicBezTo>
              </a:path>
            </a:pathLst>
          </a:custGeom>
          <a:solidFill>
            <a:schemeClr val="accent6"/>
          </a:solidFill>
          <a:ln>
            <a:noFill/>
          </a:ln>
          <a:effectLst/>
        </p:spPr>
        <p:txBody>
          <a:bodyPr wrap="none" anchor="ctr"/>
          <a:lstStyle/>
          <a:p>
            <a:endParaRPr lang="en-GB" sz="1400" dirty="0">
              <a:latin typeface="+mj-lt"/>
            </a:endParaRPr>
          </a:p>
        </p:txBody>
      </p:sp>
      <p:sp>
        <p:nvSpPr>
          <p:cNvPr id="35" name="Freeform 4">
            <a:extLst>
              <a:ext uri="{FF2B5EF4-FFF2-40B4-BE49-F238E27FC236}">
                <a16:creationId xmlns:a16="http://schemas.microsoft.com/office/drawing/2014/main" xmlns="" id="{B8B5B43F-0617-42E1-BEB4-E17875F32546}"/>
              </a:ext>
            </a:extLst>
          </p:cNvPr>
          <p:cNvSpPr>
            <a:spLocks noChangeArrowheads="1"/>
          </p:cNvSpPr>
          <p:nvPr/>
        </p:nvSpPr>
        <p:spPr bwMode="auto">
          <a:xfrm>
            <a:off x="4516050" y="3045489"/>
            <a:ext cx="1122500" cy="973202"/>
          </a:xfrm>
          <a:custGeom>
            <a:avLst/>
            <a:gdLst>
              <a:gd name="T0" fmla="*/ 0 w 5078"/>
              <a:gd name="T1" fmla="*/ 4656 h 4657"/>
              <a:gd name="T2" fmla="*/ 0 w 5078"/>
              <a:gd name="T3" fmla="*/ 0 h 4657"/>
              <a:gd name="T4" fmla="*/ 5069 w 5078"/>
              <a:gd name="T5" fmla="*/ 0 h 4657"/>
              <a:gd name="T6" fmla="*/ 5069 w 5078"/>
              <a:gd name="T7" fmla="*/ 0 h 4657"/>
              <a:gd name="T8" fmla="*/ 5077 w 5078"/>
              <a:gd name="T9" fmla="*/ 293 h 4657"/>
              <a:gd name="T10" fmla="*/ 5077 w 5078"/>
              <a:gd name="T11" fmla="*/ 293 h 4657"/>
              <a:gd name="T12" fmla="*/ 4044 w 5078"/>
              <a:gd name="T13" fmla="*/ 3416 h 4657"/>
              <a:gd name="T14" fmla="*/ 4044 w 5078"/>
              <a:gd name="T15" fmla="*/ 3416 h 4657"/>
              <a:gd name="T16" fmla="*/ 3298 w 5078"/>
              <a:gd name="T17" fmla="*/ 4656 h 4657"/>
              <a:gd name="T18" fmla="*/ 0 w 5078"/>
              <a:gd name="T19" fmla="*/ 4656 h 4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8" h="4657">
                <a:moveTo>
                  <a:pt x="0" y="4656"/>
                </a:moveTo>
                <a:lnTo>
                  <a:pt x="0" y="0"/>
                </a:lnTo>
                <a:lnTo>
                  <a:pt x="5069" y="0"/>
                </a:lnTo>
                <a:lnTo>
                  <a:pt x="5069" y="0"/>
                </a:lnTo>
                <a:cubicBezTo>
                  <a:pt x="5075" y="99"/>
                  <a:pt x="5077" y="197"/>
                  <a:pt x="5077" y="293"/>
                </a:cubicBezTo>
                <a:lnTo>
                  <a:pt x="5077" y="293"/>
                </a:lnTo>
                <a:cubicBezTo>
                  <a:pt x="5077" y="1428"/>
                  <a:pt x="4720" y="2508"/>
                  <a:pt x="4044" y="3416"/>
                </a:cubicBezTo>
                <a:lnTo>
                  <a:pt x="4044" y="3416"/>
                </a:lnTo>
                <a:cubicBezTo>
                  <a:pt x="3755" y="3802"/>
                  <a:pt x="3505" y="4219"/>
                  <a:pt x="3298" y="4656"/>
                </a:cubicBezTo>
                <a:lnTo>
                  <a:pt x="0" y="4656"/>
                </a:lnTo>
              </a:path>
            </a:pathLst>
          </a:custGeom>
          <a:solidFill>
            <a:schemeClr val="accent4"/>
          </a:solidFill>
          <a:ln>
            <a:noFill/>
          </a:ln>
          <a:effectLst/>
        </p:spPr>
        <p:txBody>
          <a:bodyPr wrap="none" anchor="ctr"/>
          <a:lstStyle/>
          <a:p>
            <a:endParaRPr lang="en-GB" sz="1400" dirty="0">
              <a:latin typeface="+mj-lt"/>
            </a:endParaRPr>
          </a:p>
        </p:txBody>
      </p:sp>
      <p:sp>
        <p:nvSpPr>
          <p:cNvPr id="36" name="Freeform 5">
            <a:extLst>
              <a:ext uri="{FF2B5EF4-FFF2-40B4-BE49-F238E27FC236}">
                <a16:creationId xmlns:a16="http://schemas.microsoft.com/office/drawing/2014/main" xmlns="" id="{146EBBF6-A757-4610-B66C-76385450CECE}"/>
              </a:ext>
            </a:extLst>
          </p:cNvPr>
          <p:cNvSpPr>
            <a:spLocks noChangeArrowheads="1"/>
          </p:cNvSpPr>
          <p:nvPr/>
        </p:nvSpPr>
        <p:spPr bwMode="auto">
          <a:xfrm>
            <a:off x="4576874" y="2014226"/>
            <a:ext cx="1055224" cy="973202"/>
          </a:xfrm>
          <a:custGeom>
            <a:avLst/>
            <a:gdLst>
              <a:gd name="T0" fmla="*/ 0 w 5047"/>
              <a:gd name="T1" fmla="*/ 4654 h 4655"/>
              <a:gd name="T2" fmla="*/ 0 w 5047"/>
              <a:gd name="T3" fmla="*/ 0 h 4655"/>
              <a:gd name="T4" fmla="*/ 0 w 5047"/>
              <a:gd name="T5" fmla="*/ 0 h 4655"/>
              <a:gd name="T6" fmla="*/ 3407 w 5047"/>
              <a:gd name="T7" fmla="*/ 1397 h 4655"/>
              <a:gd name="T8" fmla="*/ 3407 w 5047"/>
              <a:gd name="T9" fmla="*/ 1397 h 4655"/>
              <a:gd name="T10" fmla="*/ 5046 w 5047"/>
              <a:gd name="T11" fmla="*/ 4654 h 4655"/>
              <a:gd name="T12" fmla="*/ 0 w 5047"/>
              <a:gd name="T13" fmla="*/ 4654 h 4655"/>
            </a:gdLst>
            <a:ahLst/>
            <a:cxnLst>
              <a:cxn ang="0">
                <a:pos x="T0" y="T1"/>
              </a:cxn>
              <a:cxn ang="0">
                <a:pos x="T2" y="T3"/>
              </a:cxn>
              <a:cxn ang="0">
                <a:pos x="T4" y="T5"/>
              </a:cxn>
              <a:cxn ang="0">
                <a:pos x="T6" y="T7"/>
              </a:cxn>
              <a:cxn ang="0">
                <a:pos x="T8" y="T9"/>
              </a:cxn>
              <a:cxn ang="0">
                <a:pos x="T10" y="T11"/>
              </a:cxn>
              <a:cxn ang="0">
                <a:pos x="T12" y="T13"/>
              </a:cxn>
            </a:cxnLst>
            <a:rect l="0" t="0" r="r" b="b"/>
            <a:pathLst>
              <a:path w="5047" h="4655">
                <a:moveTo>
                  <a:pt x="0" y="4654"/>
                </a:moveTo>
                <a:lnTo>
                  <a:pt x="0" y="0"/>
                </a:lnTo>
                <a:lnTo>
                  <a:pt x="0" y="0"/>
                </a:lnTo>
                <a:cubicBezTo>
                  <a:pt x="1271" y="37"/>
                  <a:pt x="2475" y="530"/>
                  <a:pt x="3407" y="1397"/>
                </a:cubicBezTo>
                <a:lnTo>
                  <a:pt x="3407" y="1397"/>
                </a:lnTo>
                <a:cubicBezTo>
                  <a:pt x="4331" y="2257"/>
                  <a:pt x="4909" y="3408"/>
                  <a:pt x="5046" y="4654"/>
                </a:cubicBezTo>
                <a:lnTo>
                  <a:pt x="0" y="4654"/>
                </a:lnTo>
              </a:path>
            </a:pathLst>
          </a:custGeom>
          <a:solidFill>
            <a:schemeClr val="accent2"/>
          </a:solidFill>
          <a:ln>
            <a:noFill/>
          </a:ln>
          <a:effectLst/>
        </p:spPr>
        <p:txBody>
          <a:bodyPr wrap="none" anchor="ctr"/>
          <a:lstStyle/>
          <a:p>
            <a:endParaRPr lang="en-GB" sz="1400" dirty="0">
              <a:latin typeface="+mj-lt"/>
            </a:endParaRPr>
          </a:p>
        </p:txBody>
      </p:sp>
      <p:sp>
        <p:nvSpPr>
          <p:cNvPr id="37" name="Freeform 6">
            <a:extLst>
              <a:ext uri="{FF2B5EF4-FFF2-40B4-BE49-F238E27FC236}">
                <a16:creationId xmlns:a16="http://schemas.microsoft.com/office/drawing/2014/main" xmlns="" id="{2494119B-69CC-4ADA-AEEA-555B2BD97C1A}"/>
              </a:ext>
            </a:extLst>
          </p:cNvPr>
          <p:cNvSpPr>
            <a:spLocks noChangeArrowheads="1"/>
          </p:cNvSpPr>
          <p:nvPr/>
        </p:nvSpPr>
        <p:spPr bwMode="auto">
          <a:xfrm>
            <a:off x="3855266" y="4084125"/>
            <a:ext cx="1381468" cy="949241"/>
          </a:xfrm>
          <a:custGeom>
            <a:avLst/>
            <a:gdLst>
              <a:gd name="T0" fmla="*/ 1335 w 6611"/>
              <a:gd name="T1" fmla="*/ 4541 h 4542"/>
              <a:gd name="T2" fmla="*/ 1335 w 6611"/>
              <a:gd name="T3" fmla="*/ 4541 h 4542"/>
              <a:gd name="T4" fmla="*/ 557 w 6611"/>
              <a:gd name="T5" fmla="*/ 3763 h 4542"/>
              <a:gd name="T6" fmla="*/ 557 w 6611"/>
              <a:gd name="T7" fmla="*/ 2782 h 4542"/>
              <a:gd name="T8" fmla="*/ 557 w 6611"/>
              <a:gd name="T9" fmla="*/ 2782 h 4542"/>
              <a:gd name="T10" fmla="*/ 0 w 6611"/>
              <a:gd name="T11" fmla="*/ 0 h 4542"/>
              <a:gd name="T12" fmla="*/ 6610 w 6611"/>
              <a:gd name="T13" fmla="*/ 0 h 4542"/>
              <a:gd name="T14" fmla="*/ 6610 w 6611"/>
              <a:gd name="T15" fmla="*/ 0 h 4542"/>
              <a:gd name="T16" fmla="*/ 6052 w 6611"/>
              <a:gd name="T17" fmla="*/ 2782 h 4542"/>
              <a:gd name="T18" fmla="*/ 6052 w 6611"/>
              <a:gd name="T19" fmla="*/ 3763 h 4542"/>
              <a:gd name="T20" fmla="*/ 6052 w 6611"/>
              <a:gd name="T21" fmla="*/ 3763 h 4542"/>
              <a:gd name="T22" fmla="*/ 5274 w 6611"/>
              <a:gd name="T23" fmla="*/ 4541 h 4542"/>
              <a:gd name="T24" fmla="*/ 1335 w 6611"/>
              <a:gd name="T25" fmla="*/ 4541 h 4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11" h="4542">
                <a:moveTo>
                  <a:pt x="1335" y="4541"/>
                </a:moveTo>
                <a:lnTo>
                  <a:pt x="1335" y="4541"/>
                </a:lnTo>
                <a:cubicBezTo>
                  <a:pt x="906" y="4541"/>
                  <a:pt x="557" y="4192"/>
                  <a:pt x="557" y="3763"/>
                </a:cubicBezTo>
                <a:lnTo>
                  <a:pt x="557" y="2782"/>
                </a:lnTo>
                <a:lnTo>
                  <a:pt x="557" y="2782"/>
                </a:lnTo>
                <a:cubicBezTo>
                  <a:pt x="557" y="1821"/>
                  <a:pt x="370" y="886"/>
                  <a:pt x="0" y="0"/>
                </a:cubicBezTo>
                <a:lnTo>
                  <a:pt x="6610" y="0"/>
                </a:lnTo>
                <a:lnTo>
                  <a:pt x="6610" y="0"/>
                </a:lnTo>
                <a:cubicBezTo>
                  <a:pt x="6240" y="886"/>
                  <a:pt x="6052" y="1821"/>
                  <a:pt x="6052" y="2782"/>
                </a:cubicBezTo>
                <a:lnTo>
                  <a:pt x="6052" y="3763"/>
                </a:lnTo>
                <a:lnTo>
                  <a:pt x="6052" y="3763"/>
                </a:lnTo>
                <a:cubicBezTo>
                  <a:pt x="6052" y="4192"/>
                  <a:pt x="5704" y="4541"/>
                  <a:pt x="5274" y="4541"/>
                </a:cubicBezTo>
                <a:lnTo>
                  <a:pt x="1335" y="4541"/>
                </a:lnTo>
              </a:path>
            </a:pathLst>
          </a:custGeom>
          <a:solidFill>
            <a:schemeClr val="accent5"/>
          </a:solidFill>
          <a:ln>
            <a:noFill/>
          </a:ln>
          <a:effectLst/>
        </p:spPr>
        <p:txBody>
          <a:bodyPr wrap="none" anchor="ctr"/>
          <a:lstStyle/>
          <a:p>
            <a:endParaRPr lang="en-GB" sz="1400" dirty="0">
              <a:latin typeface="+mj-lt"/>
            </a:endParaRPr>
          </a:p>
        </p:txBody>
      </p:sp>
      <p:sp>
        <p:nvSpPr>
          <p:cNvPr id="38" name="Freeform 7">
            <a:extLst>
              <a:ext uri="{FF2B5EF4-FFF2-40B4-BE49-F238E27FC236}">
                <a16:creationId xmlns:a16="http://schemas.microsoft.com/office/drawing/2014/main" xmlns="" id="{69632CED-C67B-4A38-8593-58DD68B0B0BA}"/>
              </a:ext>
            </a:extLst>
          </p:cNvPr>
          <p:cNvSpPr>
            <a:spLocks noChangeArrowheads="1"/>
          </p:cNvSpPr>
          <p:nvPr/>
        </p:nvSpPr>
        <p:spPr bwMode="auto">
          <a:xfrm>
            <a:off x="3454374" y="3045489"/>
            <a:ext cx="1061675" cy="973202"/>
          </a:xfrm>
          <a:custGeom>
            <a:avLst/>
            <a:gdLst>
              <a:gd name="T0" fmla="*/ 1779 w 5078"/>
              <a:gd name="T1" fmla="*/ 4656 h 4657"/>
              <a:gd name="T2" fmla="*/ 1779 w 5078"/>
              <a:gd name="T3" fmla="*/ 4656 h 4657"/>
              <a:gd name="T4" fmla="*/ 1034 w 5078"/>
              <a:gd name="T5" fmla="*/ 3416 h 4657"/>
              <a:gd name="T6" fmla="*/ 1034 w 5078"/>
              <a:gd name="T7" fmla="*/ 3416 h 4657"/>
              <a:gd name="T8" fmla="*/ 0 w 5078"/>
              <a:gd name="T9" fmla="*/ 293 h 4657"/>
              <a:gd name="T10" fmla="*/ 0 w 5078"/>
              <a:gd name="T11" fmla="*/ 293 h 4657"/>
              <a:gd name="T12" fmla="*/ 8 w 5078"/>
              <a:gd name="T13" fmla="*/ 0 h 4657"/>
              <a:gd name="T14" fmla="*/ 5077 w 5078"/>
              <a:gd name="T15" fmla="*/ 0 h 4657"/>
              <a:gd name="T16" fmla="*/ 5077 w 5078"/>
              <a:gd name="T17" fmla="*/ 4656 h 4657"/>
              <a:gd name="T18" fmla="*/ 1779 w 5078"/>
              <a:gd name="T19" fmla="*/ 4656 h 4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8" h="4657">
                <a:moveTo>
                  <a:pt x="1779" y="4656"/>
                </a:moveTo>
                <a:lnTo>
                  <a:pt x="1779" y="4656"/>
                </a:lnTo>
                <a:cubicBezTo>
                  <a:pt x="1572" y="4219"/>
                  <a:pt x="1322" y="3802"/>
                  <a:pt x="1034" y="3416"/>
                </a:cubicBezTo>
                <a:lnTo>
                  <a:pt x="1034" y="3416"/>
                </a:lnTo>
                <a:cubicBezTo>
                  <a:pt x="357" y="2508"/>
                  <a:pt x="0" y="1428"/>
                  <a:pt x="0" y="293"/>
                </a:cubicBezTo>
                <a:lnTo>
                  <a:pt x="0" y="293"/>
                </a:lnTo>
                <a:cubicBezTo>
                  <a:pt x="0" y="197"/>
                  <a:pt x="3" y="99"/>
                  <a:pt x="8" y="0"/>
                </a:cubicBezTo>
                <a:lnTo>
                  <a:pt x="5077" y="0"/>
                </a:lnTo>
                <a:lnTo>
                  <a:pt x="5077" y="4656"/>
                </a:lnTo>
                <a:lnTo>
                  <a:pt x="1779" y="4656"/>
                </a:lnTo>
              </a:path>
            </a:pathLst>
          </a:custGeom>
          <a:solidFill>
            <a:schemeClr val="accent4"/>
          </a:solidFill>
          <a:ln>
            <a:noFill/>
          </a:ln>
          <a:effectLst/>
        </p:spPr>
        <p:txBody>
          <a:bodyPr wrap="none" anchor="ctr"/>
          <a:lstStyle/>
          <a:p>
            <a:endParaRPr lang="en-GB" sz="1400" dirty="0">
              <a:latin typeface="+mj-lt"/>
            </a:endParaRPr>
          </a:p>
        </p:txBody>
      </p:sp>
      <p:sp>
        <p:nvSpPr>
          <p:cNvPr id="39" name="Freeform 8">
            <a:extLst>
              <a:ext uri="{FF2B5EF4-FFF2-40B4-BE49-F238E27FC236}">
                <a16:creationId xmlns:a16="http://schemas.microsoft.com/office/drawing/2014/main" xmlns="" id="{19E1E6F1-498D-4E18-9FB4-86548DC9B3EA}"/>
              </a:ext>
            </a:extLst>
          </p:cNvPr>
          <p:cNvSpPr>
            <a:spLocks noChangeArrowheads="1"/>
          </p:cNvSpPr>
          <p:nvPr/>
        </p:nvSpPr>
        <p:spPr bwMode="auto">
          <a:xfrm>
            <a:off x="3460824" y="2014226"/>
            <a:ext cx="1055224" cy="973202"/>
          </a:xfrm>
          <a:custGeom>
            <a:avLst/>
            <a:gdLst>
              <a:gd name="T0" fmla="*/ 0 w 5047"/>
              <a:gd name="T1" fmla="*/ 4654 h 4655"/>
              <a:gd name="T2" fmla="*/ 0 w 5047"/>
              <a:gd name="T3" fmla="*/ 4654 h 4655"/>
              <a:gd name="T4" fmla="*/ 1639 w 5047"/>
              <a:gd name="T5" fmla="*/ 1397 h 4655"/>
              <a:gd name="T6" fmla="*/ 1639 w 5047"/>
              <a:gd name="T7" fmla="*/ 1397 h 4655"/>
              <a:gd name="T8" fmla="*/ 5046 w 5047"/>
              <a:gd name="T9" fmla="*/ 0 h 4655"/>
              <a:gd name="T10" fmla="*/ 5046 w 5047"/>
              <a:gd name="T11" fmla="*/ 4654 h 4655"/>
              <a:gd name="T12" fmla="*/ 0 w 5047"/>
              <a:gd name="T13" fmla="*/ 4654 h 4655"/>
            </a:gdLst>
            <a:ahLst/>
            <a:cxnLst>
              <a:cxn ang="0">
                <a:pos x="T0" y="T1"/>
              </a:cxn>
              <a:cxn ang="0">
                <a:pos x="T2" y="T3"/>
              </a:cxn>
              <a:cxn ang="0">
                <a:pos x="T4" y="T5"/>
              </a:cxn>
              <a:cxn ang="0">
                <a:pos x="T6" y="T7"/>
              </a:cxn>
              <a:cxn ang="0">
                <a:pos x="T8" y="T9"/>
              </a:cxn>
              <a:cxn ang="0">
                <a:pos x="T10" y="T11"/>
              </a:cxn>
              <a:cxn ang="0">
                <a:pos x="T12" y="T13"/>
              </a:cxn>
            </a:cxnLst>
            <a:rect l="0" t="0" r="r" b="b"/>
            <a:pathLst>
              <a:path w="5047" h="4655">
                <a:moveTo>
                  <a:pt x="0" y="4654"/>
                </a:moveTo>
                <a:lnTo>
                  <a:pt x="0" y="4654"/>
                </a:lnTo>
                <a:cubicBezTo>
                  <a:pt x="137" y="3408"/>
                  <a:pt x="715" y="2257"/>
                  <a:pt x="1639" y="1397"/>
                </a:cubicBezTo>
                <a:lnTo>
                  <a:pt x="1639" y="1397"/>
                </a:lnTo>
                <a:cubicBezTo>
                  <a:pt x="2572" y="530"/>
                  <a:pt x="3777" y="37"/>
                  <a:pt x="5046" y="0"/>
                </a:cubicBezTo>
                <a:lnTo>
                  <a:pt x="5046" y="4654"/>
                </a:lnTo>
                <a:lnTo>
                  <a:pt x="0" y="4654"/>
                </a:lnTo>
              </a:path>
            </a:pathLst>
          </a:custGeom>
          <a:solidFill>
            <a:schemeClr val="accent1"/>
          </a:solidFill>
          <a:ln>
            <a:noFill/>
          </a:ln>
          <a:effectLst/>
        </p:spPr>
        <p:txBody>
          <a:bodyPr wrap="none" anchor="ctr"/>
          <a:lstStyle/>
          <a:p>
            <a:endParaRPr lang="en-GB" sz="1400" dirty="0">
              <a:latin typeface="+mj-lt"/>
            </a:endParaRPr>
          </a:p>
        </p:txBody>
      </p:sp>
      <p:sp>
        <p:nvSpPr>
          <p:cNvPr id="40" name="Freeform 9">
            <a:extLst>
              <a:ext uri="{FF2B5EF4-FFF2-40B4-BE49-F238E27FC236}">
                <a16:creationId xmlns:a16="http://schemas.microsoft.com/office/drawing/2014/main" xmlns="" id="{5683CEAA-FAB1-4F8C-B512-E5A981791300}"/>
              </a:ext>
            </a:extLst>
          </p:cNvPr>
          <p:cNvSpPr>
            <a:spLocks noChangeArrowheads="1"/>
          </p:cNvSpPr>
          <p:nvPr/>
        </p:nvSpPr>
        <p:spPr bwMode="auto">
          <a:xfrm>
            <a:off x="3899503" y="5072124"/>
            <a:ext cx="1290230" cy="252517"/>
          </a:xfrm>
          <a:custGeom>
            <a:avLst/>
            <a:gdLst>
              <a:gd name="T0" fmla="*/ 5570 w 6174"/>
              <a:gd name="T1" fmla="*/ 1207 h 1208"/>
              <a:gd name="T2" fmla="*/ 604 w 6174"/>
              <a:gd name="T3" fmla="*/ 1207 h 1208"/>
              <a:gd name="T4" fmla="*/ 604 w 6174"/>
              <a:gd name="T5" fmla="*/ 1207 h 1208"/>
              <a:gd name="T6" fmla="*/ 0 w 6174"/>
              <a:gd name="T7" fmla="*/ 604 h 1208"/>
              <a:gd name="T8" fmla="*/ 0 w 6174"/>
              <a:gd name="T9" fmla="*/ 604 h 1208"/>
              <a:gd name="T10" fmla="*/ 604 w 6174"/>
              <a:gd name="T11" fmla="*/ 0 h 1208"/>
              <a:gd name="T12" fmla="*/ 5570 w 6174"/>
              <a:gd name="T13" fmla="*/ 0 h 1208"/>
              <a:gd name="T14" fmla="*/ 5570 w 6174"/>
              <a:gd name="T15" fmla="*/ 0 h 1208"/>
              <a:gd name="T16" fmla="*/ 6173 w 6174"/>
              <a:gd name="T17" fmla="*/ 604 h 1208"/>
              <a:gd name="T18" fmla="*/ 6173 w 6174"/>
              <a:gd name="T19" fmla="*/ 604 h 1208"/>
              <a:gd name="T20" fmla="*/ 5570 w 6174"/>
              <a:gd name="T21" fmla="*/ 1207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74" h="1208">
                <a:moveTo>
                  <a:pt x="5570" y="1207"/>
                </a:moveTo>
                <a:lnTo>
                  <a:pt x="604" y="1207"/>
                </a:lnTo>
                <a:lnTo>
                  <a:pt x="604" y="1207"/>
                </a:lnTo>
                <a:cubicBezTo>
                  <a:pt x="270" y="1207"/>
                  <a:pt x="0" y="937"/>
                  <a:pt x="0" y="604"/>
                </a:cubicBezTo>
                <a:lnTo>
                  <a:pt x="0" y="604"/>
                </a:lnTo>
                <a:cubicBezTo>
                  <a:pt x="0" y="270"/>
                  <a:pt x="270" y="0"/>
                  <a:pt x="604" y="0"/>
                </a:cubicBezTo>
                <a:lnTo>
                  <a:pt x="5570" y="0"/>
                </a:lnTo>
                <a:lnTo>
                  <a:pt x="5570" y="0"/>
                </a:lnTo>
                <a:cubicBezTo>
                  <a:pt x="5903" y="0"/>
                  <a:pt x="6173" y="270"/>
                  <a:pt x="6173" y="604"/>
                </a:cubicBezTo>
                <a:lnTo>
                  <a:pt x="6173" y="604"/>
                </a:lnTo>
                <a:cubicBezTo>
                  <a:pt x="6173" y="937"/>
                  <a:pt x="5903" y="1207"/>
                  <a:pt x="5570" y="1207"/>
                </a:cubicBezTo>
              </a:path>
            </a:pathLst>
          </a:custGeom>
          <a:solidFill>
            <a:schemeClr val="accent6"/>
          </a:solidFill>
          <a:ln>
            <a:noFill/>
          </a:ln>
          <a:effectLst/>
        </p:spPr>
        <p:txBody>
          <a:bodyPr wrap="none" anchor="ctr"/>
          <a:lstStyle/>
          <a:p>
            <a:endParaRPr lang="en-GB" sz="1400" dirty="0">
              <a:latin typeface="+mj-lt"/>
            </a:endParaRPr>
          </a:p>
        </p:txBody>
      </p:sp>
      <p:sp>
        <p:nvSpPr>
          <p:cNvPr id="41" name="Freeform 10">
            <a:extLst>
              <a:ext uri="{FF2B5EF4-FFF2-40B4-BE49-F238E27FC236}">
                <a16:creationId xmlns:a16="http://schemas.microsoft.com/office/drawing/2014/main" xmlns="" id="{2B8950BD-8CD4-4A3B-AA31-D3631C3DE13F}"/>
              </a:ext>
            </a:extLst>
          </p:cNvPr>
          <p:cNvSpPr>
            <a:spLocks noChangeArrowheads="1"/>
          </p:cNvSpPr>
          <p:nvPr/>
        </p:nvSpPr>
        <p:spPr bwMode="auto">
          <a:xfrm>
            <a:off x="4345554" y="2245546"/>
            <a:ext cx="398128" cy="399050"/>
          </a:xfrm>
          <a:custGeom>
            <a:avLst/>
            <a:gdLst>
              <a:gd name="T0" fmla="*/ 1906 w 1907"/>
              <a:gd name="T1" fmla="*/ 954 h 1908"/>
              <a:gd name="T2" fmla="*/ 1906 w 1907"/>
              <a:gd name="T3" fmla="*/ 954 h 1908"/>
              <a:gd name="T4" fmla="*/ 953 w 1907"/>
              <a:gd name="T5" fmla="*/ 1907 h 1908"/>
              <a:gd name="T6" fmla="*/ 953 w 1907"/>
              <a:gd name="T7" fmla="*/ 1907 h 1908"/>
              <a:gd name="T8" fmla="*/ 0 w 1907"/>
              <a:gd name="T9" fmla="*/ 954 h 1908"/>
              <a:gd name="T10" fmla="*/ 0 w 1907"/>
              <a:gd name="T11" fmla="*/ 954 h 1908"/>
              <a:gd name="T12" fmla="*/ 953 w 1907"/>
              <a:gd name="T13" fmla="*/ 0 h 1908"/>
              <a:gd name="T14" fmla="*/ 953 w 1907"/>
              <a:gd name="T15" fmla="*/ 0 h 1908"/>
              <a:gd name="T16" fmla="*/ 1906 w 1907"/>
              <a:gd name="T17" fmla="*/ 954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7" h="1908">
                <a:moveTo>
                  <a:pt x="1906" y="954"/>
                </a:moveTo>
                <a:lnTo>
                  <a:pt x="1906" y="954"/>
                </a:lnTo>
                <a:cubicBezTo>
                  <a:pt x="1906" y="1480"/>
                  <a:pt x="1479" y="1907"/>
                  <a:pt x="953" y="1907"/>
                </a:cubicBezTo>
                <a:lnTo>
                  <a:pt x="953" y="1907"/>
                </a:lnTo>
                <a:cubicBezTo>
                  <a:pt x="427" y="1907"/>
                  <a:pt x="0" y="1480"/>
                  <a:pt x="0" y="954"/>
                </a:cubicBezTo>
                <a:lnTo>
                  <a:pt x="0" y="954"/>
                </a:lnTo>
                <a:cubicBezTo>
                  <a:pt x="0" y="427"/>
                  <a:pt x="427" y="0"/>
                  <a:pt x="953" y="0"/>
                </a:cubicBezTo>
                <a:lnTo>
                  <a:pt x="953" y="0"/>
                </a:lnTo>
                <a:cubicBezTo>
                  <a:pt x="1479" y="0"/>
                  <a:pt x="1906" y="427"/>
                  <a:pt x="1906" y="954"/>
                </a:cubicBezTo>
              </a:path>
            </a:pathLst>
          </a:custGeom>
          <a:solidFill>
            <a:schemeClr val="accent1"/>
          </a:solidFill>
          <a:ln>
            <a:noFill/>
          </a:ln>
          <a:effectLst/>
        </p:spPr>
        <p:txBody>
          <a:bodyPr wrap="none" anchor="ctr"/>
          <a:lstStyle/>
          <a:p>
            <a:endParaRPr lang="en-GB" sz="1400" dirty="0">
              <a:latin typeface="+mj-lt"/>
            </a:endParaRPr>
          </a:p>
        </p:txBody>
      </p:sp>
      <p:sp>
        <p:nvSpPr>
          <p:cNvPr id="42" name="Freeform 11">
            <a:extLst>
              <a:ext uri="{FF2B5EF4-FFF2-40B4-BE49-F238E27FC236}">
                <a16:creationId xmlns:a16="http://schemas.microsoft.com/office/drawing/2014/main" xmlns="" id="{740AC6C5-9A29-49B2-AAD9-E4AD2A7454CD}"/>
              </a:ext>
            </a:extLst>
          </p:cNvPr>
          <p:cNvSpPr>
            <a:spLocks noChangeArrowheads="1"/>
          </p:cNvSpPr>
          <p:nvPr/>
        </p:nvSpPr>
        <p:spPr bwMode="auto">
          <a:xfrm>
            <a:off x="4894823" y="2814169"/>
            <a:ext cx="399050" cy="399050"/>
          </a:xfrm>
          <a:custGeom>
            <a:avLst/>
            <a:gdLst>
              <a:gd name="T0" fmla="*/ 1908 w 1909"/>
              <a:gd name="T1" fmla="*/ 953 h 1908"/>
              <a:gd name="T2" fmla="*/ 1908 w 1909"/>
              <a:gd name="T3" fmla="*/ 953 h 1908"/>
              <a:gd name="T4" fmla="*/ 954 w 1909"/>
              <a:gd name="T5" fmla="*/ 1907 h 1908"/>
              <a:gd name="T6" fmla="*/ 954 w 1909"/>
              <a:gd name="T7" fmla="*/ 1907 h 1908"/>
              <a:gd name="T8" fmla="*/ 0 w 1909"/>
              <a:gd name="T9" fmla="*/ 953 h 1908"/>
              <a:gd name="T10" fmla="*/ 0 w 1909"/>
              <a:gd name="T11" fmla="*/ 953 h 1908"/>
              <a:gd name="T12" fmla="*/ 954 w 1909"/>
              <a:gd name="T13" fmla="*/ 0 h 1908"/>
              <a:gd name="T14" fmla="*/ 954 w 1909"/>
              <a:gd name="T15" fmla="*/ 0 h 1908"/>
              <a:gd name="T16" fmla="*/ 1908 w 1909"/>
              <a:gd name="T17" fmla="*/ 95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9" h="1908">
                <a:moveTo>
                  <a:pt x="1908" y="953"/>
                </a:moveTo>
                <a:lnTo>
                  <a:pt x="1908" y="953"/>
                </a:lnTo>
                <a:cubicBezTo>
                  <a:pt x="1908" y="1480"/>
                  <a:pt x="1481" y="1907"/>
                  <a:pt x="954" y="1907"/>
                </a:cubicBezTo>
                <a:lnTo>
                  <a:pt x="954" y="1907"/>
                </a:lnTo>
                <a:cubicBezTo>
                  <a:pt x="427" y="1907"/>
                  <a:pt x="0" y="1480"/>
                  <a:pt x="0" y="953"/>
                </a:cubicBezTo>
                <a:lnTo>
                  <a:pt x="0" y="953"/>
                </a:lnTo>
                <a:cubicBezTo>
                  <a:pt x="0" y="427"/>
                  <a:pt x="427" y="0"/>
                  <a:pt x="954" y="0"/>
                </a:cubicBezTo>
                <a:lnTo>
                  <a:pt x="954" y="0"/>
                </a:lnTo>
                <a:cubicBezTo>
                  <a:pt x="1481" y="0"/>
                  <a:pt x="1908" y="427"/>
                  <a:pt x="1908" y="953"/>
                </a:cubicBezTo>
              </a:path>
            </a:pathLst>
          </a:custGeom>
          <a:solidFill>
            <a:schemeClr val="accent2"/>
          </a:solidFill>
          <a:ln>
            <a:noFill/>
          </a:ln>
          <a:effectLst/>
        </p:spPr>
        <p:txBody>
          <a:bodyPr wrap="none" anchor="ctr"/>
          <a:lstStyle/>
          <a:p>
            <a:endParaRPr lang="en-GB" sz="1400" dirty="0">
              <a:latin typeface="+mj-lt"/>
            </a:endParaRPr>
          </a:p>
        </p:txBody>
      </p:sp>
      <p:sp>
        <p:nvSpPr>
          <p:cNvPr id="43" name="Freeform 13">
            <a:extLst>
              <a:ext uri="{FF2B5EF4-FFF2-40B4-BE49-F238E27FC236}">
                <a16:creationId xmlns:a16="http://schemas.microsoft.com/office/drawing/2014/main" xmlns="" id="{F3D44DE4-9F0C-4F5A-946D-0AED97C560C4}"/>
              </a:ext>
            </a:extLst>
          </p:cNvPr>
          <p:cNvSpPr>
            <a:spLocks noChangeArrowheads="1"/>
          </p:cNvSpPr>
          <p:nvPr/>
        </p:nvSpPr>
        <p:spPr bwMode="auto">
          <a:xfrm>
            <a:off x="4775016" y="3851882"/>
            <a:ext cx="399050" cy="399050"/>
          </a:xfrm>
          <a:custGeom>
            <a:avLst/>
            <a:gdLst>
              <a:gd name="T0" fmla="*/ 1908 w 1909"/>
              <a:gd name="T1" fmla="*/ 954 h 1909"/>
              <a:gd name="T2" fmla="*/ 1908 w 1909"/>
              <a:gd name="T3" fmla="*/ 954 h 1909"/>
              <a:gd name="T4" fmla="*/ 954 w 1909"/>
              <a:gd name="T5" fmla="*/ 1908 h 1909"/>
              <a:gd name="T6" fmla="*/ 954 w 1909"/>
              <a:gd name="T7" fmla="*/ 1908 h 1909"/>
              <a:gd name="T8" fmla="*/ 0 w 1909"/>
              <a:gd name="T9" fmla="*/ 954 h 1909"/>
              <a:gd name="T10" fmla="*/ 0 w 1909"/>
              <a:gd name="T11" fmla="*/ 954 h 1909"/>
              <a:gd name="T12" fmla="*/ 954 w 1909"/>
              <a:gd name="T13" fmla="*/ 0 h 1909"/>
              <a:gd name="T14" fmla="*/ 954 w 1909"/>
              <a:gd name="T15" fmla="*/ 0 h 1909"/>
              <a:gd name="T16" fmla="*/ 1908 w 1909"/>
              <a:gd name="T17" fmla="*/ 954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9" h="1909">
                <a:moveTo>
                  <a:pt x="1908" y="954"/>
                </a:moveTo>
                <a:lnTo>
                  <a:pt x="1908" y="954"/>
                </a:lnTo>
                <a:cubicBezTo>
                  <a:pt x="1908" y="1481"/>
                  <a:pt x="1481" y="1908"/>
                  <a:pt x="954" y="1908"/>
                </a:cubicBezTo>
                <a:lnTo>
                  <a:pt x="954" y="1908"/>
                </a:lnTo>
                <a:cubicBezTo>
                  <a:pt x="427" y="1908"/>
                  <a:pt x="0" y="1481"/>
                  <a:pt x="0" y="954"/>
                </a:cubicBezTo>
                <a:lnTo>
                  <a:pt x="0" y="954"/>
                </a:lnTo>
                <a:cubicBezTo>
                  <a:pt x="0" y="427"/>
                  <a:pt x="427" y="0"/>
                  <a:pt x="954" y="0"/>
                </a:cubicBezTo>
                <a:lnTo>
                  <a:pt x="954" y="0"/>
                </a:lnTo>
                <a:cubicBezTo>
                  <a:pt x="1481" y="0"/>
                  <a:pt x="1908" y="427"/>
                  <a:pt x="1908" y="954"/>
                </a:cubicBezTo>
              </a:path>
            </a:pathLst>
          </a:custGeom>
          <a:solidFill>
            <a:schemeClr val="accent3"/>
          </a:solidFill>
          <a:ln>
            <a:noFill/>
          </a:ln>
          <a:effectLst/>
        </p:spPr>
        <p:txBody>
          <a:bodyPr wrap="none" anchor="ctr"/>
          <a:lstStyle/>
          <a:p>
            <a:endParaRPr lang="en-GB" sz="1400" dirty="0">
              <a:latin typeface="+mj-lt"/>
            </a:endParaRPr>
          </a:p>
        </p:txBody>
      </p:sp>
      <p:sp>
        <p:nvSpPr>
          <p:cNvPr id="44" name="Freeform 14">
            <a:extLst>
              <a:ext uri="{FF2B5EF4-FFF2-40B4-BE49-F238E27FC236}">
                <a16:creationId xmlns:a16="http://schemas.microsoft.com/office/drawing/2014/main" xmlns="" id="{A95001C3-392A-414E-B709-DA14F88EF54C}"/>
              </a:ext>
            </a:extLst>
          </p:cNvPr>
          <p:cNvSpPr>
            <a:spLocks noChangeArrowheads="1"/>
          </p:cNvSpPr>
          <p:nvPr/>
        </p:nvSpPr>
        <p:spPr bwMode="auto">
          <a:xfrm>
            <a:off x="3968622" y="3851882"/>
            <a:ext cx="399050" cy="399050"/>
          </a:xfrm>
          <a:custGeom>
            <a:avLst/>
            <a:gdLst>
              <a:gd name="T0" fmla="*/ 1908 w 1909"/>
              <a:gd name="T1" fmla="*/ 954 h 1909"/>
              <a:gd name="T2" fmla="*/ 1908 w 1909"/>
              <a:gd name="T3" fmla="*/ 954 h 1909"/>
              <a:gd name="T4" fmla="*/ 954 w 1909"/>
              <a:gd name="T5" fmla="*/ 1908 h 1909"/>
              <a:gd name="T6" fmla="*/ 954 w 1909"/>
              <a:gd name="T7" fmla="*/ 1908 h 1909"/>
              <a:gd name="T8" fmla="*/ 0 w 1909"/>
              <a:gd name="T9" fmla="*/ 954 h 1909"/>
              <a:gd name="T10" fmla="*/ 0 w 1909"/>
              <a:gd name="T11" fmla="*/ 954 h 1909"/>
              <a:gd name="T12" fmla="*/ 954 w 1909"/>
              <a:gd name="T13" fmla="*/ 0 h 1909"/>
              <a:gd name="T14" fmla="*/ 954 w 1909"/>
              <a:gd name="T15" fmla="*/ 0 h 1909"/>
              <a:gd name="T16" fmla="*/ 1908 w 1909"/>
              <a:gd name="T17" fmla="*/ 954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9" h="1909">
                <a:moveTo>
                  <a:pt x="1908" y="954"/>
                </a:moveTo>
                <a:lnTo>
                  <a:pt x="1908" y="954"/>
                </a:lnTo>
                <a:cubicBezTo>
                  <a:pt x="1908" y="1481"/>
                  <a:pt x="1481" y="1908"/>
                  <a:pt x="954" y="1908"/>
                </a:cubicBezTo>
                <a:lnTo>
                  <a:pt x="954" y="1908"/>
                </a:lnTo>
                <a:cubicBezTo>
                  <a:pt x="427" y="1908"/>
                  <a:pt x="0" y="1481"/>
                  <a:pt x="0" y="954"/>
                </a:cubicBezTo>
                <a:lnTo>
                  <a:pt x="0" y="954"/>
                </a:lnTo>
                <a:cubicBezTo>
                  <a:pt x="0" y="427"/>
                  <a:pt x="427" y="0"/>
                  <a:pt x="954" y="0"/>
                </a:cubicBezTo>
                <a:lnTo>
                  <a:pt x="954" y="0"/>
                </a:lnTo>
                <a:cubicBezTo>
                  <a:pt x="1481" y="0"/>
                  <a:pt x="1908" y="427"/>
                  <a:pt x="1908" y="954"/>
                </a:cubicBezTo>
              </a:path>
            </a:pathLst>
          </a:custGeom>
          <a:solidFill>
            <a:schemeClr val="accent5"/>
          </a:solidFill>
          <a:ln>
            <a:noFill/>
          </a:ln>
          <a:effectLst/>
        </p:spPr>
        <p:txBody>
          <a:bodyPr wrap="none" anchor="ctr"/>
          <a:lstStyle/>
          <a:p>
            <a:endParaRPr lang="en-GB" sz="1400" dirty="0">
              <a:latin typeface="+mj-lt"/>
            </a:endParaRPr>
          </a:p>
        </p:txBody>
      </p:sp>
      <p:sp>
        <p:nvSpPr>
          <p:cNvPr id="45" name="Freeform 15">
            <a:extLst>
              <a:ext uri="{FF2B5EF4-FFF2-40B4-BE49-F238E27FC236}">
                <a16:creationId xmlns:a16="http://schemas.microsoft.com/office/drawing/2014/main" xmlns="" id="{2852E48C-7E08-4A2E-AF4C-0A224462552A}"/>
              </a:ext>
            </a:extLst>
          </p:cNvPr>
          <p:cNvSpPr>
            <a:spLocks noChangeArrowheads="1"/>
          </p:cNvSpPr>
          <p:nvPr/>
        </p:nvSpPr>
        <p:spPr bwMode="auto">
          <a:xfrm>
            <a:off x="3795362" y="2814169"/>
            <a:ext cx="399050" cy="399050"/>
          </a:xfrm>
          <a:custGeom>
            <a:avLst/>
            <a:gdLst>
              <a:gd name="T0" fmla="*/ 1907 w 1908"/>
              <a:gd name="T1" fmla="*/ 953 h 1908"/>
              <a:gd name="T2" fmla="*/ 1907 w 1908"/>
              <a:gd name="T3" fmla="*/ 953 h 1908"/>
              <a:gd name="T4" fmla="*/ 953 w 1908"/>
              <a:gd name="T5" fmla="*/ 1907 h 1908"/>
              <a:gd name="T6" fmla="*/ 953 w 1908"/>
              <a:gd name="T7" fmla="*/ 1907 h 1908"/>
              <a:gd name="T8" fmla="*/ 0 w 1908"/>
              <a:gd name="T9" fmla="*/ 953 h 1908"/>
              <a:gd name="T10" fmla="*/ 0 w 1908"/>
              <a:gd name="T11" fmla="*/ 953 h 1908"/>
              <a:gd name="T12" fmla="*/ 953 w 1908"/>
              <a:gd name="T13" fmla="*/ 0 h 1908"/>
              <a:gd name="T14" fmla="*/ 953 w 1908"/>
              <a:gd name="T15" fmla="*/ 0 h 1908"/>
              <a:gd name="T16" fmla="*/ 1907 w 1908"/>
              <a:gd name="T17" fmla="*/ 953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8" h="1908">
                <a:moveTo>
                  <a:pt x="1907" y="953"/>
                </a:moveTo>
                <a:lnTo>
                  <a:pt x="1907" y="953"/>
                </a:lnTo>
                <a:cubicBezTo>
                  <a:pt x="1907" y="1480"/>
                  <a:pt x="1480" y="1907"/>
                  <a:pt x="953" y="1907"/>
                </a:cubicBezTo>
                <a:lnTo>
                  <a:pt x="953" y="1907"/>
                </a:lnTo>
                <a:cubicBezTo>
                  <a:pt x="427" y="1907"/>
                  <a:pt x="0" y="1480"/>
                  <a:pt x="0" y="953"/>
                </a:cubicBezTo>
                <a:lnTo>
                  <a:pt x="0" y="953"/>
                </a:lnTo>
                <a:cubicBezTo>
                  <a:pt x="0" y="427"/>
                  <a:pt x="427" y="0"/>
                  <a:pt x="953" y="0"/>
                </a:cubicBezTo>
                <a:lnTo>
                  <a:pt x="953" y="0"/>
                </a:lnTo>
                <a:cubicBezTo>
                  <a:pt x="1480" y="0"/>
                  <a:pt x="1907" y="427"/>
                  <a:pt x="1907" y="953"/>
                </a:cubicBezTo>
              </a:path>
            </a:pathLst>
          </a:custGeom>
          <a:solidFill>
            <a:schemeClr val="accent4"/>
          </a:solidFill>
          <a:ln>
            <a:noFill/>
          </a:ln>
          <a:effectLst/>
        </p:spPr>
        <p:txBody>
          <a:bodyPr wrap="none" anchor="ctr"/>
          <a:lstStyle/>
          <a:p>
            <a:endParaRPr lang="en-GB" sz="1400" dirty="0">
              <a:latin typeface="+mj-lt"/>
            </a:endParaRPr>
          </a:p>
        </p:txBody>
      </p:sp>
      <p:sp>
        <p:nvSpPr>
          <p:cNvPr id="46" name="Freeform 9">
            <a:extLst>
              <a:ext uri="{FF2B5EF4-FFF2-40B4-BE49-F238E27FC236}">
                <a16:creationId xmlns:a16="http://schemas.microsoft.com/office/drawing/2014/main" xmlns="" id="{1C0F0947-DFD3-4AA8-B41C-5623550CCF23}"/>
              </a:ext>
            </a:extLst>
          </p:cNvPr>
          <p:cNvSpPr>
            <a:spLocks noChangeArrowheads="1"/>
          </p:cNvSpPr>
          <p:nvPr/>
        </p:nvSpPr>
        <p:spPr bwMode="auto">
          <a:xfrm>
            <a:off x="3795363" y="4892404"/>
            <a:ext cx="1498511" cy="252517"/>
          </a:xfrm>
          <a:custGeom>
            <a:avLst/>
            <a:gdLst>
              <a:gd name="T0" fmla="*/ 5570 w 6174"/>
              <a:gd name="T1" fmla="*/ 1207 h 1208"/>
              <a:gd name="T2" fmla="*/ 604 w 6174"/>
              <a:gd name="T3" fmla="*/ 1207 h 1208"/>
              <a:gd name="T4" fmla="*/ 604 w 6174"/>
              <a:gd name="T5" fmla="*/ 1207 h 1208"/>
              <a:gd name="T6" fmla="*/ 0 w 6174"/>
              <a:gd name="T7" fmla="*/ 604 h 1208"/>
              <a:gd name="T8" fmla="*/ 0 w 6174"/>
              <a:gd name="T9" fmla="*/ 604 h 1208"/>
              <a:gd name="T10" fmla="*/ 604 w 6174"/>
              <a:gd name="T11" fmla="*/ 0 h 1208"/>
              <a:gd name="T12" fmla="*/ 5570 w 6174"/>
              <a:gd name="T13" fmla="*/ 0 h 1208"/>
              <a:gd name="T14" fmla="*/ 5570 w 6174"/>
              <a:gd name="T15" fmla="*/ 0 h 1208"/>
              <a:gd name="T16" fmla="*/ 6173 w 6174"/>
              <a:gd name="T17" fmla="*/ 604 h 1208"/>
              <a:gd name="T18" fmla="*/ 6173 w 6174"/>
              <a:gd name="T19" fmla="*/ 604 h 1208"/>
              <a:gd name="T20" fmla="*/ 5570 w 6174"/>
              <a:gd name="T21" fmla="*/ 1207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74" h="1208">
                <a:moveTo>
                  <a:pt x="5570" y="1207"/>
                </a:moveTo>
                <a:lnTo>
                  <a:pt x="604" y="1207"/>
                </a:lnTo>
                <a:lnTo>
                  <a:pt x="604" y="1207"/>
                </a:lnTo>
                <a:cubicBezTo>
                  <a:pt x="270" y="1207"/>
                  <a:pt x="0" y="937"/>
                  <a:pt x="0" y="604"/>
                </a:cubicBezTo>
                <a:lnTo>
                  <a:pt x="0" y="604"/>
                </a:lnTo>
                <a:cubicBezTo>
                  <a:pt x="0" y="270"/>
                  <a:pt x="270" y="0"/>
                  <a:pt x="604" y="0"/>
                </a:cubicBezTo>
                <a:lnTo>
                  <a:pt x="5570" y="0"/>
                </a:lnTo>
                <a:lnTo>
                  <a:pt x="5570" y="0"/>
                </a:lnTo>
                <a:cubicBezTo>
                  <a:pt x="5903" y="0"/>
                  <a:pt x="6173" y="270"/>
                  <a:pt x="6173" y="604"/>
                </a:cubicBezTo>
                <a:lnTo>
                  <a:pt x="6173" y="604"/>
                </a:lnTo>
                <a:cubicBezTo>
                  <a:pt x="6173" y="937"/>
                  <a:pt x="5903" y="1207"/>
                  <a:pt x="5570" y="1207"/>
                </a:cubicBezTo>
              </a:path>
            </a:pathLst>
          </a:custGeom>
          <a:solidFill>
            <a:schemeClr val="accent6"/>
          </a:solidFill>
          <a:ln>
            <a:noFill/>
          </a:ln>
          <a:effectLst/>
        </p:spPr>
        <p:txBody>
          <a:bodyPr wrap="none" anchor="ctr"/>
          <a:lstStyle/>
          <a:p>
            <a:endParaRPr lang="en-GB" sz="1400" dirty="0">
              <a:latin typeface="+mj-lt"/>
            </a:endParaRPr>
          </a:p>
        </p:txBody>
      </p:sp>
      <p:sp>
        <p:nvSpPr>
          <p:cNvPr id="50" name="Subtitle 2">
            <a:extLst>
              <a:ext uri="{FF2B5EF4-FFF2-40B4-BE49-F238E27FC236}">
                <a16:creationId xmlns:a16="http://schemas.microsoft.com/office/drawing/2014/main" xmlns="" id="{C47E4B41-61C6-47B1-9C25-3CAC0B814247}"/>
              </a:ext>
            </a:extLst>
          </p:cNvPr>
          <p:cNvSpPr txBox="1">
            <a:spLocks/>
          </p:cNvSpPr>
          <p:nvPr/>
        </p:nvSpPr>
        <p:spPr>
          <a:xfrm>
            <a:off x="6158151" y="1816161"/>
            <a:ext cx="5570408" cy="440506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endParaRPr lang="en-GB" sz="1600" dirty="0">
              <a:solidFill>
                <a:schemeClr val="tx1"/>
              </a:solidFill>
              <a:latin typeface="+mj-lt"/>
              <a:ea typeface="Lato Light" panose="020F0502020204030203" pitchFamily="34" charset="0"/>
              <a:cs typeface="Mukta ExtraLight" panose="020B0000000000000000" pitchFamily="34" charset="77"/>
            </a:endParaRP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Se pueden considerar las siguientes palancas para la derivación de medidas:</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Verificación de la recepción de facturas</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La fecha de recepción de la factura debe utilizarse como base para calcular la fecha de vencimiento</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álculo de las deducciones por descuento</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omprobar si es económicamente más sensato acogerse a un descuento que a un plazo de pago</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Minimizar las ejecuciones de pago</a:t>
            </a:r>
          </a:p>
          <a:p>
            <a:pPr marL="172720" indent="-17272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Agrupar el pago de las facturas en sólo una o dos ejecuciones de pago por semana</a:t>
            </a:r>
          </a:p>
        </p:txBody>
      </p:sp>
      <p:sp>
        <p:nvSpPr>
          <p:cNvPr id="57" name="TextBox 38">
            <a:extLst>
              <a:ext uri="{FF2B5EF4-FFF2-40B4-BE49-F238E27FC236}">
                <a16:creationId xmlns:a16="http://schemas.microsoft.com/office/drawing/2014/main" xmlns="" id="{236FC522-6FFE-46EE-816D-3D21A38A3671}"/>
              </a:ext>
            </a:extLst>
          </p:cNvPr>
          <p:cNvSpPr txBox="1"/>
          <p:nvPr/>
        </p:nvSpPr>
        <p:spPr>
          <a:xfrm>
            <a:off x="3802752" y="3132246"/>
            <a:ext cx="1487138" cy="707886"/>
          </a:xfrm>
          <a:prstGeom prst="rect">
            <a:avLst/>
          </a:prstGeom>
          <a:noFill/>
        </p:spPr>
        <p:txBody>
          <a:bodyPr wrap="none" rtlCol="0" anchor="ctr" anchorCtr="0">
            <a:spAutoFit/>
          </a:bodyPr>
          <a:lstStyle/>
          <a:p>
            <a:pPr algn="ctr"/>
            <a:r>
              <a:rPr lang="en-GB" sz="2000" b="1" dirty="0">
                <a:solidFill>
                  <a:schemeClr val="tx2"/>
                </a:solidFill>
                <a:latin typeface="+mj-lt"/>
                <a:ea typeface="League Spartan" charset="0"/>
                <a:cs typeface="Poppins" pitchFamily="2" charset="77"/>
              </a:rPr>
              <a:t>Optimización</a:t>
            </a:r>
            <a:br>
              <a:rPr lang="en-GB" sz="2000" b="1" dirty="0">
                <a:solidFill>
                  <a:schemeClr val="tx2"/>
                </a:solidFill>
                <a:latin typeface="+mj-lt"/>
                <a:ea typeface="League Spartan" charset="0"/>
                <a:cs typeface="Poppins" pitchFamily="2" charset="77"/>
              </a:rPr>
            </a:br>
            <a:r>
              <a:rPr lang="en-GB" sz="2000" b="1" dirty="0">
                <a:solidFill>
                  <a:schemeClr val="tx2"/>
                </a:solidFill>
                <a:latin typeface="+mj-lt"/>
                <a:ea typeface="League Spartan" charset="0"/>
                <a:cs typeface="Poppins" pitchFamily="2" charset="77"/>
              </a:rPr>
              <a:t> de los pasivos </a:t>
            </a:r>
          </a:p>
        </p:txBody>
      </p:sp>
    </p:spTree>
    <p:extLst>
      <p:ext uri="{BB962C8B-B14F-4D97-AF65-F5344CB8AC3E}">
        <p14:creationId xmlns:p14="http://schemas.microsoft.com/office/powerpoint/2010/main" val="29696407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3518" y="515507"/>
            <a:ext cx="8852375" cy="697353"/>
          </a:xfrm>
        </p:spPr>
        <p:txBody>
          <a:bodyPr>
            <a:normAutofit/>
          </a:bodyPr>
          <a:lstStyle/>
          <a:p>
            <a:r>
              <a:rPr lang="en-GB" dirty="0"/>
              <a:t>Medidas rápidas: Marketing y vent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5808" y="2055551"/>
            <a:ext cx="2256429"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nte una crisis empresarial virulenta, todas las soluciones que exigen poca inversión inicial y tienen un efecto positivo inmediato en los flujos de caja son especialmente adecuadas. </a:t>
            </a:r>
            <a:endParaRPr lang="en-US" dirty="0">
              <a:solidFill>
                <a:srgbClr val="245473"/>
              </a:solidFill>
            </a:endParaRPr>
          </a:p>
        </p:txBody>
      </p:sp>
      <p:sp>
        <p:nvSpPr>
          <p:cNvPr id="22" name="Freeform 61">
            <a:extLst>
              <a:ext uri="{FF2B5EF4-FFF2-40B4-BE49-F238E27FC236}">
                <a16:creationId xmlns:a16="http://schemas.microsoft.com/office/drawing/2014/main" xmlns="" id="{361A3FCD-D7D7-4355-A5A1-9B54C1038196}"/>
              </a:ext>
            </a:extLst>
          </p:cNvPr>
          <p:cNvSpPr/>
          <p:nvPr/>
        </p:nvSpPr>
        <p:spPr>
          <a:xfrm rot="1363340">
            <a:off x="6981834" y="2166903"/>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Freeform 75">
            <a:extLst>
              <a:ext uri="{FF2B5EF4-FFF2-40B4-BE49-F238E27FC236}">
                <a16:creationId xmlns:a16="http://schemas.microsoft.com/office/drawing/2014/main" xmlns="" id="{3B0031A6-37AF-4A14-9399-BFEF2633D35A}"/>
              </a:ext>
            </a:extLst>
          </p:cNvPr>
          <p:cNvSpPr/>
          <p:nvPr/>
        </p:nvSpPr>
        <p:spPr>
          <a:xfrm rot="1363340">
            <a:off x="7671719" y="2933497"/>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4" name="Freeform 63">
            <a:extLst>
              <a:ext uri="{FF2B5EF4-FFF2-40B4-BE49-F238E27FC236}">
                <a16:creationId xmlns:a16="http://schemas.microsoft.com/office/drawing/2014/main" xmlns="" id="{74EC6A1F-D0DF-4D87-B9F0-1FF922EF1C32}"/>
              </a:ext>
            </a:extLst>
          </p:cNvPr>
          <p:cNvSpPr/>
          <p:nvPr/>
        </p:nvSpPr>
        <p:spPr>
          <a:xfrm rot="1363340">
            <a:off x="5996210" y="2232055"/>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5" name="Freeform 65">
            <a:extLst>
              <a:ext uri="{FF2B5EF4-FFF2-40B4-BE49-F238E27FC236}">
                <a16:creationId xmlns:a16="http://schemas.microsoft.com/office/drawing/2014/main" xmlns="" id="{3E1AA224-C669-4D6B-9E49-4B7D3C684148}"/>
              </a:ext>
            </a:extLst>
          </p:cNvPr>
          <p:cNvSpPr/>
          <p:nvPr/>
        </p:nvSpPr>
        <p:spPr>
          <a:xfrm rot="1363340">
            <a:off x="5231719" y="2895372"/>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Freeform 73">
            <a:extLst>
              <a:ext uri="{FF2B5EF4-FFF2-40B4-BE49-F238E27FC236}">
                <a16:creationId xmlns:a16="http://schemas.microsoft.com/office/drawing/2014/main" xmlns="" id="{8E976339-5835-448E-8AE2-B93D23E9593B}"/>
              </a:ext>
            </a:extLst>
          </p:cNvPr>
          <p:cNvSpPr/>
          <p:nvPr/>
        </p:nvSpPr>
        <p:spPr>
          <a:xfrm rot="1363340">
            <a:off x="7687607" y="3926657"/>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Freeform 67">
            <a:extLst>
              <a:ext uri="{FF2B5EF4-FFF2-40B4-BE49-F238E27FC236}">
                <a16:creationId xmlns:a16="http://schemas.microsoft.com/office/drawing/2014/main" xmlns="" id="{C67F7723-1E47-4F65-8429-7019E5672075}"/>
              </a:ext>
            </a:extLst>
          </p:cNvPr>
          <p:cNvSpPr/>
          <p:nvPr/>
        </p:nvSpPr>
        <p:spPr>
          <a:xfrm rot="1363340">
            <a:off x="5295019" y="3904344"/>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Freeform 71">
            <a:extLst>
              <a:ext uri="{FF2B5EF4-FFF2-40B4-BE49-F238E27FC236}">
                <a16:creationId xmlns:a16="http://schemas.microsoft.com/office/drawing/2014/main" xmlns="" id="{109F3C60-32FD-40AB-B3B6-CA40C2DBA79F}"/>
              </a:ext>
            </a:extLst>
          </p:cNvPr>
          <p:cNvSpPr/>
          <p:nvPr/>
        </p:nvSpPr>
        <p:spPr>
          <a:xfrm rot="1363340">
            <a:off x="6972421" y="4607271"/>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9" name="Freeform 69">
            <a:extLst>
              <a:ext uri="{FF2B5EF4-FFF2-40B4-BE49-F238E27FC236}">
                <a16:creationId xmlns:a16="http://schemas.microsoft.com/office/drawing/2014/main" xmlns="" id="{F6AC6288-AA85-47F2-BA50-B6A2A9B64AC2}"/>
              </a:ext>
            </a:extLst>
          </p:cNvPr>
          <p:cNvSpPr/>
          <p:nvPr/>
        </p:nvSpPr>
        <p:spPr>
          <a:xfrm rot="1363340">
            <a:off x="5956797" y="4623623"/>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0" name="Oval 76">
            <a:extLst>
              <a:ext uri="{FF2B5EF4-FFF2-40B4-BE49-F238E27FC236}">
                <a16:creationId xmlns:a16="http://schemas.microsoft.com/office/drawing/2014/main" xmlns="" id="{BD98693B-F168-4AE4-9448-7BF01F4A2724}"/>
              </a:ext>
            </a:extLst>
          </p:cNvPr>
          <p:cNvSpPr/>
          <p:nvPr/>
        </p:nvSpPr>
        <p:spPr>
          <a:xfrm>
            <a:off x="6273463" y="3239765"/>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77">
            <a:extLst>
              <a:ext uri="{FF2B5EF4-FFF2-40B4-BE49-F238E27FC236}">
                <a16:creationId xmlns:a16="http://schemas.microsoft.com/office/drawing/2014/main" xmlns="" id="{BB3391A6-0CE4-46DA-BC63-DC03FCBC58DE}"/>
              </a:ext>
            </a:extLst>
          </p:cNvPr>
          <p:cNvSpPr txBox="1"/>
          <p:nvPr/>
        </p:nvSpPr>
        <p:spPr>
          <a:xfrm>
            <a:off x="5596619" y="5784282"/>
            <a:ext cx="1062599"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Clientes</a:t>
            </a:r>
          </a:p>
        </p:txBody>
      </p:sp>
      <p:sp>
        <p:nvSpPr>
          <p:cNvPr id="32" name="Subtitle 2">
            <a:extLst>
              <a:ext uri="{FF2B5EF4-FFF2-40B4-BE49-F238E27FC236}">
                <a16:creationId xmlns:a16="http://schemas.microsoft.com/office/drawing/2014/main" xmlns="" id="{D3182226-A86C-4C45-AE43-43514747DF31}"/>
              </a:ext>
            </a:extLst>
          </p:cNvPr>
          <p:cNvSpPr txBox="1">
            <a:spLocks/>
          </p:cNvSpPr>
          <p:nvPr/>
        </p:nvSpPr>
        <p:spPr>
          <a:xfrm>
            <a:off x="2527376" y="6066886"/>
            <a:ext cx="4079184"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err="1">
                <a:solidFill>
                  <a:schemeClr val="tx1"/>
                </a:solidFill>
                <a:latin typeface="+mj-lt"/>
                <a:ea typeface="Lato Light" panose="020F0502020204030203" pitchFamily="34" charset="0"/>
                <a:cs typeface="Mukta ExtraLight" panose="020B0000000000000000" pitchFamily="34" charset="77"/>
              </a:rPr>
              <a:t>Analice </a:t>
            </a:r>
            <a:r>
              <a:rPr lang="en-GB" sz="1600" dirty="0">
                <a:solidFill>
                  <a:schemeClr val="tx1"/>
                </a:solidFill>
                <a:latin typeface="+mj-lt"/>
                <a:ea typeface="Lato Light" panose="020F0502020204030203" pitchFamily="34" charset="0"/>
                <a:cs typeface="Mukta ExtraLight" panose="020B0000000000000000" pitchFamily="34" charset="77"/>
              </a:rPr>
              <a:t>si sus relaciones con los clientes son estables o, en caso contrario, compruebe por qué son inestables</a:t>
            </a:r>
          </a:p>
        </p:txBody>
      </p:sp>
      <p:sp>
        <p:nvSpPr>
          <p:cNvPr id="33" name="TextBox 85">
            <a:extLst>
              <a:ext uri="{FF2B5EF4-FFF2-40B4-BE49-F238E27FC236}">
                <a16:creationId xmlns:a16="http://schemas.microsoft.com/office/drawing/2014/main" xmlns="" id="{AF55652E-BF80-4906-80CD-420241EFFBDF}"/>
              </a:ext>
            </a:extLst>
          </p:cNvPr>
          <p:cNvSpPr txBox="1"/>
          <p:nvPr/>
        </p:nvSpPr>
        <p:spPr>
          <a:xfrm>
            <a:off x="8440449" y="5111199"/>
            <a:ext cx="1085362"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Motivación</a:t>
            </a:r>
            <a:endParaRPr lang="en-GB" sz="1600" b="1" dirty="0">
              <a:solidFill>
                <a:schemeClr val="tx2"/>
              </a:solidFill>
              <a:latin typeface="+mj-lt"/>
              <a:ea typeface="League Spartan" charset="0"/>
              <a:cs typeface="Poppins" pitchFamily="2" charset="77"/>
            </a:endParaRPr>
          </a:p>
        </p:txBody>
      </p:sp>
      <p:sp>
        <p:nvSpPr>
          <p:cNvPr id="47" name="Subtitle 2">
            <a:extLst>
              <a:ext uri="{FF2B5EF4-FFF2-40B4-BE49-F238E27FC236}">
                <a16:creationId xmlns:a16="http://schemas.microsoft.com/office/drawing/2014/main" xmlns="" id="{AECEEAC5-F301-492B-8EC5-10575E31FB88}"/>
              </a:ext>
            </a:extLst>
          </p:cNvPr>
          <p:cNvSpPr txBox="1">
            <a:spLocks/>
          </p:cNvSpPr>
          <p:nvPr/>
        </p:nvSpPr>
        <p:spPr>
          <a:xfrm>
            <a:off x="8468468" y="5398994"/>
            <a:ext cx="375155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Compruebe si el sistema de motivación de su equipo de ventas es el adecuado</a:t>
            </a:r>
          </a:p>
        </p:txBody>
      </p:sp>
      <p:sp>
        <p:nvSpPr>
          <p:cNvPr id="48" name="TextBox 79">
            <a:extLst>
              <a:ext uri="{FF2B5EF4-FFF2-40B4-BE49-F238E27FC236}">
                <a16:creationId xmlns:a16="http://schemas.microsoft.com/office/drawing/2014/main" xmlns="" id="{8C58F44C-127B-41D4-8EA0-1F12C3EEBCF0}"/>
              </a:ext>
            </a:extLst>
          </p:cNvPr>
          <p:cNvSpPr txBox="1"/>
          <p:nvPr/>
        </p:nvSpPr>
        <p:spPr>
          <a:xfrm>
            <a:off x="4969187" y="1892068"/>
            <a:ext cx="1157689"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Información</a:t>
            </a:r>
          </a:p>
        </p:txBody>
      </p:sp>
      <p:sp>
        <p:nvSpPr>
          <p:cNvPr id="49" name="Subtitle 2">
            <a:extLst>
              <a:ext uri="{FF2B5EF4-FFF2-40B4-BE49-F238E27FC236}">
                <a16:creationId xmlns:a16="http://schemas.microsoft.com/office/drawing/2014/main" xmlns="" id="{58261CC9-FE84-4A55-97BD-4DC8FD78399D}"/>
              </a:ext>
            </a:extLst>
          </p:cNvPr>
          <p:cNvSpPr txBox="1">
            <a:spLocks/>
          </p:cNvSpPr>
          <p:nvPr/>
        </p:nvSpPr>
        <p:spPr>
          <a:xfrm>
            <a:off x="2655614" y="2159667"/>
            <a:ext cx="3321073"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Reunir y </a:t>
            </a:r>
            <a:r>
              <a:rPr lang="en-GB" sz="1600" dirty="0" err="1">
                <a:solidFill>
                  <a:schemeClr val="tx1"/>
                </a:solidFill>
                <a:latin typeface="+mj-lt"/>
                <a:ea typeface="Lato Light" panose="020F0502020204030203" pitchFamily="34" charset="0"/>
                <a:cs typeface="Mukta ExtraLight" panose="020B0000000000000000" pitchFamily="34" charset="77"/>
              </a:rPr>
              <a:t>analizar </a:t>
            </a:r>
            <a:r>
              <a:rPr lang="en-GB" sz="1600" dirty="0">
                <a:solidFill>
                  <a:schemeClr val="tx1"/>
                </a:solidFill>
                <a:latin typeface="+mj-lt"/>
                <a:ea typeface="Lato Light" panose="020F0502020204030203" pitchFamily="34" charset="0"/>
                <a:cs typeface="Mukta ExtraLight" panose="020B0000000000000000" pitchFamily="34" charset="77"/>
              </a:rPr>
              <a:t>toda la información de sus departamentos de marketing y ventas</a:t>
            </a:r>
          </a:p>
        </p:txBody>
      </p:sp>
      <p:sp>
        <p:nvSpPr>
          <p:cNvPr id="51" name="TextBox 87">
            <a:extLst>
              <a:ext uri="{FF2B5EF4-FFF2-40B4-BE49-F238E27FC236}">
                <a16:creationId xmlns:a16="http://schemas.microsoft.com/office/drawing/2014/main" xmlns="" id="{47EBE585-CA3F-48DE-9A86-B30384E17B77}"/>
              </a:ext>
            </a:extLst>
          </p:cNvPr>
          <p:cNvSpPr txBox="1"/>
          <p:nvPr/>
        </p:nvSpPr>
        <p:spPr>
          <a:xfrm>
            <a:off x="8440449" y="1961582"/>
            <a:ext cx="577402"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CRM</a:t>
            </a:r>
            <a:endParaRPr lang="en-GB" sz="1600" b="1" dirty="0">
              <a:solidFill>
                <a:schemeClr val="tx2"/>
              </a:solidFill>
              <a:latin typeface="+mj-lt"/>
              <a:ea typeface="League Spartan" charset="0"/>
              <a:cs typeface="Poppins" pitchFamily="2" charset="77"/>
            </a:endParaRPr>
          </a:p>
        </p:txBody>
      </p:sp>
      <p:sp>
        <p:nvSpPr>
          <p:cNvPr id="52" name="Subtitle 2">
            <a:extLst>
              <a:ext uri="{FF2B5EF4-FFF2-40B4-BE49-F238E27FC236}">
                <a16:creationId xmlns:a16="http://schemas.microsoft.com/office/drawing/2014/main" xmlns="" id="{89D57022-679B-4654-A934-77F162EDB5AD}"/>
              </a:ext>
            </a:extLst>
          </p:cNvPr>
          <p:cNvSpPr txBox="1">
            <a:spLocks/>
          </p:cNvSpPr>
          <p:nvPr/>
        </p:nvSpPr>
        <p:spPr>
          <a:xfrm>
            <a:off x="8440447" y="2337289"/>
            <a:ext cx="3128623"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Implantar un sistema CRM si no lo tiene</a:t>
            </a:r>
          </a:p>
        </p:txBody>
      </p:sp>
      <p:sp>
        <p:nvSpPr>
          <p:cNvPr id="53" name="TextBox 81">
            <a:extLst>
              <a:ext uri="{FF2B5EF4-FFF2-40B4-BE49-F238E27FC236}">
                <a16:creationId xmlns:a16="http://schemas.microsoft.com/office/drawing/2014/main" xmlns="" id="{D0CCABA2-3988-4478-BFDB-D8053331DE5E}"/>
              </a:ext>
            </a:extLst>
          </p:cNvPr>
          <p:cNvSpPr txBox="1"/>
          <p:nvPr/>
        </p:nvSpPr>
        <p:spPr>
          <a:xfrm>
            <a:off x="3320424" y="4598636"/>
            <a:ext cx="1951881"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Plan de ventas a corto plazo</a:t>
            </a:r>
          </a:p>
        </p:txBody>
      </p:sp>
      <p:sp>
        <p:nvSpPr>
          <p:cNvPr id="54" name="Subtitle 2">
            <a:extLst>
              <a:ext uri="{FF2B5EF4-FFF2-40B4-BE49-F238E27FC236}">
                <a16:creationId xmlns:a16="http://schemas.microsoft.com/office/drawing/2014/main" xmlns="" id="{05BBC4BB-1E04-4460-870C-A88CB6646529}"/>
              </a:ext>
            </a:extLst>
          </p:cNvPr>
          <p:cNvSpPr txBox="1">
            <a:spLocks/>
          </p:cNvSpPr>
          <p:nvPr/>
        </p:nvSpPr>
        <p:spPr>
          <a:xfrm>
            <a:off x="2527375" y="4890205"/>
            <a:ext cx="2842453"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Desarrollar un plan de ventas a corto plazo y centrarse en los productos de alto margen, en los productos que se eliminan gradualmente y en los productos con grandes existencias </a:t>
            </a:r>
          </a:p>
        </p:txBody>
      </p:sp>
      <p:sp>
        <p:nvSpPr>
          <p:cNvPr id="55" name="TextBox 89">
            <a:extLst>
              <a:ext uri="{FF2B5EF4-FFF2-40B4-BE49-F238E27FC236}">
                <a16:creationId xmlns:a16="http://schemas.microsoft.com/office/drawing/2014/main" xmlns="" id="{27EB0714-4A05-4D11-9ED9-7A9281428A20}"/>
              </a:ext>
            </a:extLst>
          </p:cNvPr>
          <p:cNvSpPr txBox="1"/>
          <p:nvPr/>
        </p:nvSpPr>
        <p:spPr>
          <a:xfrm>
            <a:off x="8852409" y="4120569"/>
            <a:ext cx="108754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Controlar</a:t>
            </a:r>
          </a:p>
        </p:txBody>
      </p:sp>
      <p:sp>
        <p:nvSpPr>
          <p:cNvPr id="56" name="Subtitle 2">
            <a:extLst>
              <a:ext uri="{FF2B5EF4-FFF2-40B4-BE49-F238E27FC236}">
                <a16:creationId xmlns:a16="http://schemas.microsoft.com/office/drawing/2014/main" xmlns="" id="{0220A0EC-A3A1-41E0-9EE8-6F8628EB08D3}"/>
              </a:ext>
            </a:extLst>
          </p:cNvPr>
          <p:cNvSpPr txBox="1">
            <a:spLocks/>
          </p:cNvSpPr>
          <p:nvPr/>
        </p:nvSpPr>
        <p:spPr>
          <a:xfrm>
            <a:off x="8950401" y="4410115"/>
            <a:ext cx="3590298"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Implementar el control de marketing y ventas</a:t>
            </a:r>
          </a:p>
        </p:txBody>
      </p:sp>
      <p:sp>
        <p:nvSpPr>
          <p:cNvPr id="58" name="TextBox 83">
            <a:extLst>
              <a:ext uri="{FF2B5EF4-FFF2-40B4-BE49-F238E27FC236}">
                <a16:creationId xmlns:a16="http://schemas.microsoft.com/office/drawing/2014/main" xmlns="" id="{05556B01-6051-4402-AED7-C5CA00BE8B6C}"/>
              </a:ext>
            </a:extLst>
          </p:cNvPr>
          <p:cNvSpPr txBox="1"/>
          <p:nvPr/>
        </p:nvSpPr>
        <p:spPr>
          <a:xfrm>
            <a:off x="2808630" y="3147739"/>
            <a:ext cx="2341109" cy="584775"/>
          </a:xfrm>
          <a:prstGeom prst="rect">
            <a:avLst/>
          </a:prstGeom>
          <a:noFill/>
        </p:spPr>
        <p:txBody>
          <a:bodyPr wrap="square" lIns="91440" tIns="45720" rIns="91440" bIns="45720" rtlCol="0" anchor="b" anchorCtr="0">
            <a:spAutoFit/>
          </a:bodyPr>
          <a:lstStyle/>
          <a:p>
            <a:pPr algn="r"/>
            <a:r>
              <a:rPr lang="en-GB" sz="1600" b="1" dirty="0">
                <a:solidFill>
                  <a:schemeClr val="tx2"/>
                </a:solidFill>
                <a:latin typeface="+mj-lt"/>
                <a:ea typeface="League Spartan" charset="0"/>
                <a:cs typeface="Poppins" pitchFamily="2" charset="77"/>
              </a:rPr>
              <a:t>Visión de mercado y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Plan a largo plazo</a:t>
            </a:r>
          </a:p>
        </p:txBody>
      </p:sp>
      <p:sp>
        <p:nvSpPr>
          <p:cNvPr id="59" name="Subtitle 2">
            <a:extLst>
              <a:ext uri="{FF2B5EF4-FFF2-40B4-BE49-F238E27FC236}">
                <a16:creationId xmlns:a16="http://schemas.microsoft.com/office/drawing/2014/main" xmlns="" id="{6F13B00C-F0FA-46B1-9A1E-F4C15FBAAB84}"/>
              </a:ext>
            </a:extLst>
          </p:cNvPr>
          <p:cNvSpPr txBox="1">
            <a:spLocks/>
          </p:cNvSpPr>
          <p:nvPr/>
        </p:nvSpPr>
        <p:spPr>
          <a:xfrm>
            <a:off x="2515227" y="3657919"/>
            <a:ext cx="266986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Ejecutar un análisis de mercado y desarrollar un plan a largo plazo</a:t>
            </a:r>
          </a:p>
        </p:txBody>
      </p:sp>
      <p:sp>
        <p:nvSpPr>
          <p:cNvPr id="60" name="TextBox 91">
            <a:extLst>
              <a:ext uri="{FF2B5EF4-FFF2-40B4-BE49-F238E27FC236}">
                <a16:creationId xmlns:a16="http://schemas.microsoft.com/office/drawing/2014/main" xmlns="" id="{3DDC76B6-B4A4-4499-9135-5BDE62473681}"/>
              </a:ext>
            </a:extLst>
          </p:cNvPr>
          <p:cNvSpPr txBox="1"/>
          <p:nvPr/>
        </p:nvSpPr>
        <p:spPr>
          <a:xfrm>
            <a:off x="8950401" y="3131165"/>
            <a:ext cx="1375698"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Mezcla de marketing</a:t>
            </a:r>
            <a:endParaRPr lang="en-GB" sz="1600" b="1" dirty="0">
              <a:solidFill>
                <a:schemeClr val="tx2"/>
              </a:solidFill>
              <a:latin typeface="+mj-lt"/>
              <a:ea typeface="League Spartan" charset="0"/>
              <a:cs typeface="Poppins" pitchFamily="2" charset="77"/>
            </a:endParaRPr>
          </a:p>
        </p:txBody>
      </p:sp>
      <p:sp>
        <p:nvSpPr>
          <p:cNvPr id="61" name="Subtitle 2">
            <a:extLst>
              <a:ext uri="{FF2B5EF4-FFF2-40B4-BE49-F238E27FC236}">
                <a16:creationId xmlns:a16="http://schemas.microsoft.com/office/drawing/2014/main" xmlns="" id="{D1DCE71F-8712-4E81-8EDB-9CF5ED34B335}"/>
              </a:ext>
            </a:extLst>
          </p:cNvPr>
          <p:cNvSpPr txBox="1">
            <a:spLocks/>
          </p:cNvSpPr>
          <p:nvPr/>
        </p:nvSpPr>
        <p:spPr>
          <a:xfrm>
            <a:off x="9008739" y="3408340"/>
            <a:ext cx="3075701"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err="1">
                <a:solidFill>
                  <a:schemeClr val="tx1"/>
                </a:solidFill>
                <a:latin typeface="+mj-lt"/>
                <a:ea typeface="Lato Light" panose="020F0502020204030203" pitchFamily="34" charset="0"/>
                <a:cs typeface="Mukta ExtraLight" panose="020B0000000000000000" pitchFamily="34" charset="77"/>
              </a:rPr>
              <a:t>Analizar </a:t>
            </a:r>
            <a:r>
              <a:rPr lang="en-GB" sz="1600" dirty="0">
                <a:solidFill>
                  <a:schemeClr val="tx1"/>
                </a:solidFill>
                <a:latin typeface="+mj-lt"/>
                <a:ea typeface="Lato Light" panose="020F0502020204030203" pitchFamily="34" charset="0"/>
                <a:cs typeface="Mukta ExtraLight" panose="020B0000000000000000" pitchFamily="34" charset="77"/>
              </a:rPr>
              <a:t>el marketing mix en busca de nuevas oportunidades</a:t>
            </a:r>
          </a:p>
        </p:txBody>
      </p:sp>
      <p:sp>
        <p:nvSpPr>
          <p:cNvPr id="62" name="TextBox 38">
            <a:extLst>
              <a:ext uri="{FF2B5EF4-FFF2-40B4-BE49-F238E27FC236}">
                <a16:creationId xmlns:a16="http://schemas.microsoft.com/office/drawing/2014/main" xmlns="" id="{61CFDF05-6B57-4B13-8D8A-CFC115D9461D}"/>
              </a:ext>
            </a:extLst>
          </p:cNvPr>
          <p:cNvSpPr txBox="1"/>
          <p:nvPr/>
        </p:nvSpPr>
        <p:spPr>
          <a:xfrm>
            <a:off x="6306637" y="3594441"/>
            <a:ext cx="1459259" cy="1015663"/>
          </a:xfrm>
          <a:prstGeom prst="rect">
            <a:avLst/>
          </a:prstGeom>
          <a:noFill/>
        </p:spPr>
        <p:txBody>
          <a:bodyPr wrap="square" rtlCol="0" anchor="ctr" anchorCtr="0">
            <a:spAutoFit/>
          </a:bodyPr>
          <a:lstStyle/>
          <a:p>
            <a:pPr algn="ctr"/>
            <a:r>
              <a:rPr lang="en-GB" sz="2000" b="1" dirty="0">
                <a:solidFill>
                  <a:srgbClr val="F95C2C"/>
                </a:solidFill>
                <a:latin typeface="+mj-lt"/>
                <a:ea typeface="League Spartan" charset="0"/>
                <a:cs typeface="Poppins" pitchFamily="2" charset="77"/>
              </a:rPr>
              <a:t>Marketing </a:t>
            </a:r>
          </a:p>
          <a:p>
            <a:pPr algn="ctr"/>
            <a:r>
              <a:rPr lang="en-GB" sz="2000" b="1" dirty="0">
                <a:solidFill>
                  <a:srgbClr val="F95C2C"/>
                </a:solidFill>
                <a:latin typeface="+mj-lt"/>
                <a:ea typeface="League Spartan" charset="0"/>
                <a:cs typeface="Poppins" pitchFamily="2" charset="77"/>
              </a:rPr>
              <a:t>y</a:t>
            </a:r>
            <a:br>
              <a:rPr lang="en-GB" sz="2000" b="1" dirty="0">
                <a:solidFill>
                  <a:srgbClr val="F95C2C"/>
                </a:solidFill>
                <a:latin typeface="+mj-lt"/>
                <a:ea typeface="League Spartan" charset="0"/>
                <a:cs typeface="Poppins" pitchFamily="2" charset="77"/>
              </a:rPr>
            </a:br>
            <a:r>
              <a:rPr lang="en-GB" sz="2000" b="1" dirty="0">
                <a:solidFill>
                  <a:srgbClr val="F95C2C"/>
                </a:solidFill>
                <a:latin typeface="+mj-lt"/>
                <a:ea typeface="League Spartan" charset="0"/>
                <a:cs typeface="Poppins" pitchFamily="2" charset="77"/>
              </a:rPr>
              <a:t>Ventas</a:t>
            </a:r>
          </a:p>
        </p:txBody>
      </p:sp>
    </p:spTree>
    <p:extLst>
      <p:ext uri="{BB962C8B-B14F-4D97-AF65-F5344CB8AC3E}">
        <p14:creationId xmlns:p14="http://schemas.microsoft.com/office/powerpoint/2010/main" val="34914759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1D53C583-73A9-434B-8FC8-A9E036218AA0}"/>
              </a:ext>
            </a:extLst>
          </p:cNvPr>
          <p:cNvGraphicFramePr>
            <a:graphicFrameLocks noChangeAspect="1"/>
          </p:cNvGraphicFramePr>
          <p:nvPr>
            <p:custDataLst>
              <p:tags r:id="rId2"/>
            </p:custDataLst>
            <p:extLst>
              <p:ext uri="{D42A27DB-BD31-4B8C-83A1-F6EECF244321}">
                <p14:modId xmlns:p14="http://schemas.microsoft.com/office/powerpoint/2010/main" val="255203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Folie" r:id="rId5" imgW="592" imgH="595" progId="TCLayout.ActiveDocument.1">
                  <p:embed/>
                </p:oleObj>
              </mc:Choice>
              <mc:Fallback>
                <p:oleObj name="think-cell Folie" r:id="rId5" imgW="592" imgH="595" progId="TCLayout.ActiveDocument.1">
                  <p:embed/>
                  <p:pic>
                    <p:nvPicPr>
                      <p:cNvPr id="6" name="Objekt 5" hidden="1">
                        <a:extLst>
                          <a:ext uri="{FF2B5EF4-FFF2-40B4-BE49-F238E27FC236}">
                            <a16:creationId xmlns:a16="http://schemas.microsoft.com/office/drawing/2014/main" xmlns="" id="{1D53C583-73A9-434B-8FC8-A9E036218A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752" y="694848"/>
            <a:ext cx="8852375" cy="697353"/>
          </a:xfrm>
        </p:spPr>
        <p:txBody>
          <a:bodyPr>
            <a:normAutofit/>
          </a:bodyPr>
          <a:lstStyle/>
          <a:p>
            <a:r>
              <a:rPr lang="en-GB" dirty="0"/>
              <a:t>Medidas rápidas: Marketing y vent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1607" y="1769162"/>
            <a:ext cx="3180153" cy="539152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umentar las ventas (y por tanto el flujo de caja) tiene</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un gran impacto en la superación de la crisis.</a:t>
            </a:r>
          </a:p>
          <a:p>
            <a:pPr marL="285750" indent="-285750" algn="l">
              <a:lnSpc>
                <a:spcPct val="100000"/>
              </a:lnSpc>
              <a:spcBef>
                <a:spcPts val="600"/>
              </a:spcBef>
              <a:buFont typeface="Wingdings" panose="05000000000000000000" pitchFamily="2" charset="2"/>
              <a:buChar char="à"/>
            </a:pPr>
            <a:endPar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ntes de intentar aumentar las ventas en curva y romper con la bajada de precios, tiene que asegurarse de que sigue ganando dinero con sus productos: Comience con una actualización </a:t>
            </a:r>
            <a:r>
              <a:rPr lang="en-GB" sz="2200" dirty="0">
                <a:solidFill>
                  <a:srgbClr val="245473"/>
                </a:solidFill>
                <a:latin typeface="+mj-lt"/>
                <a:ea typeface="Open Sans Light" panose="020B0306030504020204" pitchFamily="34" charset="0"/>
                <a:cs typeface="Open Sans Light" panose="020B0306030504020204" pitchFamily="34" charset="0"/>
              </a:rPr>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sobre los cálculos </a:t>
            </a:r>
            <a:b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b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ara conocer sus costes!</a:t>
            </a:r>
            <a:endParaRPr lang="en-GB" sz="22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3" name="Tabelle 4">
            <a:extLst>
              <a:ext uri="{FF2B5EF4-FFF2-40B4-BE49-F238E27FC236}">
                <a16:creationId xmlns:a16="http://schemas.microsoft.com/office/drawing/2014/main" xmlns="" id="{28726636-ABE3-45B0-A1AF-41D2E68D365B}"/>
              </a:ext>
            </a:extLst>
          </p:cNvPr>
          <p:cNvGraphicFramePr>
            <a:graphicFrameLocks noGrp="1"/>
          </p:cNvGraphicFramePr>
          <p:nvPr>
            <p:extLst>
              <p:ext uri="{D42A27DB-BD31-4B8C-83A1-F6EECF244321}">
                <p14:modId xmlns:p14="http://schemas.microsoft.com/office/powerpoint/2010/main" val="3569240105"/>
              </p:ext>
            </p:extLst>
          </p:nvPr>
        </p:nvGraphicFramePr>
        <p:xfrm>
          <a:off x="3276600" y="1825731"/>
          <a:ext cx="8741275" cy="4914900"/>
        </p:xfrm>
        <a:graphic>
          <a:graphicData uri="http://schemas.openxmlformats.org/drawingml/2006/table">
            <a:tbl>
              <a:tblPr firstRow="1" bandRow="1">
                <a:tableStyleId>{5C22544A-7EE6-4342-B048-85BDC9FD1C3A}</a:tableStyleId>
              </a:tblPr>
              <a:tblGrid>
                <a:gridCol w="2136607">
                  <a:extLst>
                    <a:ext uri="{9D8B030D-6E8A-4147-A177-3AD203B41FA5}">
                      <a16:colId xmlns:a16="http://schemas.microsoft.com/office/drawing/2014/main" xmlns="" val="3118270807"/>
                    </a:ext>
                  </a:extLst>
                </a:gridCol>
                <a:gridCol w="2201556">
                  <a:extLst>
                    <a:ext uri="{9D8B030D-6E8A-4147-A177-3AD203B41FA5}">
                      <a16:colId xmlns:a16="http://schemas.microsoft.com/office/drawing/2014/main" xmlns="" val="3723054091"/>
                    </a:ext>
                  </a:extLst>
                </a:gridCol>
                <a:gridCol w="2201556">
                  <a:extLst>
                    <a:ext uri="{9D8B030D-6E8A-4147-A177-3AD203B41FA5}">
                      <a16:colId xmlns:a16="http://schemas.microsoft.com/office/drawing/2014/main" xmlns="" val="1458351012"/>
                    </a:ext>
                  </a:extLst>
                </a:gridCol>
                <a:gridCol w="2201556">
                  <a:extLst>
                    <a:ext uri="{9D8B030D-6E8A-4147-A177-3AD203B41FA5}">
                      <a16:colId xmlns:a16="http://schemas.microsoft.com/office/drawing/2014/main" xmlns="" val="2212400931"/>
                    </a:ext>
                  </a:extLst>
                </a:gridCol>
              </a:tblGrid>
              <a:tr h="287469">
                <a:tc>
                  <a:txBody>
                    <a:bodyPr/>
                    <a:lstStyle/>
                    <a:p>
                      <a:r>
                        <a:rPr lang="en-GB" sz="1350" dirty="0"/>
                        <a:t>Orientación a las ventas /Salesforce</a:t>
                      </a:r>
                    </a:p>
                  </a:txBody>
                  <a:tcPr/>
                </a:tc>
                <a:tc>
                  <a:txBody>
                    <a:bodyPr/>
                    <a:lstStyle/>
                    <a:p>
                      <a:r>
                        <a:rPr lang="en-GB" sz="1350" dirty="0"/>
                        <a:t>Ofertas / Orientación al precio</a:t>
                      </a:r>
                    </a:p>
                  </a:txBody>
                  <a:tcPr/>
                </a:tc>
                <a:tc>
                  <a:txBody>
                    <a:bodyPr/>
                    <a:lstStyle/>
                    <a:p>
                      <a:r>
                        <a:rPr lang="en-GB" sz="1350" dirty="0"/>
                        <a:t>Orientación al cliente</a:t>
                      </a:r>
                    </a:p>
                  </a:txBody>
                  <a:tcPr/>
                </a:tc>
                <a:tc>
                  <a:txBody>
                    <a:bodyPr/>
                    <a:lstStyle/>
                    <a:p>
                      <a:r>
                        <a:rPr lang="en-GB" sz="1350" dirty="0"/>
                        <a:t>Orientación al servicio</a:t>
                      </a:r>
                    </a:p>
                  </a:txBody>
                  <a:tcPr/>
                </a:tc>
                <a:extLst>
                  <a:ext uri="{0D108BD9-81ED-4DB2-BD59-A6C34878D82A}">
                    <a16:rowId xmlns:a16="http://schemas.microsoft.com/office/drawing/2014/main" xmlns="" val="2806777442"/>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Impulsar el rendimiento de las venta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Volumen de corte</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Ofrecer garantías ampliada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Mejorar la cadena de valor mediante una mayor oferta de servicios</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xmlns="" val="769023334"/>
                  </a:ext>
                </a:extLst>
              </a:tr>
              <a:tr h="287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Aumentar el tiempo de venta del núcleo</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Reducir los precios de forma inteligente</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Organizar periodos de prueba</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Aumentar la flexibilidad del servicio</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xmlns="" val="3042449680"/>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Visitar a los clientes de forma más selectiva</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Descuentos en especie - no en precio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Aceptar pagos en función del éxito</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Cambio de producto a proveedor de sistemas</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xmlns="" val="376027697"/>
                  </a:ext>
                </a:extLst>
              </a:tr>
              <a:tr h="4624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Reforzar las ventas directa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Precio-agregació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Comunicar los beneficios tangible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Aumentar la cuota de clientes con contratos de servicios</a:t>
                      </a:r>
                    </a:p>
                  </a:txBody>
                  <a:tcPr/>
                </a:tc>
                <a:extLst>
                  <a:ext uri="{0D108BD9-81ED-4DB2-BD59-A6C34878D82A}">
                    <a16:rowId xmlns:a16="http://schemas.microsoft.com/office/drawing/2014/main" xmlns="" val="3112157044"/>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Reforzar la venta cruzada y la venta ascendente</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Defienda sus precio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Aceptar trueque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Cambie su enfoque del mercado original al mercado secundario</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xmlns="" val="870383476"/>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Penetrar en nuevos segmentos de cliente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Aumentar los precios bajo el radar de los client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Atraer a los clientes de los competidores debilitado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Desarrollar ofertas de servicio innovadoras</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xmlns="" val="70607025"/>
                  </a:ext>
                </a:extLst>
              </a:tr>
              <a:tr h="287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Ofrecer incentivos especiale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Limpiar la jungla de descuento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kern="1200" dirty="0">
                          <a:solidFill>
                            <a:schemeClr val="tx2"/>
                          </a:solidFill>
                          <a:latin typeface="+mn-lt"/>
                          <a:ea typeface="League Spartan" charset="0"/>
                          <a:cs typeface="Poppins" pitchFamily="2" charset="77"/>
                        </a:rPr>
                        <a:t>Nuevos modelos de negoci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xmlns="" val="3227716207"/>
                  </a:ext>
                </a:extLst>
              </a:tr>
              <a:tr h="287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Redistribución del personal hacia las venta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Cobrar servicios adicionale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xmlns="" val="3434548783"/>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Atraer a los vendedores de la competencia</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No entre en la guerra de precio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xmlns="" val="2922233122"/>
                  </a:ext>
                </a:extLst>
              </a:tr>
              <a:tr h="287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Movilizar la excelencia en las ventas</a:t>
                      </a:r>
                    </a:p>
                  </a:txBody>
                  <a:tcPr/>
                </a:tc>
                <a:tc>
                  <a:txBody>
                    <a:bodyPr/>
                    <a:lstStyle/>
                    <a:p>
                      <a:endParaRPr lang="en-GB" sz="1350" dirty="0"/>
                    </a:p>
                  </a:txBody>
                  <a:tcPr/>
                </a:tc>
                <a:tc>
                  <a:txBody>
                    <a:bodyPr/>
                    <a:lstStyle/>
                    <a:p>
                      <a:endParaRPr lang="en-GB" sz="1350" dirty="0"/>
                    </a:p>
                  </a:txBody>
                  <a:tcPr/>
                </a:tc>
                <a:tc>
                  <a:txBody>
                    <a:bodyPr/>
                    <a:lstStyle/>
                    <a:p>
                      <a:endParaRPr lang="en-GB" sz="1350" dirty="0"/>
                    </a:p>
                  </a:txBody>
                  <a:tcPr/>
                </a:tc>
                <a:extLst>
                  <a:ext uri="{0D108BD9-81ED-4DB2-BD59-A6C34878D82A}">
                    <a16:rowId xmlns:a16="http://schemas.microsoft.com/office/drawing/2014/main" xmlns="" val="3617548702"/>
                  </a:ext>
                </a:extLst>
              </a:tr>
            </a:tbl>
          </a:graphicData>
        </a:graphic>
      </p:graphicFrame>
    </p:spTree>
    <p:extLst>
      <p:ext uri="{BB962C8B-B14F-4D97-AF65-F5344CB8AC3E}">
        <p14:creationId xmlns:p14="http://schemas.microsoft.com/office/powerpoint/2010/main" val="26778119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32182" y="672961"/>
            <a:ext cx="8852375" cy="697353"/>
          </a:xfrm>
        </p:spPr>
        <p:txBody>
          <a:bodyPr>
            <a:normAutofit/>
          </a:bodyPr>
          <a:lstStyle/>
          <a:p>
            <a:r>
              <a:rPr lang="en-GB" dirty="0"/>
              <a:t>14 medidas rápidas para ahorrar en compr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99435" y="2024623"/>
            <a:ext cx="3188124" cy="416041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ahorro en las compras puede realizarse en varios ámbitos de la empresa. El objetivo del ahorro en compras es reducir los costes de adquisición, mejorar las condiciones de los proveedores y reducir los precios de los productos. </a:t>
            </a:r>
            <a:endParaRPr lang="en-US" sz="3200" dirty="0">
              <a:solidFill>
                <a:srgbClr val="245473"/>
              </a:solidFill>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Al repasar nuestros métodos para aumentar el ahorro en las compras, considere cuáles son los más sencillos y que pueden suponer una gran diferencia para usted. </a:t>
            </a:r>
          </a:p>
        </p:txBody>
      </p:sp>
      <p:graphicFrame>
        <p:nvGraphicFramePr>
          <p:cNvPr id="3" name="Tabelle 21">
            <a:extLst>
              <a:ext uri="{FF2B5EF4-FFF2-40B4-BE49-F238E27FC236}">
                <a16:creationId xmlns:a16="http://schemas.microsoft.com/office/drawing/2014/main" xmlns="" id="{C1559540-4AE0-4200-867B-8DF9AE0D32A0}"/>
              </a:ext>
            </a:extLst>
          </p:cNvPr>
          <p:cNvGraphicFramePr>
            <a:graphicFrameLocks noGrp="1"/>
          </p:cNvGraphicFramePr>
          <p:nvPr>
            <p:extLst>
              <p:ext uri="{D42A27DB-BD31-4B8C-83A1-F6EECF244321}">
                <p14:modId xmlns:p14="http://schemas.microsoft.com/office/powerpoint/2010/main" val="2867955004"/>
              </p:ext>
            </p:extLst>
          </p:nvPr>
        </p:nvGraphicFramePr>
        <p:xfrm>
          <a:off x="3385530" y="1948543"/>
          <a:ext cx="8465220" cy="4296350"/>
        </p:xfrm>
        <a:graphic>
          <a:graphicData uri="http://schemas.openxmlformats.org/drawingml/2006/table">
            <a:tbl>
              <a:tblPr firstRow="1" bandRow="1">
                <a:tableStyleId>{69CF1AB2-1976-4502-BF36-3FF5EA218861}</a:tableStyleId>
              </a:tblPr>
              <a:tblGrid>
                <a:gridCol w="8465220">
                  <a:extLst>
                    <a:ext uri="{9D8B030D-6E8A-4147-A177-3AD203B41FA5}">
                      <a16:colId xmlns:a16="http://schemas.microsoft.com/office/drawing/2014/main" xmlns="" val="1314533970"/>
                    </a:ext>
                  </a:extLst>
                </a:gridCol>
              </a:tblGrid>
              <a:tr h="1992086">
                <a:tc>
                  <a:txBody>
                    <a:bodyPr/>
                    <a:lstStyle/>
                    <a:p>
                      <a:pPr>
                        <a:spcBef>
                          <a:spcPts val="600"/>
                        </a:spcBef>
                      </a:pPr>
                      <a:r>
                        <a:rPr lang="en-GB" sz="1800" dirty="0">
                          <a:solidFill>
                            <a:srgbClr val="245473"/>
                          </a:solidFill>
                          <a:latin typeface="+mj-lt"/>
                        </a:rPr>
                        <a:t>1. Evitar/reducir los gastos improductivos</a:t>
                      </a:r>
                      <a:br>
                        <a:rPr lang="en-GB" sz="1800" dirty="0">
                          <a:solidFill>
                            <a:srgbClr val="245473"/>
                          </a:solidFill>
                          <a:latin typeface="+mj-lt"/>
                        </a:rPr>
                      </a:br>
                      <a:r>
                        <a:rPr lang="en-GB" sz="1800" b="0" i="0" kern="1200" dirty="0">
                          <a:solidFill>
                            <a:srgbClr val="245473"/>
                          </a:solidFill>
                          <a:effectLst/>
                          <a:latin typeface="+mj-lt"/>
                          <a:ea typeface="+mn-ea"/>
                          <a:cs typeface="+mn-cs"/>
                        </a:rPr>
                        <a:t>El gasto inconstante, también conocido como gasto de cola, o gasto no deseado, puede suponer hasta el 80% de las compras realizadas en una organización que carece de un proceso de adquisición centralizado desde la compra hasta el pago. Dado que este gasto aún no es gestionado por el departamento de compras, puede ser una ganancia rápida, siempre y cuando se logre orientar bien a los usuarios finales y convencerlos de los beneficios. </a:t>
                      </a:r>
                    </a:p>
                    <a:p>
                      <a:pPr>
                        <a:spcBef>
                          <a:spcPts val="600"/>
                        </a:spcBef>
                      </a:pPr>
                      <a:r>
                        <a:rPr lang="en-GB" sz="1800" b="1" i="0" kern="1200" dirty="0">
                          <a:solidFill>
                            <a:srgbClr val="245473"/>
                          </a:solidFill>
                          <a:effectLst/>
                          <a:latin typeface="+mj-lt"/>
                          <a:ea typeface="+mn-ea"/>
                          <a:cs typeface="+mn-cs"/>
                        </a:rPr>
                        <a:t>Puede revisar los registros de gastos para encontrar cualquier gasto no controlado, asignarlo a sus proveedores preferidos y repasar su proceso con los usuarios finales y su equipo. </a:t>
                      </a:r>
                      <a:endParaRPr lang="en-GB" sz="1800" dirty="0">
                        <a:solidFill>
                          <a:srgbClr val="245473"/>
                        </a:solidFill>
                        <a:latin typeface="+mj-lt"/>
                      </a:endParaRPr>
                    </a:p>
                  </a:txBody>
                  <a:tcPr/>
                </a:tc>
                <a:extLst>
                  <a:ext uri="{0D108BD9-81ED-4DB2-BD59-A6C34878D82A}">
                    <a16:rowId xmlns:a16="http://schemas.microsoft.com/office/drawing/2014/main" xmlns="" val="2754404948"/>
                  </a:ext>
                </a:extLst>
              </a:tr>
              <a:tr h="1294070">
                <a:tc>
                  <a:txBody>
                    <a:bodyPr/>
                    <a:lstStyle/>
                    <a:p>
                      <a:pPr>
                        <a:spcBef>
                          <a:spcPts val="600"/>
                        </a:spcBef>
                      </a:pPr>
                      <a:r>
                        <a:rPr lang="en-GB" sz="1800" b="1" dirty="0">
                          <a:solidFill>
                            <a:srgbClr val="245473"/>
                          </a:solidFill>
                          <a:latin typeface="+mj-lt"/>
                        </a:rPr>
                        <a:t>2. Revisar las condiciones y descuentos de los proveedores</a:t>
                      </a:r>
                      <a:r>
                        <a:rPr lang="en-GB" sz="1800" dirty="0">
                          <a:solidFill>
                            <a:srgbClr val="245473"/>
                          </a:solidFill>
                          <a:latin typeface="+mj-lt"/>
                        </a:rPr>
                        <a:t/>
                      </a:r>
                      <a:br>
                        <a:rPr lang="en-GB" sz="1800" dirty="0">
                          <a:solidFill>
                            <a:srgbClr val="245473"/>
                          </a:solidFill>
                          <a:latin typeface="+mj-lt"/>
                        </a:rPr>
                      </a:br>
                      <a:r>
                        <a:rPr lang="en-GB" sz="1800" dirty="0">
                          <a:solidFill>
                            <a:srgbClr val="245473"/>
                          </a:solidFill>
                          <a:latin typeface="+mj-lt"/>
                        </a:rPr>
                        <a:t>Asegúrese de que existe un acuerdo marco para todos los proveedores. Discuta con sus proveedores en qué casos puede obtener ahorros en las compras si modifica sus patrones de compra. Puede ser que comprando un poco más de productos reciba automáticamente un mayor descuento.</a:t>
                      </a:r>
                    </a:p>
                  </a:txBody>
                  <a:tcPr/>
                </a:tc>
                <a:extLst>
                  <a:ext uri="{0D108BD9-81ED-4DB2-BD59-A6C34878D82A}">
                    <a16:rowId xmlns:a16="http://schemas.microsoft.com/office/drawing/2014/main" xmlns="" val="1565229782"/>
                  </a:ext>
                </a:extLst>
              </a:tr>
              <a:tr h="300704">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b="1" dirty="0">
                          <a:solidFill>
                            <a:srgbClr val="245473"/>
                          </a:solidFill>
                          <a:latin typeface="+mj-lt"/>
                        </a:rPr>
                        <a:t>3. Consolidar proveedores y entregas</a:t>
                      </a:r>
                      <a:r>
                        <a:rPr lang="en-GB" sz="1800" dirty="0">
                          <a:solidFill>
                            <a:srgbClr val="245473"/>
                          </a:solidFill>
                          <a:latin typeface="+mj-lt"/>
                        </a:rPr>
                        <a:t/>
                      </a:r>
                      <a:br>
                        <a:rPr lang="en-GB" sz="1800" dirty="0">
                          <a:solidFill>
                            <a:srgbClr val="245473"/>
                          </a:solidFill>
                          <a:latin typeface="+mj-lt"/>
                        </a:rPr>
                      </a:br>
                      <a:r>
                        <a:rPr lang="en-GB" sz="1800" dirty="0">
                          <a:solidFill>
                            <a:srgbClr val="245473"/>
                          </a:solidFill>
                          <a:latin typeface="+mj-lt"/>
                        </a:rPr>
                        <a:t>Ahorre en los gastos de entrega y en los costes de aceptación de dichas entregas. También se reducirá la tramitación de la documentación de compra y los gastos de tramitación de los pagos.</a:t>
                      </a:r>
                    </a:p>
                  </a:txBody>
                  <a:tcPr/>
                </a:tc>
                <a:extLst>
                  <a:ext uri="{0D108BD9-81ED-4DB2-BD59-A6C34878D82A}">
                    <a16:rowId xmlns:a16="http://schemas.microsoft.com/office/drawing/2014/main" xmlns="" val="2783143345"/>
                  </a:ext>
                </a:extLst>
              </a:tr>
            </a:tbl>
          </a:graphicData>
        </a:graphic>
      </p:graphicFrame>
    </p:spTree>
    <p:extLst>
      <p:ext uri="{BB962C8B-B14F-4D97-AF65-F5344CB8AC3E}">
        <p14:creationId xmlns:p14="http://schemas.microsoft.com/office/powerpoint/2010/main" val="19310273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80525" y="631640"/>
            <a:ext cx="8852375" cy="697353"/>
          </a:xfrm>
        </p:spPr>
        <p:txBody>
          <a:bodyPr>
            <a:normAutofit/>
          </a:bodyPr>
          <a:lstStyle/>
          <a:p>
            <a:r>
              <a:rPr lang="en-GB" dirty="0"/>
              <a:t>14 medidas rápidas para ahorrar en compr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7406" y="1907243"/>
            <a:ext cx="2965361"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Dependiendo de la etapa de gestión de costes en la que se encuentre su organización, algunas serán "victorias rápidas" y otras serán "difíciles de ganar". Céntrese en las "victorias rápidas", no en aplicarlas todas. </a:t>
            </a:r>
          </a:p>
        </p:txBody>
      </p:sp>
      <p:graphicFrame>
        <p:nvGraphicFramePr>
          <p:cNvPr id="3" name="Tabelle 21">
            <a:extLst>
              <a:ext uri="{FF2B5EF4-FFF2-40B4-BE49-F238E27FC236}">
                <a16:creationId xmlns:a16="http://schemas.microsoft.com/office/drawing/2014/main" xmlns="" id="{C1559540-4AE0-4200-867B-8DF9AE0D32A0}"/>
              </a:ext>
            </a:extLst>
          </p:cNvPr>
          <p:cNvGraphicFramePr>
            <a:graphicFrameLocks noGrp="1"/>
          </p:cNvGraphicFramePr>
          <p:nvPr>
            <p:extLst>
              <p:ext uri="{D42A27DB-BD31-4B8C-83A1-F6EECF244321}">
                <p14:modId xmlns:p14="http://schemas.microsoft.com/office/powerpoint/2010/main" val="3215765201"/>
              </p:ext>
            </p:extLst>
          </p:nvPr>
        </p:nvGraphicFramePr>
        <p:xfrm>
          <a:off x="3385529" y="1984268"/>
          <a:ext cx="8403699" cy="4277195"/>
        </p:xfrm>
        <a:graphic>
          <a:graphicData uri="http://schemas.openxmlformats.org/drawingml/2006/table">
            <a:tbl>
              <a:tblPr firstRow="1" bandRow="1">
                <a:tableStyleId>{69CF1AB2-1976-4502-BF36-3FF5EA218861}</a:tableStyleId>
              </a:tblPr>
              <a:tblGrid>
                <a:gridCol w="8403699">
                  <a:extLst>
                    <a:ext uri="{9D8B030D-6E8A-4147-A177-3AD203B41FA5}">
                      <a16:colId xmlns:a16="http://schemas.microsoft.com/office/drawing/2014/main" xmlns="" val="909820550"/>
                    </a:ext>
                  </a:extLst>
                </a:gridCol>
              </a:tblGrid>
              <a:tr h="2371255">
                <a:tc>
                  <a:txBody>
                    <a:bodyPr/>
                    <a:lstStyle/>
                    <a:p>
                      <a:pPr>
                        <a:spcBef>
                          <a:spcPts val="600"/>
                        </a:spcBef>
                      </a:pPr>
                      <a:r>
                        <a:rPr lang="en-GB" sz="1800" dirty="0">
                          <a:solidFill>
                            <a:srgbClr val="245473"/>
                          </a:solidFill>
                          <a:latin typeface="+mj-lt"/>
                        </a:rPr>
                        <a:t>4. Revisar los niveles de existencias</a:t>
                      </a:r>
                      <a:br>
                        <a:rPr lang="en-GB" sz="1800" dirty="0">
                          <a:solidFill>
                            <a:srgbClr val="245473"/>
                          </a:solidFill>
                          <a:latin typeface="+mj-lt"/>
                        </a:rPr>
                      </a:br>
                      <a:r>
                        <a:rPr lang="en-GB" sz="1800" b="0" i="0" kern="1200" dirty="0">
                          <a:solidFill>
                            <a:srgbClr val="245473"/>
                          </a:solidFill>
                          <a:effectLst/>
                          <a:latin typeface="+mj-lt"/>
                          <a:ea typeface="+mn-ea"/>
                          <a:cs typeface="+mn-cs"/>
                        </a:rPr>
                        <a:t>Esto ayuda a reducir los costes de almacenamiento, ya que las existencias no sólo le cuestan dinero para depositarlas, sino que también pueden deteriorarse con el tiempo, llegando a ser a veces inutilizables. </a:t>
                      </a:r>
                    </a:p>
                    <a:p>
                      <a:pPr>
                        <a:spcBef>
                          <a:spcPts val="600"/>
                        </a:spcBef>
                      </a:pPr>
                      <a:r>
                        <a:rPr lang="en-GB" sz="1800" b="0" i="0" kern="1200" dirty="0">
                          <a:solidFill>
                            <a:srgbClr val="245473"/>
                          </a:solidFill>
                          <a:effectLst/>
                          <a:latin typeface="+mj-lt"/>
                          <a:ea typeface="+mn-ea"/>
                          <a:cs typeface="+mn-cs"/>
                        </a:rPr>
                        <a:t>El stock que queda en los almacenes es "dinero muerto". Cuesta dinero almacenarlo, puede deteriorarse y quedar obsoleto. </a:t>
                      </a:r>
                    </a:p>
                    <a:p>
                      <a:pPr>
                        <a:spcBef>
                          <a:spcPts val="600"/>
                        </a:spcBef>
                      </a:pPr>
                      <a:r>
                        <a:rPr lang="en-GB" sz="1800" b="0" i="0" kern="1200" dirty="0">
                          <a:solidFill>
                            <a:srgbClr val="245473"/>
                          </a:solidFill>
                          <a:effectLst/>
                          <a:latin typeface="+mj-lt"/>
                          <a:ea typeface="+mn-ea"/>
                          <a:cs typeface="+mn-cs"/>
                        </a:rPr>
                        <a:t>Así que, antes de hacer otro pedido, revise primero sus niveles de existencias e intente utilizar lo que ya tiene.</a:t>
                      </a:r>
                      <a:endParaRPr lang="en-GB" sz="1800" dirty="0">
                        <a:solidFill>
                          <a:srgbClr val="245473"/>
                        </a:solidFill>
                        <a:latin typeface="+mj-lt"/>
                      </a:endParaRPr>
                    </a:p>
                  </a:txBody>
                  <a:tcPr/>
                </a:tc>
                <a:extLst>
                  <a:ext uri="{0D108BD9-81ED-4DB2-BD59-A6C34878D82A}">
                    <a16:rowId xmlns:a16="http://schemas.microsoft.com/office/drawing/2014/main" xmlns="" val="2754404948"/>
                  </a:ext>
                </a:extLst>
              </a:tr>
              <a:tr h="71722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b="1" dirty="0">
                          <a:solidFill>
                            <a:srgbClr val="245473"/>
                          </a:solidFill>
                          <a:latin typeface="+mj-lt"/>
                        </a:rPr>
                        <a:t>5. Consolidar las solicitudes de compra y los intervalos</a:t>
                      </a:r>
                      <a:r>
                        <a:rPr lang="en-GB" sz="1800" dirty="0">
                          <a:solidFill>
                            <a:srgbClr val="245473"/>
                          </a:solidFill>
                          <a:latin typeface="+mj-lt"/>
                        </a:rPr>
                        <a:t/>
                      </a:r>
                      <a:br>
                        <a:rPr lang="en-GB" sz="1800" dirty="0">
                          <a:solidFill>
                            <a:srgbClr val="245473"/>
                          </a:solidFill>
                          <a:latin typeface="+mj-lt"/>
                        </a:rPr>
                      </a:br>
                      <a:r>
                        <a:rPr lang="en-GB" sz="1800" dirty="0">
                          <a:solidFill>
                            <a:srgbClr val="245473"/>
                          </a:solidFill>
                          <a:latin typeface="+mj-lt"/>
                        </a:rPr>
                        <a:t>Esto reduce los costes de entrega y la documentación de compra.</a:t>
                      </a:r>
                    </a:p>
                  </a:txBody>
                  <a:tcPr/>
                </a:tc>
                <a:extLst>
                  <a:ext uri="{0D108BD9-81ED-4DB2-BD59-A6C34878D82A}">
                    <a16:rowId xmlns:a16="http://schemas.microsoft.com/office/drawing/2014/main" xmlns="" val="1565229782"/>
                  </a:ext>
                </a:extLst>
              </a:tr>
              <a:tr h="903680">
                <a:tc>
                  <a:txBody>
                    <a:bodyPr/>
                    <a:lstStyle/>
                    <a:p>
                      <a:pPr>
                        <a:spcBef>
                          <a:spcPts val="600"/>
                        </a:spcBef>
                      </a:pPr>
                      <a:r>
                        <a:rPr lang="en-GB" sz="1800" b="1" dirty="0">
                          <a:solidFill>
                            <a:srgbClr val="245473"/>
                          </a:solidFill>
                          <a:latin typeface="+mj-lt"/>
                        </a:rPr>
                        <a:t>6. Revisar las necesidades de compra</a:t>
                      </a:r>
                      <a:r>
                        <a:rPr lang="en-GB" sz="1800" dirty="0">
                          <a:solidFill>
                            <a:srgbClr val="245473"/>
                          </a:solidFill>
                          <a:latin typeface="+mj-lt"/>
                        </a:rPr>
                        <a:t/>
                      </a:r>
                      <a:br>
                        <a:rPr lang="en-GB" sz="1800" dirty="0">
                          <a:solidFill>
                            <a:srgbClr val="245473"/>
                          </a:solidFill>
                          <a:latin typeface="+mj-lt"/>
                        </a:rPr>
                      </a:br>
                      <a:r>
                        <a:rPr lang="en-GB" sz="1800" dirty="0">
                          <a:solidFill>
                            <a:srgbClr val="245473"/>
                          </a:solidFill>
                          <a:latin typeface="+mj-lt"/>
                        </a:rPr>
                        <a:t>Esto garantiza que sólo se realicen las compras estrictamente necesarias. Reducirá los gastos excesivos y los costes de almacenamiento y es una buena forma de garantizar que la empresa ahorre en sus compras.</a:t>
                      </a:r>
                    </a:p>
                  </a:txBody>
                  <a:tcPr/>
                </a:tc>
                <a:extLst>
                  <a:ext uri="{0D108BD9-81ED-4DB2-BD59-A6C34878D82A}">
                    <a16:rowId xmlns:a16="http://schemas.microsoft.com/office/drawing/2014/main" xmlns="" val="2783143345"/>
                  </a:ext>
                </a:extLst>
              </a:tr>
            </a:tbl>
          </a:graphicData>
        </a:graphic>
      </p:graphicFrame>
    </p:spTree>
    <p:extLst>
      <p:ext uri="{BB962C8B-B14F-4D97-AF65-F5344CB8AC3E}">
        <p14:creationId xmlns:p14="http://schemas.microsoft.com/office/powerpoint/2010/main" val="5206140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23325" y="622931"/>
            <a:ext cx="8852375" cy="697353"/>
          </a:xfrm>
        </p:spPr>
        <p:txBody>
          <a:bodyPr>
            <a:normAutofit/>
          </a:bodyPr>
          <a:lstStyle/>
          <a:p>
            <a:r>
              <a:rPr lang="en-GB" dirty="0"/>
              <a:t>14 medidas rápidas para ahorrar en compr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43432" y="1937927"/>
            <a:ext cx="2863080" cy="192903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Una buena gestión del Departamento de Compras/Adquisición es crucial para que una empresa sea rentable y el ahorro en adquisiciones sólo puede ser beneficioso. </a:t>
            </a:r>
            <a:endParaRPr lang="en-US" dirty="0">
              <a:solidFill>
                <a:srgbClr val="245473"/>
              </a:solidFill>
            </a:endParaRPr>
          </a:p>
        </p:txBody>
      </p:sp>
      <p:graphicFrame>
        <p:nvGraphicFramePr>
          <p:cNvPr id="3" name="Tabelle 21">
            <a:extLst>
              <a:ext uri="{FF2B5EF4-FFF2-40B4-BE49-F238E27FC236}">
                <a16:creationId xmlns:a16="http://schemas.microsoft.com/office/drawing/2014/main" xmlns="" id="{C1559540-4AE0-4200-867B-8DF9AE0D32A0}"/>
              </a:ext>
            </a:extLst>
          </p:cNvPr>
          <p:cNvGraphicFramePr>
            <a:graphicFrameLocks noGrp="1"/>
          </p:cNvGraphicFramePr>
          <p:nvPr>
            <p:extLst>
              <p:ext uri="{D42A27DB-BD31-4B8C-83A1-F6EECF244321}">
                <p14:modId xmlns:p14="http://schemas.microsoft.com/office/powerpoint/2010/main" val="742569733"/>
              </p:ext>
            </p:extLst>
          </p:nvPr>
        </p:nvGraphicFramePr>
        <p:xfrm>
          <a:off x="3441070" y="1985730"/>
          <a:ext cx="8507497" cy="4023360"/>
        </p:xfrm>
        <a:graphic>
          <a:graphicData uri="http://schemas.openxmlformats.org/drawingml/2006/table">
            <a:tbl>
              <a:tblPr firstRow="1" bandRow="1">
                <a:tableStyleId>{69CF1AB2-1976-4502-BF36-3FF5EA218861}</a:tableStyleId>
              </a:tblPr>
              <a:tblGrid>
                <a:gridCol w="8507497">
                  <a:extLst>
                    <a:ext uri="{9D8B030D-6E8A-4147-A177-3AD203B41FA5}">
                      <a16:colId xmlns:a16="http://schemas.microsoft.com/office/drawing/2014/main" xmlns="" val="1314533970"/>
                    </a:ext>
                  </a:extLst>
                </a:gridCol>
              </a:tblGrid>
              <a:tr h="370840">
                <a:tc>
                  <a:txBody>
                    <a:bodyPr/>
                    <a:lstStyle/>
                    <a:p>
                      <a:pPr>
                        <a:spcBef>
                          <a:spcPts val="600"/>
                        </a:spcBef>
                      </a:pPr>
                      <a:r>
                        <a:rPr lang="en-GB" sz="1600" dirty="0">
                          <a:solidFill>
                            <a:srgbClr val="245473"/>
                          </a:solidFill>
                        </a:rPr>
                        <a:t>7. Comprar en </a:t>
                      </a:r>
                      <a:r>
                        <a:rPr lang="en-GB" sz="1600" dirty="0" err="1">
                          <a:solidFill>
                            <a:srgbClr val="245473"/>
                          </a:solidFill>
                        </a:rPr>
                        <a:t>catálogos </a:t>
                      </a:r>
                      <a:r>
                        <a:rPr lang="en-GB" sz="1600" dirty="0">
                          <a:solidFill>
                            <a:srgbClr val="245473"/>
                          </a:solidFill>
                        </a:rPr>
                        <a:t>acordados</a:t>
                      </a:r>
                      <a:br>
                        <a:rPr lang="en-GB" sz="1600" dirty="0">
                          <a:solidFill>
                            <a:srgbClr val="245473"/>
                          </a:solidFill>
                        </a:rPr>
                      </a:br>
                      <a:r>
                        <a:rPr lang="en-GB" sz="1600" b="0" i="0" kern="1200" dirty="0">
                          <a:solidFill>
                            <a:srgbClr val="245473"/>
                          </a:solidFill>
                          <a:effectLst/>
                          <a:latin typeface="+mn-lt"/>
                          <a:ea typeface="+mn-ea"/>
                          <a:cs typeface="+mn-cs"/>
                        </a:rPr>
                        <a:t>Asegúrese de que sólo se compra una marca o tipo de producto. La duplicación puede resultar cara y es innecesaria. Un mayor número de pedidos a un solo proveedor permite obtener mejores descuentos</a:t>
                      </a:r>
                      <a:r>
                        <a:rPr lang="en-GB" sz="1600" b="1" i="0" kern="1200" dirty="0">
                          <a:solidFill>
                            <a:srgbClr val="245473"/>
                          </a:solidFill>
                          <a:effectLst/>
                          <a:latin typeface="+mn-lt"/>
                          <a:ea typeface="+mn-ea"/>
                          <a:cs typeface="+mn-cs"/>
                        </a:rPr>
                        <a:t>. </a:t>
                      </a:r>
                      <a:endParaRPr lang="en-GB" sz="1600" dirty="0">
                        <a:solidFill>
                          <a:srgbClr val="245473"/>
                        </a:solidFill>
                      </a:endParaRPr>
                    </a:p>
                  </a:txBody>
                  <a:tcPr/>
                </a:tc>
                <a:extLst>
                  <a:ext uri="{0D108BD9-81ED-4DB2-BD59-A6C34878D82A}">
                    <a16:rowId xmlns:a16="http://schemas.microsoft.com/office/drawing/2014/main" xmlns="" val="2754404948"/>
                  </a:ext>
                </a:extLst>
              </a:tr>
              <a:tr h="370840">
                <a:tc>
                  <a:txBody>
                    <a:bodyPr/>
                    <a:lstStyle/>
                    <a:p>
                      <a:pPr>
                        <a:spcBef>
                          <a:spcPts val="600"/>
                        </a:spcBef>
                      </a:pPr>
                      <a:r>
                        <a:rPr lang="en-GB" sz="1600" b="1" dirty="0">
                          <a:solidFill>
                            <a:srgbClr val="245473"/>
                          </a:solidFill>
                        </a:rPr>
                        <a:t>8. Revise las especificaciones de los productos comprados</a:t>
                      </a:r>
                      <a:r>
                        <a:rPr lang="en-GB" sz="1600" dirty="0">
                          <a:solidFill>
                            <a:srgbClr val="245473"/>
                          </a:solidFill>
                        </a:rPr>
                        <a:t/>
                      </a:r>
                      <a:br>
                        <a:rPr lang="en-GB" sz="1600" dirty="0">
                          <a:solidFill>
                            <a:srgbClr val="245473"/>
                          </a:solidFill>
                        </a:rPr>
                      </a:br>
                      <a:r>
                        <a:rPr lang="en-GB" sz="1600" dirty="0">
                          <a:solidFill>
                            <a:srgbClr val="245473"/>
                          </a:solidFill>
                        </a:rPr>
                        <a:t>¿Es posible comprar una especificación inferior que haga el mismo trabajo? Por ejemplo, es bien sabido que la NASA desarrolló un sofisticado bolígrafo que podía escribir en el espacio, mientras que los rusos utilizaban un lápiz de 5 céntimos: ambos cumplían la misma función (escribir en el espacio) pero con una enorme diferencia de costes.</a:t>
                      </a:r>
                    </a:p>
                  </a:txBody>
                  <a:tcPr/>
                </a:tc>
                <a:extLst>
                  <a:ext uri="{0D108BD9-81ED-4DB2-BD59-A6C34878D82A}">
                    <a16:rowId xmlns:a16="http://schemas.microsoft.com/office/drawing/2014/main" xmlns="" val="1565229782"/>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600" b="1">
                          <a:solidFill>
                            <a:srgbClr val="245473"/>
                          </a:solidFill>
                        </a:rPr>
                        <a:t>9. Revisar las estrategias de reposición de existencias</a:t>
                      </a:r>
                      <a:r>
                        <a:rPr lang="en-GB" sz="1600" dirty="0">
                          <a:solidFill>
                            <a:srgbClr val="245473"/>
                          </a:solidFill>
                        </a:rPr>
                        <a:t/>
                      </a:r>
                      <a:br>
                        <a:rPr lang="en-GB" sz="1600" dirty="0">
                          <a:solidFill>
                            <a:srgbClr val="245473"/>
                          </a:solidFill>
                        </a:rPr>
                      </a:br>
                      <a:r>
                        <a:rPr lang="en-GB" sz="1600">
                          <a:solidFill>
                            <a:srgbClr val="245473"/>
                          </a:solidFill>
                        </a:rPr>
                        <a:t>Renueve los artículos sólo cuando sea necesario y no como reposición rutinaria. Tenga en cuenta el coste de la espera de una sustitución. Por ejemplo, es necesario sustituir una pieza importante de la maquinaria de forma regular, pero no es necesario sustituir la mayoría de las luces antes de que fallen.</a:t>
                      </a:r>
                    </a:p>
                  </a:txBody>
                  <a:tcPr/>
                </a:tc>
                <a:extLst>
                  <a:ext uri="{0D108BD9-81ED-4DB2-BD59-A6C34878D82A}">
                    <a16:rowId xmlns:a16="http://schemas.microsoft.com/office/drawing/2014/main" xmlns="" val="2783143345"/>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600" b="1" dirty="0">
                          <a:solidFill>
                            <a:srgbClr val="245473"/>
                          </a:solidFill>
                        </a:rPr>
                        <a:t>10. Pida descuentos a sus proveedores </a:t>
                      </a:r>
                      <a:r>
                        <a:rPr lang="en-GB" sz="1600" dirty="0">
                          <a:solidFill>
                            <a:srgbClr val="245473"/>
                          </a:solidFill>
                        </a:rPr>
                        <a:t/>
                      </a:r>
                      <a:br>
                        <a:rPr lang="en-GB" sz="1600" dirty="0">
                          <a:solidFill>
                            <a:srgbClr val="245473"/>
                          </a:solidFill>
                        </a:rPr>
                      </a:br>
                      <a:r>
                        <a:rPr lang="en-GB" sz="1600" dirty="0">
                          <a:solidFill>
                            <a:srgbClr val="245473"/>
                          </a:solidFill>
                        </a:rPr>
                        <a:t>A menudo, puede ahorrar en las compras cambiando sus patrones de compra. Hable con sus proveedores para saber si están dispuestos a ofrecerle un mayor descuento si aumenta ligeramente el volumen de sus pedidos o si paga antes.</a:t>
                      </a:r>
                    </a:p>
                  </a:txBody>
                  <a:tcPr/>
                </a:tc>
                <a:extLst>
                  <a:ext uri="{0D108BD9-81ED-4DB2-BD59-A6C34878D82A}">
                    <a16:rowId xmlns:a16="http://schemas.microsoft.com/office/drawing/2014/main" xmlns="" val="1867511866"/>
                  </a:ext>
                </a:extLst>
              </a:tr>
            </a:tbl>
          </a:graphicData>
        </a:graphic>
      </p:graphicFrame>
    </p:spTree>
    <p:extLst>
      <p:ext uri="{BB962C8B-B14F-4D97-AF65-F5344CB8AC3E}">
        <p14:creationId xmlns:p14="http://schemas.microsoft.com/office/powerpoint/2010/main" val="13498335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2438" y="655589"/>
            <a:ext cx="8852375" cy="697353"/>
          </a:xfrm>
        </p:spPr>
        <p:txBody>
          <a:bodyPr>
            <a:normAutofit/>
          </a:bodyPr>
          <a:lstStyle/>
          <a:p>
            <a:r>
              <a:rPr lang="en-GB" dirty="0"/>
              <a:t>14 medidas rápidas para ahorrar en compr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43432" y="1937927"/>
            <a:ext cx="2863080" cy="254458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Hay un número considerable de formas de ahorrar en las compras y todo el personal y los directivos deberían conocerlas y recibir formación sobre buenas estrategias de ahorro en las compras.</a:t>
            </a:r>
          </a:p>
        </p:txBody>
      </p:sp>
      <p:graphicFrame>
        <p:nvGraphicFramePr>
          <p:cNvPr id="3" name="Tabelle 21">
            <a:extLst>
              <a:ext uri="{FF2B5EF4-FFF2-40B4-BE49-F238E27FC236}">
                <a16:creationId xmlns:a16="http://schemas.microsoft.com/office/drawing/2014/main" xmlns="" id="{C1559540-4AE0-4200-867B-8DF9AE0D32A0}"/>
              </a:ext>
            </a:extLst>
          </p:cNvPr>
          <p:cNvGraphicFramePr>
            <a:graphicFrameLocks noGrp="1"/>
          </p:cNvGraphicFramePr>
          <p:nvPr>
            <p:extLst>
              <p:ext uri="{D42A27DB-BD31-4B8C-83A1-F6EECF244321}">
                <p14:modId xmlns:p14="http://schemas.microsoft.com/office/powerpoint/2010/main" val="1082717197"/>
              </p:ext>
            </p:extLst>
          </p:nvPr>
        </p:nvGraphicFramePr>
        <p:xfrm>
          <a:off x="3277785" y="1931571"/>
          <a:ext cx="8507497" cy="4556760"/>
        </p:xfrm>
        <a:graphic>
          <a:graphicData uri="http://schemas.openxmlformats.org/drawingml/2006/table">
            <a:tbl>
              <a:tblPr firstRow="1" bandRow="1">
                <a:tableStyleId>{69CF1AB2-1976-4502-BF36-3FF5EA218861}</a:tableStyleId>
              </a:tblPr>
              <a:tblGrid>
                <a:gridCol w="8507497">
                  <a:extLst>
                    <a:ext uri="{9D8B030D-6E8A-4147-A177-3AD203B41FA5}">
                      <a16:colId xmlns:a16="http://schemas.microsoft.com/office/drawing/2014/main" xmlns="" val="909820550"/>
                    </a:ext>
                  </a:extLst>
                </a:gridCol>
              </a:tblGrid>
              <a:tr h="370840">
                <a:tc>
                  <a:txBody>
                    <a:bodyPr/>
                    <a:lstStyle/>
                    <a:p>
                      <a:pPr>
                        <a:spcBef>
                          <a:spcPts val="600"/>
                        </a:spcBef>
                      </a:pPr>
                      <a:r>
                        <a:rPr lang="en-GB" sz="1800" dirty="0">
                          <a:solidFill>
                            <a:srgbClr val="245473"/>
                          </a:solidFill>
                          <a:latin typeface="+mj-lt"/>
                        </a:rPr>
                        <a:t>11. Asegurarse de que existen controles de gestión correctos.</a:t>
                      </a:r>
                      <a:br>
                        <a:rPr lang="en-GB" sz="1800" dirty="0">
                          <a:solidFill>
                            <a:srgbClr val="245473"/>
                          </a:solidFill>
                          <a:latin typeface="+mj-lt"/>
                        </a:rPr>
                      </a:br>
                      <a:r>
                        <a:rPr lang="en-GB" sz="1800" b="0" dirty="0">
                          <a:solidFill>
                            <a:srgbClr val="245473"/>
                          </a:solidFill>
                          <a:latin typeface="+mj-lt"/>
                        </a:rPr>
                        <a:t>Adhiérase a ellos para las compras ad hoc en particular. ¿Son las personas correctas las que piden los productos adecuados para el trabajo? Esto debería reducir las compras excesivas o incorrectas.</a:t>
                      </a:r>
                    </a:p>
                  </a:txBody>
                  <a:tcPr/>
                </a:tc>
                <a:extLst>
                  <a:ext uri="{0D108BD9-81ED-4DB2-BD59-A6C34878D82A}">
                    <a16:rowId xmlns:a16="http://schemas.microsoft.com/office/drawing/2014/main" xmlns="" val="2754404948"/>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b="1">
                          <a:solidFill>
                            <a:srgbClr val="245473"/>
                          </a:solidFill>
                          <a:latin typeface="+mj-lt"/>
                        </a:rPr>
                        <a:t>12. Formar y educar al personal</a:t>
                      </a:r>
                      <a:r>
                        <a:rPr lang="en-GB" sz="1800" dirty="0">
                          <a:solidFill>
                            <a:srgbClr val="245473"/>
                          </a:solidFill>
                          <a:latin typeface="+mj-lt"/>
                        </a:rPr>
                        <a:t/>
                      </a:r>
                      <a:br>
                        <a:rPr lang="en-GB" sz="1800" dirty="0">
                          <a:solidFill>
                            <a:srgbClr val="245473"/>
                          </a:solidFill>
                          <a:latin typeface="+mj-lt"/>
                        </a:rPr>
                      </a:br>
                      <a:r>
                        <a:rPr lang="en-GB" sz="1800">
                          <a:solidFill>
                            <a:srgbClr val="245473"/>
                          </a:solidFill>
                          <a:latin typeface="+mj-lt"/>
                        </a:rPr>
                        <a:t>Forme al personal en materia de compras rentables y anímelo a ahorrar siempre que sea posible.</a:t>
                      </a:r>
                    </a:p>
                  </a:txBody>
                  <a:tcPr/>
                </a:tc>
                <a:extLst>
                  <a:ext uri="{0D108BD9-81ED-4DB2-BD59-A6C34878D82A}">
                    <a16:rowId xmlns:a16="http://schemas.microsoft.com/office/drawing/2014/main" xmlns="" val="1565229782"/>
                  </a:ext>
                </a:extLst>
              </a:tr>
              <a:tr h="370840">
                <a:tc>
                  <a:txBody>
                    <a:bodyPr/>
                    <a:lstStyle/>
                    <a:p>
                      <a:pPr>
                        <a:spcBef>
                          <a:spcPts val="600"/>
                        </a:spcBef>
                      </a:pPr>
                      <a:r>
                        <a:rPr lang="en-GB" sz="1800" b="1">
                          <a:solidFill>
                            <a:srgbClr val="245473"/>
                          </a:solidFill>
                          <a:latin typeface="+mj-lt"/>
                        </a:rPr>
                        <a:t>13. Utilizar la tecnología</a:t>
                      </a:r>
                      <a:r>
                        <a:rPr lang="en-GB" sz="1800" dirty="0">
                          <a:solidFill>
                            <a:srgbClr val="245473"/>
                          </a:solidFill>
                          <a:latin typeface="+mj-lt"/>
                        </a:rPr>
                        <a:t/>
                      </a:r>
                      <a:br>
                        <a:rPr lang="en-GB" sz="1800" dirty="0">
                          <a:solidFill>
                            <a:srgbClr val="245473"/>
                          </a:solidFill>
                          <a:latin typeface="+mj-lt"/>
                        </a:rPr>
                      </a:br>
                      <a:r>
                        <a:rPr lang="en-GB" sz="1800">
                          <a:solidFill>
                            <a:srgbClr val="245473"/>
                          </a:solidFill>
                          <a:latin typeface="+mj-lt"/>
                        </a:rPr>
                        <a:t>Aunque la informatización del proceso de compra cuesta dinero al principio, al agilizar y simplificar las compras, se debería ahorrar en las adquisiciones. Como parte del uso de la tecnología para conseguir ahorros en las compras, se puede vincular el sistema de compras con los sistemas de inventario y contabilidad. Esto no sólo ahorra en costes de personal, sino que también reduce los errores.</a:t>
                      </a:r>
                    </a:p>
                  </a:txBody>
                  <a:tcPr/>
                </a:tc>
                <a:extLst>
                  <a:ext uri="{0D108BD9-81ED-4DB2-BD59-A6C34878D82A}">
                    <a16:rowId xmlns:a16="http://schemas.microsoft.com/office/drawing/2014/main" xmlns="" val="2783143345"/>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b="1" dirty="0">
                          <a:solidFill>
                            <a:srgbClr val="245473"/>
                          </a:solidFill>
                          <a:latin typeface="+mj-lt"/>
                        </a:rPr>
                        <a:t>14. Centralizar</a:t>
                      </a:r>
                      <a:r>
                        <a:rPr lang="en-GB" sz="1800" dirty="0">
                          <a:solidFill>
                            <a:srgbClr val="245473"/>
                          </a:solidFill>
                          <a:latin typeface="+mj-lt"/>
                        </a:rPr>
                        <a:t/>
                      </a:r>
                      <a:br>
                        <a:rPr lang="en-GB" sz="1800" dirty="0">
                          <a:solidFill>
                            <a:srgbClr val="245473"/>
                          </a:solidFill>
                          <a:latin typeface="+mj-lt"/>
                        </a:rPr>
                      </a:br>
                      <a:r>
                        <a:rPr lang="en-GB" sz="1800" dirty="0">
                          <a:solidFill>
                            <a:srgbClr val="245473"/>
                          </a:solidFill>
                          <a:latin typeface="+mj-lt"/>
                        </a:rPr>
                        <a:t>En primer lugar, centralice las funciones de compra dispares, lo que permite ahorrar en personal, procesos y tecnología.</a:t>
                      </a:r>
                    </a:p>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dirty="0">
                          <a:solidFill>
                            <a:srgbClr val="245473"/>
                          </a:solidFill>
                          <a:latin typeface="+mj-lt"/>
                        </a:rPr>
                        <a:t>En segundo lugar, centralizar el almacenamiento, lo que puede suponer un gran ahorro inmobiliario y de personal</a:t>
                      </a:r>
                    </a:p>
                  </a:txBody>
                  <a:tcPr/>
                </a:tc>
                <a:extLst>
                  <a:ext uri="{0D108BD9-81ED-4DB2-BD59-A6C34878D82A}">
                    <a16:rowId xmlns:a16="http://schemas.microsoft.com/office/drawing/2014/main" xmlns="" val="1867511866"/>
                  </a:ext>
                </a:extLst>
              </a:tr>
            </a:tbl>
          </a:graphicData>
        </a:graphic>
      </p:graphicFrame>
    </p:spTree>
    <p:extLst>
      <p:ext uri="{BB962C8B-B14F-4D97-AF65-F5344CB8AC3E}">
        <p14:creationId xmlns:p14="http://schemas.microsoft.com/office/powerpoint/2010/main" val="14007418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31816" y="503338"/>
            <a:ext cx="8852375" cy="697353"/>
          </a:xfrm>
        </p:spPr>
        <p:txBody>
          <a:bodyPr>
            <a:normAutofit/>
          </a:bodyPr>
          <a:lstStyle/>
          <a:p>
            <a:r>
              <a:rPr lang="en-GB" dirty="0"/>
              <a:t>Medidas rápidas: Reducción inteligente de cost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6729" y="1783423"/>
            <a:ext cx="3760019" cy="529918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La reducción de costes es un tema muy importante en la crisis empresarial. Pero es muy importante que la reducción de costes no perjudique más que los bienes. Para emprender una reducción de costes inteligente es necesario conocer los procesos de creación de valor dentro de la empresa. </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Armados con estos conocimientos, podemos identificar las áreas de la organización en las que la reducción de costes sería muy perjudicial para la creación de valor y las áreas en las que la reducción de costes sólo tendría un impacto periférico.</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 largo plazo es importante implantar una cultura de gestión de costes en toda la organización.</a:t>
            </a:r>
            <a:endParaRPr lang="en-GB" sz="18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A81850E2-A9D5-43FB-8608-BD50F0CFC75A}"/>
              </a:ext>
            </a:extLst>
          </p:cNvPr>
          <p:cNvGrpSpPr/>
          <p:nvPr/>
        </p:nvGrpSpPr>
        <p:grpSpPr>
          <a:xfrm>
            <a:off x="3857625" y="2021921"/>
            <a:ext cx="7981950" cy="2569130"/>
            <a:chOff x="6173812" y="2124691"/>
            <a:chExt cx="4494189" cy="3876061"/>
          </a:xfrm>
        </p:grpSpPr>
        <p:grpSp>
          <p:nvGrpSpPr>
            <p:cNvPr id="7" name="Group 5">
              <a:extLst>
                <a:ext uri="{FF2B5EF4-FFF2-40B4-BE49-F238E27FC236}">
                  <a16:creationId xmlns:a16="http://schemas.microsoft.com/office/drawing/2014/main" xmlns="" id="{133D37CC-066E-4949-A37B-43C880F5C242}"/>
                </a:ext>
              </a:extLst>
            </p:cNvPr>
            <p:cNvGrpSpPr/>
            <p:nvPr/>
          </p:nvGrpSpPr>
          <p:grpSpPr>
            <a:xfrm>
              <a:off x="9442141" y="2124691"/>
              <a:ext cx="1225860" cy="3876061"/>
              <a:chOff x="10774771" y="2376847"/>
              <a:chExt cx="1417229" cy="4481153"/>
            </a:xfrm>
          </p:grpSpPr>
          <p:sp>
            <p:nvSpPr>
              <p:cNvPr id="8" name="Rectangle 5">
                <a:extLst>
                  <a:ext uri="{FF2B5EF4-FFF2-40B4-BE49-F238E27FC236}">
                    <a16:creationId xmlns:a16="http://schemas.microsoft.com/office/drawing/2014/main" xmlns="" id="{05A9F71C-257C-4594-AB51-224697E43D04}"/>
                  </a:ext>
                </a:extLst>
              </p:cNvPr>
              <p:cNvSpPr>
                <a:spLocks noChangeArrowheads="1"/>
              </p:cNvSpPr>
              <p:nvPr/>
            </p:nvSpPr>
            <p:spPr bwMode="auto">
              <a:xfrm>
                <a:off x="11245724" y="2923196"/>
                <a:ext cx="946276" cy="3934804"/>
              </a:xfrm>
              <a:prstGeom prst="rect">
                <a:avLst/>
              </a:pr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9" name="Freeform 6">
                <a:extLst>
                  <a:ext uri="{FF2B5EF4-FFF2-40B4-BE49-F238E27FC236}">
                    <a16:creationId xmlns:a16="http://schemas.microsoft.com/office/drawing/2014/main" xmlns="" id="{E315D926-E501-4A7A-A089-D6EE9CB4E9B1}"/>
                  </a:ext>
                </a:extLst>
              </p:cNvPr>
              <p:cNvSpPr>
                <a:spLocks/>
              </p:cNvSpPr>
              <p:nvPr/>
            </p:nvSpPr>
            <p:spPr bwMode="auto">
              <a:xfrm>
                <a:off x="10774771" y="2376847"/>
                <a:ext cx="470953" cy="1099254"/>
              </a:xfrm>
              <a:custGeom>
                <a:avLst/>
                <a:gdLst>
                  <a:gd name="T0" fmla="*/ 431 w 431"/>
                  <a:gd name="T1" fmla="*/ 500 h 1006"/>
                  <a:gd name="T2" fmla="*/ 0 w 431"/>
                  <a:gd name="T3" fmla="*/ 0 h 1006"/>
                  <a:gd name="T4" fmla="*/ 0 w 431"/>
                  <a:gd name="T5" fmla="*/ 507 h 1006"/>
                  <a:gd name="T6" fmla="*/ 431 w 431"/>
                  <a:gd name="T7" fmla="*/ 1006 h 1006"/>
                  <a:gd name="T8" fmla="*/ 431 w 431"/>
                  <a:gd name="T9" fmla="*/ 500 h 1006"/>
                </a:gdLst>
                <a:ahLst/>
                <a:cxnLst>
                  <a:cxn ang="0">
                    <a:pos x="T0" y="T1"/>
                  </a:cxn>
                  <a:cxn ang="0">
                    <a:pos x="T2" y="T3"/>
                  </a:cxn>
                  <a:cxn ang="0">
                    <a:pos x="T4" y="T5"/>
                  </a:cxn>
                  <a:cxn ang="0">
                    <a:pos x="T6" y="T7"/>
                  </a:cxn>
                  <a:cxn ang="0">
                    <a:pos x="T8" y="T9"/>
                  </a:cxn>
                </a:cxnLst>
                <a:rect l="0" t="0" r="r" b="b"/>
                <a:pathLst>
                  <a:path w="431" h="1006">
                    <a:moveTo>
                      <a:pt x="431" y="500"/>
                    </a:moveTo>
                    <a:lnTo>
                      <a:pt x="0" y="0"/>
                    </a:lnTo>
                    <a:lnTo>
                      <a:pt x="0" y="507"/>
                    </a:lnTo>
                    <a:lnTo>
                      <a:pt x="431" y="1006"/>
                    </a:lnTo>
                    <a:lnTo>
                      <a:pt x="431" y="500"/>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0" name="Freeform 7">
                <a:extLst>
                  <a:ext uri="{FF2B5EF4-FFF2-40B4-BE49-F238E27FC236}">
                    <a16:creationId xmlns:a16="http://schemas.microsoft.com/office/drawing/2014/main" xmlns="" id="{30A518D7-C517-46A6-B758-055E8D816E0D}"/>
                  </a:ext>
                </a:extLst>
              </p:cNvPr>
              <p:cNvSpPr>
                <a:spLocks/>
              </p:cNvSpPr>
              <p:nvPr/>
            </p:nvSpPr>
            <p:spPr bwMode="auto">
              <a:xfrm>
                <a:off x="10774771" y="2376847"/>
                <a:ext cx="1417229" cy="546349"/>
              </a:xfrm>
              <a:custGeom>
                <a:avLst/>
                <a:gdLst>
                  <a:gd name="T0" fmla="*/ 864 w 1297"/>
                  <a:gd name="T1" fmla="*/ 0 h 500"/>
                  <a:gd name="T2" fmla="*/ 0 w 1297"/>
                  <a:gd name="T3" fmla="*/ 0 h 500"/>
                  <a:gd name="T4" fmla="*/ 431 w 1297"/>
                  <a:gd name="T5" fmla="*/ 500 h 500"/>
                  <a:gd name="T6" fmla="*/ 1297 w 1297"/>
                  <a:gd name="T7" fmla="*/ 500 h 500"/>
                  <a:gd name="T8" fmla="*/ 864 w 1297"/>
                  <a:gd name="T9" fmla="*/ 0 h 500"/>
                </a:gdLst>
                <a:ahLst/>
                <a:cxnLst>
                  <a:cxn ang="0">
                    <a:pos x="T0" y="T1"/>
                  </a:cxn>
                  <a:cxn ang="0">
                    <a:pos x="T2" y="T3"/>
                  </a:cxn>
                  <a:cxn ang="0">
                    <a:pos x="T4" y="T5"/>
                  </a:cxn>
                  <a:cxn ang="0">
                    <a:pos x="T6" y="T7"/>
                  </a:cxn>
                  <a:cxn ang="0">
                    <a:pos x="T8" y="T9"/>
                  </a:cxn>
                </a:cxnLst>
                <a:rect l="0" t="0" r="r" b="b"/>
                <a:pathLst>
                  <a:path w="1297" h="500">
                    <a:moveTo>
                      <a:pt x="864" y="0"/>
                    </a:moveTo>
                    <a:lnTo>
                      <a:pt x="0" y="0"/>
                    </a:lnTo>
                    <a:lnTo>
                      <a:pt x="431" y="500"/>
                    </a:lnTo>
                    <a:lnTo>
                      <a:pt x="1297" y="500"/>
                    </a:lnTo>
                    <a:lnTo>
                      <a:pt x="864" y="0"/>
                    </a:lnTo>
                    <a:close/>
                  </a:path>
                </a:pathLst>
              </a:custGeom>
              <a:solidFill>
                <a:schemeClr val="accent5">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1" name="Freeform 8">
                <a:extLst>
                  <a:ext uri="{FF2B5EF4-FFF2-40B4-BE49-F238E27FC236}">
                    <a16:creationId xmlns:a16="http://schemas.microsoft.com/office/drawing/2014/main" xmlns="" id="{5C8C03DF-30A5-4C43-83F1-AEE54BBE510E}"/>
                  </a:ext>
                </a:extLst>
              </p:cNvPr>
              <p:cNvSpPr>
                <a:spLocks/>
              </p:cNvSpPr>
              <p:nvPr/>
            </p:nvSpPr>
            <p:spPr bwMode="auto">
              <a:xfrm>
                <a:off x="10774771" y="2641280"/>
                <a:ext cx="470953" cy="638135"/>
              </a:xfrm>
              <a:custGeom>
                <a:avLst/>
                <a:gdLst>
                  <a:gd name="T0" fmla="*/ 431 w 431"/>
                  <a:gd name="T1" fmla="*/ 499 h 584"/>
                  <a:gd name="T2" fmla="*/ 0 w 431"/>
                  <a:gd name="T3" fmla="*/ 0 h 584"/>
                  <a:gd name="T4" fmla="*/ 0 w 431"/>
                  <a:gd name="T5" fmla="*/ 85 h 584"/>
                  <a:gd name="T6" fmla="*/ 431 w 431"/>
                  <a:gd name="T7" fmla="*/ 584 h 584"/>
                  <a:gd name="T8" fmla="*/ 431 w 431"/>
                  <a:gd name="T9" fmla="*/ 499 h 584"/>
                </a:gdLst>
                <a:ahLst/>
                <a:cxnLst>
                  <a:cxn ang="0">
                    <a:pos x="T0" y="T1"/>
                  </a:cxn>
                  <a:cxn ang="0">
                    <a:pos x="T2" y="T3"/>
                  </a:cxn>
                  <a:cxn ang="0">
                    <a:pos x="T4" y="T5"/>
                  </a:cxn>
                  <a:cxn ang="0">
                    <a:pos x="T6" y="T7"/>
                  </a:cxn>
                  <a:cxn ang="0">
                    <a:pos x="T8" y="T9"/>
                  </a:cxn>
                </a:cxnLst>
                <a:rect l="0" t="0" r="r" b="b"/>
                <a:pathLst>
                  <a:path w="431" h="584">
                    <a:moveTo>
                      <a:pt x="431" y="499"/>
                    </a:moveTo>
                    <a:lnTo>
                      <a:pt x="0" y="0"/>
                    </a:lnTo>
                    <a:lnTo>
                      <a:pt x="0" y="85"/>
                    </a:lnTo>
                    <a:lnTo>
                      <a:pt x="431" y="584"/>
                    </a:lnTo>
                    <a:lnTo>
                      <a:pt x="431" y="499"/>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2" name="Freeform 9">
                <a:extLst>
                  <a:ext uri="{FF2B5EF4-FFF2-40B4-BE49-F238E27FC236}">
                    <a16:creationId xmlns:a16="http://schemas.microsoft.com/office/drawing/2014/main" xmlns="" id="{2D12E66A-A5D4-4EBC-A311-DE4140261C1D}"/>
                  </a:ext>
                </a:extLst>
              </p:cNvPr>
              <p:cNvSpPr>
                <a:spLocks/>
              </p:cNvSpPr>
              <p:nvPr/>
            </p:nvSpPr>
            <p:spPr bwMode="auto">
              <a:xfrm>
                <a:off x="11245724" y="3088193"/>
                <a:ext cx="640321" cy="289565"/>
              </a:xfrm>
              <a:custGeom>
                <a:avLst/>
                <a:gdLst>
                  <a:gd name="T0" fmla="*/ 0 w 586"/>
                  <a:gd name="T1" fmla="*/ 90 h 265"/>
                  <a:gd name="T2" fmla="*/ 419 w 586"/>
                  <a:gd name="T3" fmla="*/ 90 h 265"/>
                  <a:gd name="T4" fmla="*/ 419 w 586"/>
                  <a:gd name="T5" fmla="*/ 0 h 265"/>
                  <a:gd name="T6" fmla="*/ 586 w 586"/>
                  <a:gd name="T7" fmla="*/ 133 h 265"/>
                  <a:gd name="T8" fmla="*/ 419 w 586"/>
                  <a:gd name="T9" fmla="*/ 265 h 265"/>
                  <a:gd name="T10" fmla="*/ 419 w 586"/>
                  <a:gd name="T11" fmla="*/ 175 h 265"/>
                  <a:gd name="T12" fmla="*/ 0 w 586"/>
                  <a:gd name="T13" fmla="*/ 175 h 265"/>
                  <a:gd name="T14" fmla="*/ 0 w 586"/>
                  <a:gd name="T15" fmla="*/ 90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6" h="265">
                    <a:moveTo>
                      <a:pt x="0" y="90"/>
                    </a:moveTo>
                    <a:lnTo>
                      <a:pt x="419" y="90"/>
                    </a:lnTo>
                    <a:lnTo>
                      <a:pt x="419" y="0"/>
                    </a:lnTo>
                    <a:lnTo>
                      <a:pt x="586" y="133"/>
                    </a:lnTo>
                    <a:lnTo>
                      <a:pt x="419" y="265"/>
                    </a:lnTo>
                    <a:lnTo>
                      <a:pt x="419" y="175"/>
                    </a:lnTo>
                    <a:lnTo>
                      <a:pt x="0" y="175"/>
                    </a:lnTo>
                    <a:lnTo>
                      <a:pt x="0" y="90"/>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nvGrpSpPr>
            <p:cNvPr id="13" name="Group 11">
              <a:extLst>
                <a:ext uri="{FF2B5EF4-FFF2-40B4-BE49-F238E27FC236}">
                  <a16:creationId xmlns:a16="http://schemas.microsoft.com/office/drawing/2014/main" xmlns="" id="{B80F12E2-2ACA-477B-9DEE-1EE06C8AEAAF}"/>
                </a:ext>
              </a:extLst>
            </p:cNvPr>
            <p:cNvGrpSpPr/>
            <p:nvPr/>
          </p:nvGrpSpPr>
          <p:grpSpPr>
            <a:xfrm>
              <a:off x="8623641" y="2603880"/>
              <a:ext cx="1225860" cy="3396870"/>
              <a:chOff x="9828495" y="2930844"/>
              <a:chExt cx="1417229" cy="3927156"/>
            </a:xfrm>
          </p:grpSpPr>
          <p:sp>
            <p:nvSpPr>
              <p:cNvPr id="14" name="Rectangle 10">
                <a:extLst>
                  <a:ext uri="{FF2B5EF4-FFF2-40B4-BE49-F238E27FC236}">
                    <a16:creationId xmlns:a16="http://schemas.microsoft.com/office/drawing/2014/main" xmlns="" id="{B65FD1EA-4E01-43D0-9A90-E013EDAE8889}"/>
                  </a:ext>
                </a:extLst>
              </p:cNvPr>
              <p:cNvSpPr>
                <a:spLocks noChangeArrowheads="1"/>
              </p:cNvSpPr>
              <p:nvPr/>
            </p:nvSpPr>
            <p:spPr bwMode="auto">
              <a:xfrm>
                <a:off x="10301633" y="3476101"/>
                <a:ext cx="944091" cy="3381899"/>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5" name="Freeform 11">
                <a:extLst>
                  <a:ext uri="{FF2B5EF4-FFF2-40B4-BE49-F238E27FC236}">
                    <a16:creationId xmlns:a16="http://schemas.microsoft.com/office/drawing/2014/main" xmlns="" id="{C1CA792A-E041-4A2E-9B0E-2B951F8A825A}"/>
                  </a:ext>
                </a:extLst>
              </p:cNvPr>
              <p:cNvSpPr>
                <a:spLocks/>
              </p:cNvSpPr>
              <p:nvPr/>
            </p:nvSpPr>
            <p:spPr bwMode="auto">
              <a:xfrm>
                <a:off x="9828495" y="2930844"/>
                <a:ext cx="473138" cy="1098161"/>
              </a:xfrm>
              <a:custGeom>
                <a:avLst/>
                <a:gdLst>
                  <a:gd name="T0" fmla="*/ 433 w 433"/>
                  <a:gd name="T1" fmla="*/ 499 h 1005"/>
                  <a:gd name="T2" fmla="*/ 0 w 433"/>
                  <a:gd name="T3" fmla="*/ 0 h 1005"/>
                  <a:gd name="T4" fmla="*/ 0 w 433"/>
                  <a:gd name="T5" fmla="*/ 506 h 1005"/>
                  <a:gd name="T6" fmla="*/ 433 w 433"/>
                  <a:gd name="T7" fmla="*/ 1005 h 1005"/>
                  <a:gd name="T8" fmla="*/ 433 w 433"/>
                  <a:gd name="T9" fmla="*/ 499 h 1005"/>
                </a:gdLst>
                <a:ahLst/>
                <a:cxnLst>
                  <a:cxn ang="0">
                    <a:pos x="T0" y="T1"/>
                  </a:cxn>
                  <a:cxn ang="0">
                    <a:pos x="T2" y="T3"/>
                  </a:cxn>
                  <a:cxn ang="0">
                    <a:pos x="T4" y="T5"/>
                  </a:cxn>
                  <a:cxn ang="0">
                    <a:pos x="T6" y="T7"/>
                  </a:cxn>
                  <a:cxn ang="0">
                    <a:pos x="T8" y="T9"/>
                  </a:cxn>
                </a:cxnLst>
                <a:rect l="0" t="0" r="r" b="b"/>
                <a:pathLst>
                  <a:path w="433" h="1005">
                    <a:moveTo>
                      <a:pt x="433" y="499"/>
                    </a:moveTo>
                    <a:lnTo>
                      <a:pt x="0" y="0"/>
                    </a:lnTo>
                    <a:lnTo>
                      <a:pt x="0" y="506"/>
                    </a:lnTo>
                    <a:lnTo>
                      <a:pt x="433" y="1005"/>
                    </a:lnTo>
                    <a:lnTo>
                      <a:pt x="433" y="499"/>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6" name="Freeform 12">
                <a:extLst>
                  <a:ext uri="{FF2B5EF4-FFF2-40B4-BE49-F238E27FC236}">
                    <a16:creationId xmlns:a16="http://schemas.microsoft.com/office/drawing/2014/main" xmlns="" id="{BA597A82-79A6-4724-9D2C-CB315C79114F}"/>
                  </a:ext>
                </a:extLst>
              </p:cNvPr>
              <p:cNvSpPr>
                <a:spLocks/>
              </p:cNvSpPr>
              <p:nvPr/>
            </p:nvSpPr>
            <p:spPr bwMode="auto">
              <a:xfrm>
                <a:off x="9828495" y="2930844"/>
                <a:ext cx="1416136" cy="545256"/>
              </a:xfrm>
              <a:custGeom>
                <a:avLst/>
                <a:gdLst>
                  <a:gd name="T0" fmla="*/ 866 w 1297"/>
                  <a:gd name="T1" fmla="*/ 0 h 499"/>
                  <a:gd name="T2" fmla="*/ 0 w 1297"/>
                  <a:gd name="T3" fmla="*/ 0 h 499"/>
                  <a:gd name="T4" fmla="*/ 433 w 1297"/>
                  <a:gd name="T5" fmla="*/ 499 h 499"/>
                  <a:gd name="T6" fmla="*/ 1297 w 1297"/>
                  <a:gd name="T7" fmla="*/ 499 h 499"/>
                  <a:gd name="T8" fmla="*/ 866 w 1297"/>
                  <a:gd name="T9" fmla="*/ 0 h 499"/>
                </a:gdLst>
                <a:ahLst/>
                <a:cxnLst>
                  <a:cxn ang="0">
                    <a:pos x="T0" y="T1"/>
                  </a:cxn>
                  <a:cxn ang="0">
                    <a:pos x="T2" y="T3"/>
                  </a:cxn>
                  <a:cxn ang="0">
                    <a:pos x="T4" y="T5"/>
                  </a:cxn>
                  <a:cxn ang="0">
                    <a:pos x="T6" y="T7"/>
                  </a:cxn>
                  <a:cxn ang="0">
                    <a:pos x="T8" y="T9"/>
                  </a:cxn>
                </a:cxnLst>
                <a:rect l="0" t="0" r="r" b="b"/>
                <a:pathLst>
                  <a:path w="1297" h="499">
                    <a:moveTo>
                      <a:pt x="866" y="0"/>
                    </a:moveTo>
                    <a:lnTo>
                      <a:pt x="0" y="0"/>
                    </a:lnTo>
                    <a:lnTo>
                      <a:pt x="433" y="499"/>
                    </a:lnTo>
                    <a:lnTo>
                      <a:pt x="1297" y="499"/>
                    </a:lnTo>
                    <a:lnTo>
                      <a:pt x="866" y="0"/>
                    </a:lnTo>
                    <a:close/>
                  </a:path>
                </a:pathLst>
              </a:cu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7" name="Freeform 13">
                <a:extLst>
                  <a:ext uri="{FF2B5EF4-FFF2-40B4-BE49-F238E27FC236}">
                    <a16:creationId xmlns:a16="http://schemas.microsoft.com/office/drawing/2014/main" xmlns="" id="{82941A69-6662-416F-91A9-4797C79E97BD}"/>
                  </a:ext>
                </a:extLst>
              </p:cNvPr>
              <p:cNvSpPr>
                <a:spLocks/>
              </p:cNvSpPr>
              <p:nvPr/>
            </p:nvSpPr>
            <p:spPr bwMode="auto">
              <a:xfrm>
                <a:off x="9828495" y="3194185"/>
                <a:ext cx="473138" cy="638135"/>
              </a:xfrm>
              <a:custGeom>
                <a:avLst/>
                <a:gdLst>
                  <a:gd name="T0" fmla="*/ 433 w 433"/>
                  <a:gd name="T1" fmla="*/ 499 h 584"/>
                  <a:gd name="T2" fmla="*/ 0 w 433"/>
                  <a:gd name="T3" fmla="*/ 0 h 584"/>
                  <a:gd name="T4" fmla="*/ 0 w 433"/>
                  <a:gd name="T5" fmla="*/ 88 h 584"/>
                  <a:gd name="T6" fmla="*/ 433 w 433"/>
                  <a:gd name="T7" fmla="*/ 584 h 584"/>
                  <a:gd name="T8" fmla="*/ 433 w 433"/>
                  <a:gd name="T9" fmla="*/ 499 h 584"/>
                </a:gdLst>
                <a:ahLst/>
                <a:cxnLst>
                  <a:cxn ang="0">
                    <a:pos x="T0" y="T1"/>
                  </a:cxn>
                  <a:cxn ang="0">
                    <a:pos x="T2" y="T3"/>
                  </a:cxn>
                  <a:cxn ang="0">
                    <a:pos x="T4" y="T5"/>
                  </a:cxn>
                  <a:cxn ang="0">
                    <a:pos x="T6" y="T7"/>
                  </a:cxn>
                  <a:cxn ang="0">
                    <a:pos x="T8" y="T9"/>
                  </a:cxn>
                </a:cxnLst>
                <a:rect l="0" t="0" r="r" b="b"/>
                <a:pathLst>
                  <a:path w="433" h="584">
                    <a:moveTo>
                      <a:pt x="433" y="499"/>
                    </a:moveTo>
                    <a:lnTo>
                      <a:pt x="0" y="0"/>
                    </a:lnTo>
                    <a:lnTo>
                      <a:pt x="0" y="88"/>
                    </a:lnTo>
                    <a:lnTo>
                      <a:pt x="433" y="584"/>
                    </a:lnTo>
                    <a:lnTo>
                      <a:pt x="433" y="499"/>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8" name="Freeform 14">
                <a:extLst>
                  <a:ext uri="{FF2B5EF4-FFF2-40B4-BE49-F238E27FC236}">
                    <a16:creationId xmlns:a16="http://schemas.microsoft.com/office/drawing/2014/main" xmlns="" id="{1D674CDE-6C74-40E3-8154-5BA0AA765FB2}"/>
                  </a:ext>
                </a:extLst>
              </p:cNvPr>
              <p:cNvSpPr>
                <a:spLocks/>
              </p:cNvSpPr>
              <p:nvPr/>
            </p:nvSpPr>
            <p:spPr bwMode="auto">
              <a:xfrm>
                <a:off x="10301633" y="3641098"/>
                <a:ext cx="641414" cy="289565"/>
              </a:xfrm>
              <a:custGeom>
                <a:avLst/>
                <a:gdLst>
                  <a:gd name="T0" fmla="*/ 0 w 587"/>
                  <a:gd name="T1" fmla="*/ 90 h 265"/>
                  <a:gd name="T2" fmla="*/ 419 w 587"/>
                  <a:gd name="T3" fmla="*/ 90 h 265"/>
                  <a:gd name="T4" fmla="*/ 419 w 587"/>
                  <a:gd name="T5" fmla="*/ 0 h 265"/>
                  <a:gd name="T6" fmla="*/ 587 w 587"/>
                  <a:gd name="T7" fmla="*/ 133 h 265"/>
                  <a:gd name="T8" fmla="*/ 419 w 587"/>
                  <a:gd name="T9" fmla="*/ 265 h 265"/>
                  <a:gd name="T10" fmla="*/ 419 w 587"/>
                  <a:gd name="T11" fmla="*/ 175 h 265"/>
                  <a:gd name="T12" fmla="*/ 0 w 587"/>
                  <a:gd name="T13" fmla="*/ 175 h 265"/>
                  <a:gd name="T14" fmla="*/ 0 w 587"/>
                  <a:gd name="T15" fmla="*/ 90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265">
                    <a:moveTo>
                      <a:pt x="0" y="90"/>
                    </a:moveTo>
                    <a:lnTo>
                      <a:pt x="419" y="90"/>
                    </a:lnTo>
                    <a:lnTo>
                      <a:pt x="419" y="0"/>
                    </a:lnTo>
                    <a:lnTo>
                      <a:pt x="587" y="133"/>
                    </a:lnTo>
                    <a:lnTo>
                      <a:pt x="419" y="265"/>
                    </a:lnTo>
                    <a:lnTo>
                      <a:pt x="419" y="175"/>
                    </a:lnTo>
                    <a:lnTo>
                      <a:pt x="0" y="175"/>
                    </a:lnTo>
                    <a:lnTo>
                      <a:pt x="0" y="90"/>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nvGrpSpPr>
            <p:cNvPr id="19" name="Group 17">
              <a:extLst>
                <a:ext uri="{FF2B5EF4-FFF2-40B4-BE49-F238E27FC236}">
                  <a16:creationId xmlns:a16="http://schemas.microsoft.com/office/drawing/2014/main" xmlns="" id="{CEBBA313-CEA0-408A-9588-5203803B9062}"/>
                </a:ext>
              </a:extLst>
            </p:cNvPr>
            <p:cNvGrpSpPr/>
            <p:nvPr/>
          </p:nvGrpSpPr>
          <p:grpSpPr>
            <a:xfrm>
              <a:off x="7807976" y="3082127"/>
              <a:ext cx="1224914" cy="2918624"/>
              <a:chOff x="8885497" y="3483749"/>
              <a:chExt cx="1416136" cy="3374251"/>
            </a:xfrm>
          </p:grpSpPr>
          <p:sp>
            <p:nvSpPr>
              <p:cNvPr id="20" name="Freeform 15">
                <a:extLst>
                  <a:ext uri="{FF2B5EF4-FFF2-40B4-BE49-F238E27FC236}">
                    <a16:creationId xmlns:a16="http://schemas.microsoft.com/office/drawing/2014/main" xmlns="" id="{0BDB0BE3-0FD7-4BE3-8990-6AF59C4CABB3}"/>
                  </a:ext>
                </a:extLst>
              </p:cNvPr>
              <p:cNvSpPr>
                <a:spLocks/>
              </p:cNvSpPr>
              <p:nvPr/>
            </p:nvSpPr>
            <p:spPr bwMode="auto">
              <a:xfrm>
                <a:off x="8885497" y="3483749"/>
                <a:ext cx="473138" cy="1099254"/>
              </a:xfrm>
              <a:custGeom>
                <a:avLst/>
                <a:gdLst>
                  <a:gd name="T0" fmla="*/ 433 w 433"/>
                  <a:gd name="T1" fmla="*/ 499 h 1006"/>
                  <a:gd name="T2" fmla="*/ 0 w 433"/>
                  <a:gd name="T3" fmla="*/ 0 h 1006"/>
                  <a:gd name="T4" fmla="*/ 0 w 433"/>
                  <a:gd name="T5" fmla="*/ 506 h 1006"/>
                  <a:gd name="T6" fmla="*/ 433 w 433"/>
                  <a:gd name="T7" fmla="*/ 1006 h 1006"/>
                  <a:gd name="T8" fmla="*/ 433 w 433"/>
                  <a:gd name="T9" fmla="*/ 499 h 1006"/>
                </a:gdLst>
                <a:ahLst/>
                <a:cxnLst>
                  <a:cxn ang="0">
                    <a:pos x="T0" y="T1"/>
                  </a:cxn>
                  <a:cxn ang="0">
                    <a:pos x="T2" y="T3"/>
                  </a:cxn>
                  <a:cxn ang="0">
                    <a:pos x="T4" y="T5"/>
                  </a:cxn>
                  <a:cxn ang="0">
                    <a:pos x="T6" y="T7"/>
                  </a:cxn>
                  <a:cxn ang="0">
                    <a:pos x="T8" y="T9"/>
                  </a:cxn>
                </a:cxnLst>
                <a:rect l="0" t="0" r="r" b="b"/>
                <a:pathLst>
                  <a:path w="433" h="1006">
                    <a:moveTo>
                      <a:pt x="433" y="499"/>
                    </a:moveTo>
                    <a:lnTo>
                      <a:pt x="0" y="0"/>
                    </a:lnTo>
                    <a:lnTo>
                      <a:pt x="0" y="506"/>
                    </a:lnTo>
                    <a:lnTo>
                      <a:pt x="433" y="1006"/>
                    </a:lnTo>
                    <a:lnTo>
                      <a:pt x="433" y="499"/>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nvGrpSpPr>
              <p:cNvPr id="21" name="Group 19">
                <a:extLst>
                  <a:ext uri="{FF2B5EF4-FFF2-40B4-BE49-F238E27FC236}">
                    <a16:creationId xmlns:a16="http://schemas.microsoft.com/office/drawing/2014/main" xmlns="" id="{950D3CBA-BAFF-47ED-BD92-E3FB2D06A96A}"/>
                  </a:ext>
                </a:extLst>
              </p:cNvPr>
              <p:cNvGrpSpPr/>
              <p:nvPr/>
            </p:nvGrpSpPr>
            <p:grpSpPr>
              <a:xfrm>
                <a:off x="8885497" y="3483749"/>
                <a:ext cx="1416136" cy="3374251"/>
                <a:chOff x="8885497" y="3483749"/>
                <a:chExt cx="1416136" cy="3374251"/>
              </a:xfrm>
            </p:grpSpPr>
            <p:sp>
              <p:nvSpPr>
                <p:cNvPr id="22" name="Rectangle 16">
                  <a:extLst>
                    <a:ext uri="{FF2B5EF4-FFF2-40B4-BE49-F238E27FC236}">
                      <a16:creationId xmlns:a16="http://schemas.microsoft.com/office/drawing/2014/main" xmlns="" id="{DC6644B0-05BC-4546-A5C6-8E6FA650A1EF}"/>
                    </a:ext>
                  </a:extLst>
                </p:cNvPr>
                <p:cNvSpPr>
                  <a:spLocks noChangeArrowheads="1"/>
                </p:cNvSpPr>
                <p:nvPr/>
              </p:nvSpPr>
              <p:spPr bwMode="auto">
                <a:xfrm>
                  <a:off x="9358635" y="4029006"/>
                  <a:ext cx="942998" cy="2828994"/>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3" name="Freeform 17">
                  <a:extLst>
                    <a:ext uri="{FF2B5EF4-FFF2-40B4-BE49-F238E27FC236}">
                      <a16:creationId xmlns:a16="http://schemas.microsoft.com/office/drawing/2014/main" xmlns="" id="{9BE47E6B-2AB8-48AB-85F1-172B22FF06FA}"/>
                    </a:ext>
                  </a:extLst>
                </p:cNvPr>
                <p:cNvSpPr>
                  <a:spLocks/>
                </p:cNvSpPr>
                <p:nvPr/>
              </p:nvSpPr>
              <p:spPr bwMode="auto">
                <a:xfrm>
                  <a:off x="8885497" y="3483749"/>
                  <a:ext cx="1416136" cy="545256"/>
                </a:xfrm>
                <a:custGeom>
                  <a:avLst/>
                  <a:gdLst>
                    <a:gd name="T0" fmla="*/ 863 w 1296"/>
                    <a:gd name="T1" fmla="*/ 0 h 499"/>
                    <a:gd name="T2" fmla="*/ 0 w 1296"/>
                    <a:gd name="T3" fmla="*/ 0 h 499"/>
                    <a:gd name="T4" fmla="*/ 433 w 1296"/>
                    <a:gd name="T5" fmla="*/ 499 h 499"/>
                    <a:gd name="T6" fmla="*/ 1296 w 1296"/>
                    <a:gd name="T7" fmla="*/ 499 h 499"/>
                    <a:gd name="T8" fmla="*/ 863 w 1296"/>
                    <a:gd name="T9" fmla="*/ 0 h 499"/>
                  </a:gdLst>
                  <a:ahLst/>
                  <a:cxnLst>
                    <a:cxn ang="0">
                      <a:pos x="T0" y="T1"/>
                    </a:cxn>
                    <a:cxn ang="0">
                      <a:pos x="T2" y="T3"/>
                    </a:cxn>
                    <a:cxn ang="0">
                      <a:pos x="T4" y="T5"/>
                    </a:cxn>
                    <a:cxn ang="0">
                      <a:pos x="T6" y="T7"/>
                    </a:cxn>
                    <a:cxn ang="0">
                      <a:pos x="T8" y="T9"/>
                    </a:cxn>
                  </a:cxnLst>
                  <a:rect l="0" t="0" r="r" b="b"/>
                  <a:pathLst>
                    <a:path w="1296" h="499">
                      <a:moveTo>
                        <a:pt x="863" y="0"/>
                      </a:moveTo>
                      <a:lnTo>
                        <a:pt x="0" y="0"/>
                      </a:lnTo>
                      <a:lnTo>
                        <a:pt x="433" y="499"/>
                      </a:lnTo>
                      <a:lnTo>
                        <a:pt x="1296" y="499"/>
                      </a:lnTo>
                      <a:lnTo>
                        <a:pt x="863" y="0"/>
                      </a:lnTo>
                      <a:close/>
                    </a:path>
                  </a:pathLst>
                </a:cu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4" name="Freeform 18">
                  <a:extLst>
                    <a:ext uri="{FF2B5EF4-FFF2-40B4-BE49-F238E27FC236}">
                      <a16:creationId xmlns:a16="http://schemas.microsoft.com/office/drawing/2014/main" xmlns="" id="{26A92074-C0C7-4647-8675-F019A728A7D4}"/>
                    </a:ext>
                  </a:extLst>
                </p:cNvPr>
                <p:cNvSpPr>
                  <a:spLocks/>
                </p:cNvSpPr>
                <p:nvPr/>
              </p:nvSpPr>
              <p:spPr bwMode="auto">
                <a:xfrm>
                  <a:off x="8885497" y="3747090"/>
                  <a:ext cx="473138" cy="641413"/>
                </a:xfrm>
                <a:custGeom>
                  <a:avLst/>
                  <a:gdLst>
                    <a:gd name="T0" fmla="*/ 433 w 433"/>
                    <a:gd name="T1" fmla="*/ 500 h 587"/>
                    <a:gd name="T2" fmla="*/ 0 w 433"/>
                    <a:gd name="T3" fmla="*/ 0 h 587"/>
                    <a:gd name="T4" fmla="*/ 0 w 433"/>
                    <a:gd name="T5" fmla="*/ 88 h 587"/>
                    <a:gd name="T6" fmla="*/ 433 w 433"/>
                    <a:gd name="T7" fmla="*/ 587 h 587"/>
                    <a:gd name="T8" fmla="*/ 433 w 433"/>
                    <a:gd name="T9" fmla="*/ 500 h 587"/>
                  </a:gdLst>
                  <a:ahLst/>
                  <a:cxnLst>
                    <a:cxn ang="0">
                      <a:pos x="T0" y="T1"/>
                    </a:cxn>
                    <a:cxn ang="0">
                      <a:pos x="T2" y="T3"/>
                    </a:cxn>
                    <a:cxn ang="0">
                      <a:pos x="T4" y="T5"/>
                    </a:cxn>
                    <a:cxn ang="0">
                      <a:pos x="T6" y="T7"/>
                    </a:cxn>
                    <a:cxn ang="0">
                      <a:pos x="T8" y="T9"/>
                    </a:cxn>
                  </a:cxnLst>
                  <a:rect l="0" t="0" r="r" b="b"/>
                  <a:pathLst>
                    <a:path w="433" h="587">
                      <a:moveTo>
                        <a:pt x="433" y="500"/>
                      </a:moveTo>
                      <a:lnTo>
                        <a:pt x="0" y="0"/>
                      </a:lnTo>
                      <a:lnTo>
                        <a:pt x="0" y="88"/>
                      </a:lnTo>
                      <a:lnTo>
                        <a:pt x="433" y="587"/>
                      </a:lnTo>
                      <a:lnTo>
                        <a:pt x="433" y="500"/>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5" name="Freeform 19">
                  <a:extLst>
                    <a:ext uri="{FF2B5EF4-FFF2-40B4-BE49-F238E27FC236}">
                      <a16:creationId xmlns:a16="http://schemas.microsoft.com/office/drawing/2014/main" xmlns="" id="{9A1CB92F-FB80-4872-A943-DA22E0DA9A25}"/>
                    </a:ext>
                  </a:extLst>
                </p:cNvPr>
                <p:cNvSpPr>
                  <a:spLocks/>
                </p:cNvSpPr>
                <p:nvPr/>
              </p:nvSpPr>
              <p:spPr bwMode="auto">
                <a:xfrm>
                  <a:off x="9358635" y="4195096"/>
                  <a:ext cx="640321" cy="289565"/>
                </a:xfrm>
                <a:custGeom>
                  <a:avLst/>
                  <a:gdLst>
                    <a:gd name="T0" fmla="*/ 0 w 586"/>
                    <a:gd name="T1" fmla="*/ 90 h 265"/>
                    <a:gd name="T2" fmla="*/ 419 w 586"/>
                    <a:gd name="T3" fmla="*/ 90 h 265"/>
                    <a:gd name="T4" fmla="*/ 419 w 586"/>
                    <a:gd name="T5" fmla="*/ 0 h 265"/>
                    <a:gd name="T6" fmla="*/ 586 w 586"/>
                    <a:gd name="T7" fmla="*/ 132 h 265"/>
                    <a:gd name="T8" fmla="*/ 419 w 586"/>
                    <a:gd name="T9" fmla="*/ 265 h 265"/>
                    <a:gd name="T10" fmla="*/ 419 w 586"/>
                    <a:gd name="T11" fmla="*/ 177 h 265"/>
                    <a:gd name="T12" fmla="*/ 0 w 586"/>
                    <a:gd name="T13" fmla="*/ 177 h 265"/>
                    <a:gd name="T14" fmla="*/ 0 w 586"/>
                    <a:gd name="T15" fmla="*/ 90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6" h="265">
                      <a:moveTo>
                        <a:pt x="0" y="90"/>
                      </a:moveTo>
                      <a:lnTo>
                        <a:pt x="419" y="90"/>
                      </a:lnTo>
                      <a:lnTo>
                        <a:pt x="419" y="0"/>
                      </a:lnTo>
                      <a:lnTo>
                        <a:pt x="586" y="132"/>
                      </a:lnTo>
                      <a:lnTo>
                        <a:pt x="419" y="265"/>
                      </a:lnTo>
                      <a:lnTo>
                        <a:pt x="419" y="177"/>
                      </a:lnTo>
                      <a:lnTo>
                        <a:pt x="0" y="177"/>
                      </a:lnTo>
                      <a:lnTo>
                        <a:pt x="0" y="90"/>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grpSp>
          <p:nvGrpSpPr>
            <p:cNvPr id="26" name="Group 24">
              <a:extLst>
                <a:ext uri="{FF2B5EF4-FFF2-40B4-BE49-F238E27FC236}">
                  <a16:creationId xmlns:a16="http://schemas.microsoft.com/office/drawing/2014/main" xmlns="" id="{A4ADFB4F-842B-435C-88D4-278F40BADDF0}"/>
                </a:ext>
              </a:extLst>
            </p:cNvPr>
            <p:cNvGrpSpPr/>
            <p:nvPr/>
          </p:nvGrpSpPr>
          <p:grpSpPr>
            <a:xfrm>
              <a:off x="6991367" y="3560372"/>
              <a:ext cx="1225860" cy="2440378"/>
              <a:chOff x="7941407" y="4036654"/>
              <a:chExt cx="1417229" cy="2821346"/>
            </a:xfrm>
          </p:grpSpPr>
          <p:sp>
            <p:nvSpPr>
              <p:cNvPr id="27" name="Rectangle 25">
                <a:extLst>
                  <a:ext uri="{FF2B5EF4-FFF2-40B4-BE49-F238E27FC236}">
                    <a16:creationId xmlns:a16="http://schemas.microsoft.com/office/drawing/2014/main" xmlns="" id="{9E7E9C30-79E5-47E0-BEA6-81E5495A8824}"/>
                  </a:ext>
                </a:extLst>
              </p:cNvPr>
              <p:cNvSpPr>
                <a:spLocks noChangeArrowheads="1"/>
              </p:cNvSpPr>
              <p:nvPr/>
            </p:nvSpPr>
            <p:spPr bwMode="auto">
              <a:xfrm>
                <a:off x="8412359" y="4583003"/>
                <a:ext cx="946276" cy="2274997"/>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8" name="Freeform 26">
                <a:extLst>
                  <a:ext uri="{FF2B5EF4-FFF2-40B4-BE49-F238E27FC236}">
                    <a16:creationId xmlns:a16="http://schemas.microsoft.com/office/drawing/2014/main" xmlns="" id="{D46DC584-F5E5-4717-A1E9-71CEF1B69922}"/>
                  </a:ext>
                </a:extLst>
              </p:cNvPr>
              <p:cNvSpPr>
                <a:spLocks/>
              </p:cNvSpPr>
              <p:nvPr/>
            </p:nvSpPr>
            <p:spPr bwMode="auto">
              <a:xfrm>
                <a:off x="7941407" y="4036654"/>
                <a:ext cx="470953" cy="1099254"/>
              </a:xfrm>
              <a:custGeom>
                <a:avLst/>
                <a:gdLst>
                  <a:gd name="T0" fmla="*/ 431 w 431"/>
                  <a:gd name="T1" fmla="*/ 500 h 1006"/>
                  <a:gd name="T2" fmla="*/ 0 w 431"/>
                  <a:gd name="T3" fmla="*/ 0 h 1006"/>
                  <a:gd name="T4" fmla="*/ 0 w 431"/>
                  <a:gd name="T5" fmla="*/ 507 h 1006"/>
                  <a:gd name="T6" fmla="*/ 431 w 431"/>
                  <a:gd name="T7" fmla="*/ 1006 h 1006"/>
                  <a:gd name="T8" fmla="*/ 431 w 431"/>
                  <a:gd name="T9" fmla="*/ 500 h 1006"/>
                </a:gdLst>
                <a:ahLst/>
                <a:cxnLst>
                  <a:cxn ang="0">
                    <a:pos x="T0" y="T1"/>
                  </a:cxn>
                  <a:cxn ang="0">
                    <a:pos x="T2" y="T3"/>
                  </a:cxn>
                  <a:cxn ang="0">
                    <a:pos x="T4" y="T5"/>
                  </a:cxn>
                  <a:cxn ang="0">
                    <a:pos x="T6" y="T7"/>
                  </a:cxn>
                  <a:cxn ang="0">
                    <a:pos x="T8" y="T9"/>
                  </a:cxn>
                </a:cxnLst>
                <a:rect l="0" t="0" r="r" b="b"/>
                <a:pathLst>
                  <a:path w="431" h="1006">
                    <a:moveTo>
                      <a:pt x="431" y="500"/>
                    </a:moveTo>
                    <a:lnTo>
                      <a:pt x="0" y="0"/>
                    </a:lnTo>
                    <a:lnTo>
                      <a:pt x="0" y="507"/>
                    </a:lnTo>
                    <a:lnTo>
                      <a:pt x="431" y="1006"/>
                    </a:lnTo>
                    <a:lnTo>
                      <a:pt x="431" y="500"/>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9" name="Freeform 27">
                <a:extLst>
                  <a:ext uri="{FF2B5EF4-FFF2-40B4-BE49-F238E27FC236}">
                    <a16:creationId xmlns:a16="http://schemas.microsoft.com/office/drawing/2014/main" xmlns="" id="{58FB4500-EF8E-407D-841E-81FFB94415BF}"/>
                  </a:ext>
                </a:extLst>
              </p:cNvPr>
              <p:cNvSpPr>
                <a:spLocks/>
              </p:cNvSpPr>
              <p:nvPr/>
            </p:nvSpPr>
            <p:spPr bwMode="auto">
              <a:xfrm>
                <a:off x="7941407" y="4036654"/>
                <a:ext cx="1417229" cy="546349"/>
              </a:xfrm>
              <a:custGeom>
                <a:avLst/>
                <a:gdLst>
                  <a:gd name="T0" fmla="*/ 864 w 1297"/>
                  <a:gd name="T1" fmla="*/ 0 h 500"/>
                  <a:gd name="T2" fmla="*/ 0 w 1297"/>
                  <a:gd name="T3" fmla="*/ 0 h 500"/>
                  <a:gd name="T4" fmla="*/ 431 w 1297"/>
                  <a:gd name="T5" fmla="*/ 500 h 500"/>
                  <a:gd name="T6" fmla="*/ 1297 w 1297"/>
                  <a:gd name="T7" fmla="*/ 500 h 500"/>
                  <a:gd name="T8" fmla="*/ 864 w 1297"/>
                  <a:gd name="T9" fmla="*/ 0 h 500"/>
                </a:gdLst>
                <a:ahLst/>
                <a:cxnLst>
                  <a:cxn ang="0">
                    <a:pos x="T0" y="T1"/>
                  </a:cxn>
                  <a:cxn ang="0">
                    <a:pos x="T2" y="T3"/>
                  </a:cxn>
                  <a:cxn ang="0">
                    <a:pos x="T4" y="T5"/>
                  </a:cxn>
                  <a:cxn ang="0">
                    <a:pos x="T6" y="T7"/>
                  </a:cxn>
                  <a:cxn ang="0">
                    <a:pos x="T8" y="T9"/>
                  </a:cxn>
                </a:cxnLst>
                <a:rect l="0" t="0" r="r" b="b"/>
                <a:pathLst>
                  <a:path w="1297" h="500">
                    <a:moveTo>
                      <a:pt x="864" y="0"/>
                    </a:moveTo>
                    <a:lnTo>
                      <a:pt x="0" y="0"/>
                    </a:lnTo>
                    <a:lnTo>
                      <a:pt x="431" y="500"/>
                    </a:lnTo>
                    <a:lnTo>
                      <a:pt x="1297" y="500"/>
                    </a:lnTo>
                    <a:lnTo>
                      <a:pt x="864" y="0"/>
                    </a:lnTo>
                    <a:close/>
                  </a:path>
                </a:pathLst>
              </a:custGeom>
              <a:solidFill>
                <a:schemeClr val="accent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0" name="Freeform 28">
                <a:extLst>
                  <a:ext uri="{FF2B5EF4-FFF2-40B4-BE49-F238E27FC236}">
                    <a16:creationId xmlns:a16="http://schemas.microsoft.com/office/drawing/2014/main" xmlns="" id="{961EC63C-C9FF-4C3E-8C78-006AED2A2674}"/>
                  </a:ext>
                </a:extLst>
              </p:cNvPr>
              <p:cNvSpPr>
                <a:spLocks/>
              </p:cNvSpPr>
              <p:nvPr/>
            </p:nvSpPr>
            <p:spPr bwMode="auto">
              <a:xfrm>
                <a:off x="7941407" y="4301087"/>
                <a:ext cx="470953" cy="641413"/>
              </a:xfrm>
              <a:custGeom>
                <a:avLst/>
                <a:gdLst>
                  <a:gd name="T0" fmla="*/ 431 w 431"/>
                  <a:gd name="T1" fmla="*/ 499 h 587"/>
                  <a:gd name="T2" fmla="*/ 0 w 431"/>
                  <a:gd name="T3" fmla="*/ 0 h 587"/>
                  <a:gd name="T4" fmla="*/ 0 w 431"/>
                  <a:gd name="T5" fmla="*/ 87 h 587"/>
                  <a:gd name="T6" fmla="*/ 431 w 431"/>
                  <a:gd name="T7" fmla="*/ 587 h 587"/>
                  <a:gd name="T8" fmla="*/ 431 w 431"/>
                  <a:gd name="T9" fmla="*/ 499 h 587"/>
                </a:gdLst>
                <a:ahLst/>
                <a:cxnLst>
                  <a:cxn ang="0">
                    <a:pos x="T0" y="T1"/>
                  </a:cxn>
                  <a:cxn ang="0">
                    <a:pos x="T2" y="T3"/>
                  </a:cxn>
                  <a:cxn ang="0">
                    <a:pos x="T4" y="T5"/>
                  </a:cxn>
                  <a:cxn ang="0">
                    <a:pos x="T6" y="T7"/>
                  </a:cxn>
                  <a:cxn ang="0">
                    <a:pos x="T8" y="T9"/>
                  </a:cxn>
                </a:cxnLst>
                <a:rect l="0" t="0" r="r" b="b"/>
                <a:pathLst>
                  <a:path w="431" h="587">
                    <a:moveTo>
                      <a:pt x="431" y="499"/>
                    </a:moveTo>
                    <a:lnTo>
                      <a:pt x="0" y="0"/>
                    </a:lnTo>
                    <a:lnTo>
                      <a:pt x="0" y="87"/>
                    </a:lnTo>
                    <a:lnTo>
                      <a:pt x="431" y="587"/>
                    </a:lnTo>
                    <a:lnTo>
                      <a:pt x="431" y="499"/>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1" name="Freeform 29">
                <a:extLst>
                  <a:ext uri="{FF2B5EF4-FFF2-40B4-BE49-F238E27FC236}">
                    <a16:creationId xmlns:a16="http://schemas.microsoft.com/office/drawing/2014/main" xmlns="" id="{94D5DD0C-E32A-4A55-B1D1-EBAAB0494944}"/>
                  </a:ext>
                </a:extLst>
              </p:cNvPr>
              <p:cNvSpPr>
                <a:spLocks/>
              </p:cNvSpPr>
              <p:nvPr/>
            </p:nvSpPr>
            <p:spPr bwMode="auto">
              <a:xfrm>
                <a:off x="8412359" y="4750186"/>
                <a:ext cx="641414" cy="287379"/>
              </a:xfrm>
              <a:custGeom>
                <a:avLst/>
                <a:gdLst>
                  <a:gd name="T0" fmla="*/ 0 w 587"/>
                  <a:gd name="T1" fmla="*/ 88 h 263"/>
                  <a:gd name="T2" fmla="*/ 419 w 587"/>
                  <a:gd name="T3" fmla="*/ 88 h 263"/>
                  <a:gd name="T4" fmla="*/ 419 w 587"/>
                  <a:gd name="T5" fmla="*/ 0 h 263"/>
                  <a:gd name="T6" fmla="*/ 587 w 587"/>
                  <a:gd name="T7" fmla="*/ 131 h 263"/>
                  <a:gd name="T8" fmla="*/ 419 w 587"/>
                  <a:gd name="T9" fmla="*/ 263 h 263"/>
                  <a:gd name="T10" fmla="*/ 419 w 587"/>
                  <a:gd name="T11" fmla="*/ 176 h 263"/>
                  <a:gd name="T12" fmla="*/ 0 w 587"/>
                  <a:gd name="T13" fmla="*/ 176 h 263"/>
                  <a:gd name="T14" fmla="*/ 0 w 587"/>
                  <a:gd name="T15" fmla="*/ 88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263">
                    <a:moveTo>
                      <a:pt x="0" y="88"/>
                    </a:moveTo>
                    <a:lnTo>
                      <a:pt x="419" y="88"/>
                    </a:lnTo>
                    <a:lnTo>
                      <a:pt x="419" y="0"/>
                    </a:lnTo>
                    <a:lnTo>
                      <a:pt x="587" y="131"/>
                    </a:lnTo>
                    <a:lnTo>
                      <a:pt x="419" y="263"/>
                    </a:lnTo>
                    <a:lnTo>
                      <a:pt x="419" y="176"/>
                    </a:lnTo>
                    <a:lnTo>
                      <a:pt x="0" y="176"/>
                    </a:lnTo>
                    <a:lnTo>
                      <a:pt x="0" y="88"/>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nvGrpSpPr>
            <p:cNvPr id="32" name="Group 65">
              <a:extLst>
                <a:ext uri="{FF2B5EF4-FFF2-40B4-BE49-F238E27FC236}">
                  <a16:creationId xmlns:a16="http://schemas.microsoft.com/office/drawing/2014/main" xmlns="" id="{DA767755-4FFB-4E98-A4FA-841DF0326E35}"/>
                </a:ext>
              </a:extLst>
            </p:cNvPr>
            <p:cNvGrpSpPr/>
            <p:nvPr/>
          </p:nvGrpSpPr>
          <p:grpSpPr>
            <a:xfrm>
              <a:off x="6173812" y="4039565"/>
              <a:ext cx="1224914" cy="1961186"/>
              <a:chOff x="6996223" y="4590653"/>
              <a:chExt cx="1416136" cy="2267347"/>
            </a:xfrm>
          </p:grpSpPr>
          <p:sp>
            <p:nvSpPr>
              <p:cNvPr id="33" name="Freeform 20">
                <a:extLst>
                  <a:ext uri="{FF2B5EF4-FFF2-40B4-BE49-F238E27FC236}">
                    <a16:creationId xmlns:a16="http://schemas.microsoft.com/office/drawing/2014/main" xmlns="" id="{C761C361-4D0D-4B13-825D-29BC30A70923}"/>
                  </a:ext>
                </a:extLst>
              </p:cNvPr>
              <p:cNvSpPr>
                <a:spLocks/>
              </p:cNvSpPr>
              <p:nvPr/>
            </p:nvSpPr>
            <p:spPr bwMode="auto">
              <a:xfrm>
                <a:off x="6996223" y="4590653"/>
                <a:ext cx="1416136" cy="545256"/>
              </a:xfrm>
              <a:custGeom>
                <a:avLst/>
                <a:gdLst>
                  <a:gd name="T0" fmla="*/ 865 w 1296"/>
                  <a:gd name="T1" fmla="*/ 0 h 499"/>
                  <a:gd name="T2" fmla="*/ 0 w 1296"/>
                  <a:gd name="T3" fmla="*/ 0 h 499"/>
                  <a:gd name="T4" fmla="*/ 432 w 1296"/>
                  <a:gd name="T5" fmla="*/ 499 h 499"/>
                  <a:gd name="T6" fmla="*/ 1296 w 1296"/>
                  <a:gd name="T7" fmla="*/ 499 h 499"/>
                  <a:gd name="T8" fmla="*/ 865 w 1296"/>
                  <a:gd name="T9" fmla="*/ 0 h 499"/>
                </a:gdLst>
                <a:ahLst/>
                <a:cxnLst>
                  <a:cxn ang="0">
                    <a:pos x="T0" y="T1"/>
                  </a:cxn>
                  <a:cxn ang="0">
                    <a:pos x="T2" y="T3"/>
                  </a:cxn>
                  <a:cxn ang="0">
                    <a:pos x="T4" y="T5"/>
                  </a:cxn>
                  <a:cxn ang="0">
                    <a:pos x="T6" y="T7"/>
                  </a:cxn>
                  <a:cxn ang="0">
                    <a:pos x="T8" y="T9"/>
                  </a:cxn>
                </a:cxnLst>
                <a:rect l="0" t="0" r="r" b="b"/>
                <a:pathLst>
                  <a:path w="1296" h="499">
                    <a:moveTo>
                      <a:pt x="865" y="0"/>
                    </a:moveTo>
                    <a:lnTo>
                      <a:pt x="0" y="0"/>
                    </a:lnTo>
                    <a:lnTo>
                      <a:pt x="432" y="499"/>
                    </a:lnTo>
                    <a:lnTo>
                      <a:pt x="1296" y="499"/>
                    </a:lnTo>
                    <a:lnTo>
                      <a:pt x="865" y="0"/>
                    </a:ln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4" name="Rectangle 21">
                <a:extLst>
                  <a:ext uri="{FF2B5EF4-FFF2-40B4-BE49-F238E27FC236}">
                    <a16:creationId xmlns:a16="http://schemas.microsoft.com/office/drawing/2014/main" xmlns="" id="{4DEBCF1A-EBD6-49E4-ADB6-B197CEED518F}"/>
                  </a:ext>
                </a:extLst>
              </p:cNvPr>
              <p:cNvSpPr>
                <a:spLocks noChangeArrowheads="1"/>
              </p:cNvSpPr>
              <p:nvPr/>
            </p:nvSpPr>
            <p:spPr bwMode="auto">
              <a:xfrm>
                <a:off x="7468268" y="5135908"/>
                <a:ext cx="944091" cy="1722092"/>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5" name="Freeform 22">
                <a:extLst>
                  <a:ext uri="{FF2B5EF4-FFF2-40B4-BE49-F238E27FC236}">
                    <a16:creationId xmlns:a16="http://schemas.microsoft.com/office/drawing/2014/main" xmlns="" id="{038A21EA-3B84-4F6E-8082-103D1221DE39}"/>
                  </a:ext>
                </a:extLst>
              </p:cNvPr>
              <p:cNvSpPr>
                <a:spLocks/>
              </p:cNvSpPr>
              <p:nvPr/>
            </p:nvSpPr>
            <p:spPr bwMode="auto">
              <a:xfrm>
                <a:off x="6996223" y="4590653"/>
                <a:ext cx="472045" cy="2267347"/>
              </a:xfrm>
              <a:custGeom>
                <a:avLst/>
                <a:gdLst>
                  <a:gd name="T0" fmla="*/ 432 w 432"/>
                  <a:gd name="T1" fmla="*/ 499 h 2075"/>
                  <a:gd name="T2" fmla="*/ 0 w 432"/>
                  <a:gd name="T3" fmla="*/ 0 h 2075"/>
                  <a:gd name="T4" fmla="*/ 0 w 432"/>
                  <a:gd name="T5" fmla="*/ 1576 h 2075"/>
                  <a:gd name="T6" fmla="*/ 432 w 432"/>
                  <a:gd name="T7" fmla="*/ 2075 h 2075"/>
                  <a:gd name="T8" fmla="*/ 432 w 432"/>
                  <a:gd name="T9" fmla="*/ 499 h 2075"/>
                </a:gdLst>
                <a:ahLst/>
                <a:cxnLst>
                  <a:cxn ang="0">
                    <a:pos x="T0" y="T1"/>
                  </a:cxn>
                  <a:cxn ang="0">
                    <a:pos x="T2" y="T3"/>
                  </a:cxn>
                  <a:cxn ang="0">
                    <a:pos x="T4" y="T5"/>
                  </a:cxn>
                  <a:cxn ang="0">
                    <a:pos x="T6" y="T7"/>
                  </a:cxn>
                  <a:cxn ang="0">
                    <a:pos x="T8" y="T9"/>
                  </a:cxn>
                </a:cxnLst>
                <a:rect l="0" t="0" r="r" b="b"/>
                <a:pathLst>
                  <a:path w="432" h="2075">
                    <a:moveTo>
                      <a:pt x="432" y="499"/>
                    </a:moveTo>
                    <a:lnTo>
                      <a:pt x="0" y="0"/>
                    </a:lnTo>
                    <a:lnTo>
                      <a:pt x="0" y="1576"/>
                    </a:lnTo>
                    <a:lnTo>
                      <a:pt x="432" y="2075"/>
                    </a:lnTo>
                    <a:lnTo>
                      <a:pt x="432" y="499"/>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6" name="Freeform 23">
                <a:extLst>
                  <a:ext uri="{FF2B5EF4-FFF2-40B4-BE49-F238E27FC236}">
                    <a16:creationId xmlns:a16="http://schemas.microsoft.com/office/drawing/2014/main" xmlns="" id="{DCF1E01F-B775-4472-B365-624F5AF7D327}"/>
                  </a:ext>
                </a:extLst>
              </p:cNvPr>
              <p:cNvSpPr>
                <a:spLocks/>
              </p:cNvSpPr>
              <p:nvPr/>
            </p:nvSpPr>
            <p:spPr bwMode="auto">
              <a:xfrm>
                <a:off x="7468268" y="5304184"/>
                <a:ext cx="641414" cy="286287"/>
              </a:xfrm>
              <a:custGeom>
                <a:avLst/>
                <a:gdLst>
                  <a:gd name="T0" fmla="*/ 0 w 587"/>
                  <a:gd name="T1" fmla="*/ 87 h 262"/>
                  <a:gd name="T2" fmla="*/ 419 w 587"/>
                  <a:gd name="T3" fmla="*/ 87 h 262"/>
                  <a:gd name="T4" fmla="*/ 419 w 587"/>
                  <a:gd name="T5" fmla="*/ 0 h 262"/>
                  <a:gd name="T6" fmla="*/ 587 w 587"/>
                  <a:gd name="T7" fmla="*/ 130 h 262"/>
                  <a:gd name="T8" fmla="*/ 419 w 587"/>
                  <a:gd name="T9" fmla="*/ 262 h 262"/>
                  <a:gd name="T10" fmla="*/ 419 w 587"/>
                  <a:gd name="T11" fmla="*/ 175 h 262"/>
                  <a:gd name="T12" fmla="*/ 0 w 587"/>
                  <a:gd name="T13" fmla="*/ 175 h 262"/>
                  <a:gd name="T14" fmla="*/ 0 w 587"/>
                  <a:gd name="T15" fmla="*/ 87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262">
                    <a:moveTo>
                      <a:pt x="0" y="87"/>
                    </a:moveTo>
                    <a:lnTo>
                      <a:pt x="419" y="87"/>
                    </a:lnTo>
                    <a:lnTo>
                      <a:pt x="419" y="0"/>
                    </a:lnTo>
                    <a:lnTo>
                      <a:pt x="587" y="130"/>
                    </a:lnTo>
                    <a:lnTo>
                      <a:pt x="419" y="262"/>
                    </a:lnTo>
                    <a:lnTo>
                      <a:pt x="419" y="175"/>
                    </a:lnTo>
                    <a:lnTo>
                      <a:pt x="0" y="175"/>
                    </a:lnTo>
                    <a:lnTo>
                      <a:pt x="0" y="87"/>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7" name="Freeform 24">
                <a:extLst>
                  <a:ext uri="{FF2B5EF4-FFF2-40B4-BE49-F238E27FC236}">
                    <a16:creationId xmlns:a16="http://schemas.microsoft.com/office/drawing/2014/main" xmlns="" id="{54954C7D-C4ED-4F2D-AD41-9E23FBD01099}"/>
                  </a:ext>
                </a:extLst>
              </p:cNvPr>
              <p:cNvSpPr>
                <a:spLocks/>
              </p:cNvSpPr>
              <p:nvPr/>
            </p:nvSpPr>
            <p:spPr bwMode="auto">
              <a:xfrm>
                <a:off x="6996223" y="4853992"/>
                <a:ext cx="472045" cy="641413"/>
              </a:xfrm>
              <a:custGeom>
                <a:avLst/>
                <a:gdLst>
                  <a:gd name="T0" fmla="*/ 432 w 432"/>
                  <a:gd name="T1" fmla="*/ 499 h 587"/>
                  <a:gd name="T2" fmla="*/ 0 w 432"/>
                  <a:gd name="T3" fmla="*/ 0 h 587"/>
                  <a:gd name="T4" fmla="*/ 0 w 432"/>
                  <a:gd name="T5" fmla="*/ 88 h 587"/>
                  <a:gd name="T6" fmla="*/ 432 w 432"/>
                  <a:gd name="T7" fmla="*/ 587 h 587"/>
                  <a:gd name="T8" fmla="*/ 432 w 432"/>
                  <a:gd name="T9" fmla="*/ 499 h 587"/>
                </a:gdLst>
                <a:ahLst/>
                <a:cxnLst>
                  <a:cxn ang="0">
                    <a:pos x="T0" y="T1"/>
                  </a:cxn>
                  <a:cxn ang="0">
                    <a:pos x="T2" y="T3"/>
                  </a:cxn>
                  <a:cxn ang="0">
                    <a:pos x="T4" y="T5"/>
                  </a:cxn>
                  <a:cxn ang="0">
                    <a:pos x="T6" y="T7"/>
                  </a:cxn>
                  <a:cxn ang="0">
                    <a:pos x="T8" y="T9"/>
                  </a:cxn>
                </a:cxnLst>
                <a:rect l="0" t="0" r="r" b="b"/>
                <a:pathLst>
                  <a:path w="432" h="587">
                    <a:moveTo>
                      <a:pt x="432" y="499"/>
                    </a:moveTo>
                    <a:lnTo>
                      <a:pt x="0" y="0"/>
                    </a:lnTo>
                    <a:lnTo>
                      <a:pt x="0" y="88"/>
                    </a:lnTo>
                    <a:lnTo>
                      <a:pt x="432" y="587"/>
                    </a:lnTo>
                    <a:lnTo>
                      <a:pt x="432" y="499"/>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sp>
        <p:nvSpPr>
          <p:cNvPr id="44" name="TextBox 87">
            <a:extLst>
              <a:ext uri="{FF2B5EF4-FFF2-40B4-BE49-F238E27FC236}">
                <a16:creationId xmlns:a16="http://schemas.microsoft.com/office/drawing/2014/main" xmlns="" id="{E7F1E198-9CBD-4399-80E1-7EC790857C0D}"/>
              </a:ext>
            </a:extLst>
          </p:cNvPr>
          <p:cNvSpPr txBox="1"/>
          <p:nvPr/>
        </p:nvSpPr>
        <p:spPr>
          <a:xfrm>
            <a:off x="4803381" y="3880438"/>
            <a:ext cx="929100" cy="369332"/>
          </a:xfrm>
          <a:prstGeom prst="rect">
            <a:avLst/>
          </a:prstGeom>
          <a:noFill/>
        </p:spPr>
        <p:txBody>
          <a:bodyPr wrap="none" rtlCol="0" anchor="b" anchorCtr="0">
            <a:spAutoFit/>
          </a:bodyPr>
          <a:lstStyle/>
          <a:p>
            <a:pPr algn="ctr"/>
            <a:r>
              <a:rPr lang="en-GB" b="1" dirty="0">
                <a:solidFill>
                  <a:schemeClr val="bg1"/>
                </a:solidFill>
                <a:latin typeface="+mj-lt"/>
                <a:ea typeface="League Spartan" charset="0"/>
                <a:cs typeface="Poppins" pitchFamily="2" charset="77"/>
              </a:rPr>
              <a:t>Estrategia</a:t>
            </a:r>
            <a:endParaRPr lang="en-GB" dirty="0">
              <a:solidFill>
                <a:schemeClr val="bg1"/>
              </a:solidFill>
              <a:latin typeface="+mj-lt"/>
              <a:ea typeface="League Spartan" charset="0"/>
              <a:cs typeface="Poppins" pitchFamily="2" charset="77"/>
            </a:endParaRPr>
          </a:p>
        </p:txBody>
      </p:sp>
      <p:sp>
        <p:nvSpPr>
          <p:cNvPr id="45" name="TextBox 87">
            <a:extLst>
              <a:ext uri="{FF2B5EF4-FFF2-40B4-BE49-F238E27FC236}">
                <a16:creationId xmlns:a16="http://schemas.microsoft.com/office/drawing/2014/main" xmlns="" id="{D7020E99-4EAB-4B3D-87A5-A5CB504D357C}"/>
              </a:ext>
            </a:extLst>
          </p:cNvPr>
          <p:cNvSpPr txBox="1"/>
          <p:nvPr/>
        </p:nvSpPr>
        <p:spPr>
          <a:xfrm>
            <a:off x="6054760" y="3711160"/>
            <a:ext cx="1415517" cy="646331"/>
          </a:xfrm>
          <a:prstGeom prst="rect">
            <a:avLst/>
          </a:prstGeom>
          <a:noFill/>
        </p:spPr>
        <p:txBody>
          <a:bodyPr wrap="none" rtlCol="0" anchor="b" anchorCtr="0">
            <a:spAutoFit/>
          </a:bodyPr>
          <a:lstStyle/>
          <a:p>
            <a:pPr algn="ctr"/>
            <a:r>
              <a:rPr lang="en-GB" b="1" dirty="0">
                <a:solidFill>
                  <a:schemeClr val="bg1"/>
                </a:solidFill>
                <a:latin typeface="+mj-lt"/>
                <a:ea typeface="League Spartan" charset="0"/>
                <a:cs typeface="Poppins" pitchFamily="2" charset="77"/>
              </a:rPr>
              <a:t>Alinear los costes con la</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Estrategia</a:t>
            </a:r>
            <a:endParaRPr lang="en-GB" dirty="0">
              <a:solidFill>
                <a:schemeClr val="bg1"/>
              </a:solidFill>
              <a:latin typeface="+mj-lt"/>
              <a:ea typeface="League Spartan" charset="0"/>
              <a:cs typeface="Poppins" pitchFamily="2" charset="77"/>
            </a:endParaRPr>
          </a:p>
        </p:txBody>
      </p:sp>
      <p:sp>
        <p:nvSpPr>
          <p:cNvPr id="46" name="TextBox 87">
            <a:extLst>
              <a:ext uri="{FF2B5EF4-FFF2-40B4-BE49-F238E27FC236}">
                <a16:creationId xmlns:a16="http://schemas.microsoft.com/office/drawing/2014/main" xmlns="" id="{16F290D5-A46F-45E1-915B-5B788CC469EF}"/>
              </a:ext>
            </a:extLst>
          </p:cNvPr>
          <p:cNvSpPr txBox="1"/>
          <p:nvPr/>
        </p:nvSpPr>
        <p:spPr>
          <a:xfrm>
            <a:off x="7470877" y="3711160"/>
            <a:ext cx="1475532" cy="646331"/>
          </a:xfrm>
          <a:prstGeom prst="rect">
            <a:avLst/>
          </a:prstGeom>
          <a:noFill/>
        </p:spPr>
        <p:txBody>
          <a:bodyPr wrap="none" rtlCol="0" anchor="b" anchorCtr="0">
            <a:spAutoFit/>
          </a:bodyPr>
          <a:lstStyle/>
          <a:p>
            <a:pPr algn="ctr"/>
            <a:r>
              <a:rPr lang="en-GB" b="1" dirty="0">
                <a:solidFill>
                  <a:schemeClr val="bg1"/>
                </a:solidFill>
                <a:latin typeface="+mj-lt"/>
                <a:ea typeface="League Spartan" charset="0"/>
                <a:cs typeface="Poppins" pitchFamily="2" charset="77"/>
              </a:rPr>
              <a:t>Establecer objetivos ambiciosos </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objetivos</a:t>
            </a:r>
            <a:endParaRPr lang="en-GB" dirty="0">
              <a:solidFill>
                <a:schemeClr val="bg1"/>
              </a:solidFill>
              <a:latin typeface="+mj-lt"/>
              <a:ea typeface="League Spartan" charset="0"/>
              <a:cs typeface="Poppins" pitchFamily="2" charset="77"/>
            </a:endParaRPr>
          </a:p>
        </p:txBody>
      </p:sp>
      <p:sp>
        <p:nvSpPr>
          <p:cNvPr id="47" name="TextBox 87">
            <a:extLst>
              <a:ext uri="{FF2B5EF4-FFF2-40B4-BE49-F238E27FC236}">
                <a16:creationId xmlns:a16="http://schemas.microsoft.com/office/drawing/2014/main" xmlns="" id="{BE371A80-2FD3-418A-88AD-DF965026EA8E}"/>
              </a:ext>
            </a:extLst>
          </p:cNvPr>
          <p:cNvSpPr txBox="1"/>
          <p:nvPr/>
        </p:nvSpPr>
        <p:spPr>
          <a:xfrm>
            <a:off x="9075358" y="3880438"/>
            <a:ext cx="1174039" cy="369332"/>
          </a:xfrm>
          <a:prstGeom prst="rect">
            <a:avLst/>
          </a:prstGeom>
          <a:noFill/>
        </p:spPr>
        <p:txBody>
          <a:bodyPr wrap="none" rtlCol="0" anchor="b" anchorCtr="0">
            <a:spAutoFit/>
          </a:bodyPr>
          <a:lstStyle/>
          <a:p>
            <a:pPr algn="ctr"/>
            <a:r>
              <a:rPr lang="en-GB" b="1" dirty="0">
                <a:solidFill>
                  <a:schemeClr val="bg1"/>
                </a:solidFill>
                <a:latin typeface="+mj-lt"/>
                <a:ea typeface="League Spartan" charset="0"/>
                <a:cs typeface="Poppins" pitchFamily="2" charset="77"/>
              </a:rPr>
              <a:t>Liderazgo</a:t>
            </a:r>
            <a:endParaRPr lang="en-GB" dirty="0">
              <a:solidFill>
                <a:schemeClr val="bg1"/>
              </a:solidFill>
              <a:latin typeface="+mj-lt"/>
              <a:ea typeface="League Spartan" charset="0"/>
              <a:cs typeface="Poppins" pitchFamily="2" charset="77"/>
            </a:endParaRPr>
          </a:p>
        </p:txBody>
      </p:sp>
      <p:sp>
        <p:nvSpPr>
          <p:cNvPr id="48" name="TextBox 87">
            <a:extLst>
              <a:ext uri="{FF2B5EF4-FFF2-40B4-BE49-F238E27FC236}">
                <a16:creationId xmlns:a16="http://schemas.microsoft.com/office/drawing/2014/main" xmlns="" id="{6953212D-847D-4A50-8243-1BCCBC40FB71}"/>
              </a:ext>
            </a:extLst>
          </p:cNvPr>
          <p:cNvSpPr txBox="1"/>
          <p:nvPr/>
        </p:nvSpPr>
        <p:spPr>
          <a:xfrm>
            <a:off x="10458281" y="3541883"/>
            <a:ext cx="1350178" cy="923330"/>
          </a:xfrm>
          <a:prstGeom prst="rect">
            <a:avLst/>
          </a:prstGeom>
          <a:noFill/>
        </p:spPr>
        <p:txBody>
          <a:bodyPr wrap="none" rtlCol="0" anchor="b" anchorCtr="0">
            <a:spAutoFit/>
          </a:bodyPr>
          <a:lstStyle/>
          <a:p>
            <a:pPr algn="ctr"/>
            <a:r>
              <a:rPr lang="en-GB" b="1" dirty="0">
                <a:solidFill>
                  <a:schemeClr val="bg1"/>
                </a:solidFill>
                <a:latin typeface="+mj-lt"/>
                <a:ea typeface="League Spartan" charset="0"/>
                <a:cs typeface="Poppins" pitchFamily="2" charset="77"/>
              </a:rPr>
              <a:t>Cultura</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de costes</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Optimización</a:t>
            </a:r>
            <a:endParaRPr lang="en-GB" dirty="0">
              <a:solidFill>
                <a:schemeClr val="bg1"/>
              </a:solidFill>
              <a:latin typeface="+mj-lt"/>
              <a:ea typeface="League Spartan" charset="0"/>
              <a:cs typeface="Poppins" pitchFamily="2" charset="77"/>
            </a:endParaRPr>
          </a:p>
        </p:txBody>
      </p:sp>
      <p:sp>
        <p:nvSpPr>
          <p:cNvPr id="49" name="TextBox 87">
            <a:extLst>
              <a:ext uri="{FF2B5EF4-FFF2-40B4-BE49-F238E27FC236}">
                <a16:creationId xmlns:a16="http://schemas.microsoft.com/office/drawing/2014/main" xmlns="" id="{A4239A40-6F41-4ACC-BF61-B7F9A58D9C63}"/>
              </a:ext>
            </a:extLst>
          </p:cNvPr>
          <p:cNvSpPr txBox="1"/>
          <p:nvPr/>
        </p:nvSpPr>
        <p:spPr>
          <a:xfrm>
            <a:off x="4584477" y="4591049"/>
            <a:ext cx="1450349" cy="2308324"/>
          </a:xfrm>
          <a:prstGeom prst="rect">
            <a:avLst/>
          </a:prstGeom>
          <a:noFill/>
        </p:spPr>
        <p:txBody>
          <a:bodyPr wrap="square" rtlCol="0" anchor="t" anchorCtr="0">
            <a:spAutoFit/>
          </a:bodyPr>
          <a:lstStyle/>
          <a:p>
            <a:r>
              <a:rPr lang="en-GB" sz="1600" dirty="0">
                <a:solidFill>
                  <a:srgbClr val="245473"/>
                </a:solidFill>
              </a:rPr>
              <a:t>Empezar por la estrategia: tener una visión clara de su estrategia y asegurarse de que se entiende de forma coherente en toda la organización </a:t>
            </a:r>
            <a:endParaRPr lang="en-GB" sz="1600" dirty="0">
              <a:solidFill>
                <a:srgbClr val="245473"/>
              </a:solidFill>
              <a:latin typeface="+mj-lt"/>
              <a:ea typeface="League Spartan" charset="0"/>
              <a:cs typeface="Poppins" pitchFamily="2" charset="77"/>
            </a:endParaRPr>
          </a:p>
        </p:txBody>
      </p:sp>
      <p:sp>
        <p:nvSpPr>
          <p:cNvPr id="50" name="TextBox 87">
            <a:extLst>
              <a:ext uri="{FF2B5EF4-FFF2-40B4-BE49-F238E27FC236}">
                <a16:creationId xmlns:a16="http://schemas.microsoft.com/office/drawing/2014/main" xmlns="" id="{565618B1-1793-48A9-9C0E-CC6434519A95}"/>
              </a:ext>
            </a:extLst>
          </p:cNvPr>
          <p:cNvSpPr txBox="1"/>
          <p:nvPr/>
        </p:nvSpPr>
        <p:spPr>
          <a:xfrm>
            <a:off x="6037707" y="4591049"/>
            <a:ext cx="1450349" cy="1815882"/>
          </a:xfrm>
          <a:prstGeom prst="rect">
            <a:avLst/>
          </a:prstGeom>
          <a:noFill/>
        </p:spPr>
        <p:txBody>
          <a:bodyPr wrap="square" rtlCol="0" anchor="t" anchorCtr="0">
            <a:spAutoFit/>
          </a:bodyPr>
          <a:lstStyle/>
          <a:p>
            <a:r>
              <a:rPr lang="en-GB" sz="1600" dirty="0">
                <a:solidFill>
                  <a:srgbClr val="F95C2C"/>
                </a:solidFill>
              </a:rPr>
              <a:t>Diferenciar los costes buenos estratégicamente críticos de los costes malos no esenciales</a:t>
            </a:r>
            <a:endParaRPr lang="en-GB" sz="1600" dirty="0">
              <a:solidFill>
                <a:srgbClr val="F95C2C"/>
              </a:solidFill>
              <a:latin typeface="+mj-lt"/>
              <a:ea typeface="League Spartan" charset="0"/>
              <a:cs typeface="Poppins" pitchFamily="2" charset="77"/>
            </a:endParaRPr>
          </a:p>
        </p:txBody>
      </p:sp>
      <p:sp>
        <p:nvSpPr>
          <p:cNvPr id="51" name="TextBox 87">
            <a:extLst>
              <a:ext uri="{FF2B5EF4-FFF2-40B4-BE49-F238E27FC236}">
                <a16:creationId xmlns:a16="http://schemas.microsoft.com/office/drawing/2014/main" xmlns="" id="{3800F636-6C76-4BDD-AE3F-7EC38FCBA926}"/>
              </a:ext>
            </a:extLst>
          </p:cNvPr>
          <p:cNvSpPr txBox="1"/>
          <p:nvPr/>
        </p:nvSpPr>
        <p:spPr>
          <a:xfrm>
            <a:off x="7480611" y="4582458"/>
            <a:ext cx="1450349" cy="830997"/>
          </a:xfrm>
          <a:prstGeom prst="rect">
            <a:avLst/>
          </a:prstGeom>
          <a:noFill/>
        </p:spPr>
        <p:txBody>
          <a:bodyPr wrap="square" rtlCol="0" anchor="t" anchorCtr="0">
            <a:spAutoFit/>
          </a:bodyPr>
          <a:lstStyle/>
          <a:p>
            <a:r>
              <a:rPr lang="en-GB" sz="1600" dirty="0"/>
              <a:t>Sea audaz, valiente y creativo </a:t>
            </a:r>
            <a:endParaRPr lang="en-GB" sz="1600" dirty="0">
              <a:solidFill>
                <a:schemeClr val="tx2"/>
              </a:solidFill>
              <a:latin typeface="+mj-lt"/>
              <a:ea typeface="League Spartan" charset="0"/>
              <a:cs typeface="Poppins" pitchFamily="2" charset="77"/>
            </a:endParaRPr>
          </a:p>
        </p:txBody>
      </p:sp>
      <p:sp>
        <p:nvSpPr>
          <p:cNvPr id="52" name="TextBox 87">
            <a:extLst>
              <a:ext uri="{FF2B5EF4-FFF2-40B4-BE49-F238E27FC236}">
                <a16:creationId xmlns:a16="http://schemas.microsoft.com/office/drawing/2014/main" xmlns="" id="{5E1B59D1-8158-443B-AA09-E291E0D17946}"/>
              </a:ext>
            </a:extLst>
          </p:cNvPr>
          <p:cNvSpPr txBox="1"/>
          <p:nvPr/>
        </p:nvSpPr>
        <p:spPr>
          <a:xfrm>
            <a:off x="8937199" y="4571517"/>
            <a:ext cx="1450349" cy="1815882"/>
          </a:xfrm>
          <a:prstGeom prst="rect">
            <a:avLst/>
          </a:prstGeom>
          <a:noFill/>
        </p:spPr>
        <p:txBody>
          <a:bodyPr wrap="square" lIns="91440" tIns="45720" rIns="91440" bIns="45720" rtlCol="0" anchor="t" anchorCtr="0">
            <a:spAutoFit/>
          </a:bodyPr>
          <a:lstStyle/>
          <a:p>
            <a:r>
              <a:rPr lang="en-GB" sz="1400" dirty="0"/>
              <a:t>Establecer la dirección y mostrar el liderazgo: Ofrecer la optimización de costes como un programa estratégico de transformación empresarial.</a:t>
            </a:r>
            <a:endParaRPr lang="en-GB" sz="1400" dirty="0">
              <a:solidFill>
                <a:schemeClr val="tx2"/>
              </a:solidFill>
              <a:latin typeface="+mj-lt"/>
              <a:ea typeface="League Spartan" charset="0"/>
              <a:cs typeface="Poppins" pitchFamily="2" charset="77"/>
            </a:endParaRPr>
          </a:p>
        </p:txBody>
      </p:sp>
      <p:sp>
        <p:nvSpPr>
          <p:cNvPr id="53" name="TextBox 87">
            <a:extLst>
              <a:ext uri="{FF2B5EF4-FFF2-40B4-BE49-F238E27FC236}">
                <a16:creationId xmlns:a16="http://schemas.microsoft.com/office/drawing/2014/main" xmlns="" id="{27258068-5516-42F1-AA0A-709605537A0D}"/>
              </a:ext>
            </a:extLst>
          </p:cNvPr>
          <p:cNvSpPr txBox="1"/>
          <p:nvPr/>
        </p:nvSpPr>
        <p:spPr>
          <a:xfrm>
            <a:off x="10390905" y="4581284"/>
            <a:ext cx="1450349" cy="1815882"/>
          </a:xfrm>
          <a:prstGeom prst="rect">
            <a:avLst/>
          </a:prstGeom>
          <a:noFill/>
        </p:spPr>
        <p:txBody>
          <a:bodyPr wrap="square" rtlCol="0" anchor="t" anchorCtr="0">
            <a:spAutoFit/>
          </a:bodyPr>
          <a:lstStyle/>
          <a:p>
            <a:r>
              <a:rPr lang="en-GB" sz="1600" dirty="0">
                <a:solidFill>
                  <a:srgbClr val="0070C0"/>
                </a:solidFill>
              </a:rPr>
              <a:t>Asegurarse de que se implanta una cultura de propiedad y se incentiva la mejora continua</a:t>
            </a:r>
            <a:endParaRPr lang="en-GB" sz="1600" dirty="0">
              <a:solidFill>
                <a:srgbClr val="0070C0"/>
              </a:solidFill>
              <a:latin typeface="+mj-lt"/>
              <a:ea typeface="League Spartan" charset="0"/>
              <a:cs typeface="Poppins" pitchFamily="2" charset="77"/>
            </a:endParaRPr>
          </a:p>
        </p:txBody>
      </p:sp>
    </p:spTree>
    <p:extLst>
      <p:ext uri="{BB962C8B-B14F-4D97-AF65-F5344CB8AC3E}">
        <p14:creationId xmlns:p14="http://schemas.microsoft.com/office/powerpoint/2010/main" val="15755415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10824" y="689303"/>
            <a:ext cx="8852375" cy="697353"/>
          </a:xfrm>
        </p:spPr>
        <p:txBody>
          <a:bodyPr>
            <a:normAutofit fontScale="85000" lnSpcReduction="10000"/>
          </a:bodyPr>
          <a:lstStyle/>
          <a:p>
            <a:r>
              <a:rPr lang="en-GB" dirty="0"/>
              <a:t>Medidas rápidas: Ejemplos de reducción inteligente de cost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1520" y="1922805"/>
            <a:ext cx="2837913" cy="463747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n una crisis virulenta, el ahorro de eficiencia marginal ya no puede garantizar la supervivencia y el éxito.</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cuestión es,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cómo puede determinar los recursos y afinar las capacidades operativas de forma que le permitan marcar el ritmo del futuro.</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Freeform 61">
            <a:extLst>
              <a:ext uri="{FF2B5EF4-FFF2-40B4-BE49-F238E27FC236}">
                <a16:creationId xmlns:a16="http://schemas.microsoft.com/office/drawing/2014/main" xmlns="" id="{34A227D9-5D25-4944-BD1D-740B5D680293}"/>
              </a:ext>
            </a:extLst>
          </p:cNvPr>
          <p:cNvSpPr/>
          <p:nvPr/>
        </p:nvSpPr>
        <p:spPr>
          <a:xfrm rot="1363340">
            <a:off x="7449140" y="2324879"/>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Freeform 75">
            <a:extLst>
              <a:ext uri="{FF2B5EF4-FFF2-40B4-BE49-F238E27FC236}">
                <a16:creationId xmlns:a16="http://schemas.microsoft.com/office/drawing/2014/main" xmlns="" id="{845CB6DF-9630-470E-BB82-B110AAE7D051}"/>
              </a:ext>
            </a:extLst>
          </p:cNvPr>
          <p:cNvSpPr/>
          <p:nvPr/>
        </p:nvSpPr>
        <p:spPr>
          <a:xfrm rot="1363340">
            <a:off x="8139025" y="3091473"/>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Freeform 63">
            <a:extLst>
              <a:ext uri="{FF2B5EF4-FFF2-40B4-BE49-F238E27FC236}">
                <a16:creationId xmlns:a16="http://schemas.microsoft.com/office/drawing/2014/main" xmlns="" id="{AC88BBFC-4ED4-4455-A8AC-AB4024A586C2}"/>
              </a:ext>
            </a:extLst>
          </p:cNvPr>
          <p:cNvSpPr/>
          <p:nvPr/>
        </p:nvSpPr>
        <p:spPr>
          <a:xfrm rot="1363340">
            <a:off x="6463516" y="2390031"/>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Freeform 65">
            <a:extLst>
              <a:ext uri="{FF2B5EF4-FFF2-40B4-BE49-F238E27FC236}">
                <a16:creationId xmlns:a16="http://schemas.microsoft.com/office/drawing/2014/main" xmlns="" id="{F634E31C-269B-4FB0-AF15-A94E6E7DF9A1}"/>
              </a:ext>
            </a:extLst>
          </p:cNvPr>
          <p:cNvSpPr/>
          <p:nvPr/>
        </p:nvSpPr>
        <p:spPr>
          <a:xfrm rot="1363340">
            <a:off x="5699025" y="3053348"/>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Freeform 73">
            <a:extLst>
              <a:ext uri="{FF2B5EF4-FFF2-40B4-BE49-F238E27FC236}">
                <a16:creationId xmlns:a16="http://schemas.microsoft.com/office/drawing/2014/main" xmlns="" id="{376AE35B-79FA-4852-BC06-7A0E1FE4415E}"/>
              </a:ext>
            </a:extLst>
          </p:cNvPr>
          <p:cNvSpPr/>
          <p:nvPr/>
        </p:nvSpPr>
        <p:spPr>
          <a:xfrm rot="1363340">
            <a:off x="8154913" y="4084633"/>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0" name="Freeform 67">
            <a:extLst>
              <a:ext uri="{FF2B5EF4-FFF2-40B4-BE49-F238E27FC236}">
                <a16:creationId xmlns:a16="http://schemas.microsoft.com/office/drawing/2014/main" xmlns="" id="{0825ECFC-6D78-4E4E-95C0-CF2AFF478A52}"/>
              </a:ext>
            </a:extLst>
          </p:cNvPr>
          <p:cNvSpPr/>
          <p:nvPr/>
        </p:nvSpPr>
        <p:spPr>
          <a:xfrm rot="1363340">
            <a:off x="5762325" y="4062320"/>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Freeform 71">
            <a:extLst>
              <a:ext uri="{FF2B5EF4-FFF2-40B4-BE49-F238E27FC236}">
                <a16:creationId xmlns:a16="http://schemas.microsoft.com/office/drawing/2014/main" xmlns="" id="{7587EE69-2279-4FAB-B62D-FD2BA6097E73}"/>
              </a:ext>
            </a:extLst>
          </p:cNvPr>
          <p:cNvSpPr/>
          <p:nvPr/>
        </p:nvSpPr>
        <p:spPr>
          <a:xfrm rot="1363340">
            <a:off x="7439727" y="4765247"/>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Freeform 69">
            <a:extLst>
              <a:ext uri="{FF2B5EF4-FFF2-40B4-BE49-F238E27FC236}">
                <a16:creationId xmlns:a16="http://schemas.microsoft.com/office/drawing/2014/main" xmlns="" id="{B5E7E6C6-9382-4C53-8B1C-C0C413D7BE90}"/>
              </a:ext>
            </a:extLst>
          </p:cNvPr>
          <p:cNvSpPr/>
          <p:nvPr/>
        </p:nvSpPr>
        <p:spPr>
          <a:xfrm rot="1363340">
            <a:off x="6424103" y="4781599"/>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Oval 76">
            <a:extLst>
              <a:ext uri="{FF2B5EF4-FFF2-40B4-BE49-F238E27FC236}">
                <a16:creationId xmlns:a16="http://schemas.microsoft.com/office/drawing/2014/main" xmlns="" id="{C9DE330B-12E4-403A-8DEF-4B4552D35ED8}"/>
              </a:ext>
            </a:extLst>
          </p:cNvPr>
          <p:cNvSpPr/>
          <p:nvPr/>
        </p:nvSpPr>
        <p:spPr>
          <a:xfrm>
            <a:off x="6752505" y="3378456"/>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TextBox 77">
            <a:extLst>
              <a:ext uri="{FF2B5EF4-FFF2-40B4-BE49-F238E27FC236}">
                <a16:creationId xmlns:a16="http://schemas.microsoft.com/office/drawing/2014/main" xmlns="" id="{41E66332-F657-4070-BABA-2C661A5549F1}"/>
              </a:ext>
            </a:extLst>
          </p:cNvPr>
          <p:cNvSpPr txBox="1"/>
          <p:nvPr/>
        </p:nvSpPr>
        <p:spPr>
          <a:xfrm>
            <a:off x="3269689" y="5288160"/>
            <a:ext cx="3015121" cy="830997"/>
          </a:xfrm>
          <a:prstGeom prst="rect">
            <a:avLst/>
          </a:prstGeom>
          <a:noFill/>
        </p:spPr>
        <p:txBody>
          <a:bodyPr wrap="none" rtlCol="0" anchor="b" anchorCtr="0">
            <a:spAutoFit/>
          </a:bodyPr>
          <a:lstStyle/>
          <a:p>
            <a:pPr algn="r"/>
            <a:r>
              <a:rPr lang="en-GB" sz="1600" b="1">
                <a:solidFill>
                  <a:schemeClr val="tx2"/>
                </a:solidFill>
                <a:latin typeface="+mj-lt"/>
                <a:ea typeface="League Spartan" charset="0"/>
                <a:cs typeface="Poppins" pitchFamily="2" charset="77"/>
              </a:rPr>
              <a:t>Estrategias de diseño </a:t>
            </a:r>
            <a:br>
              <a:rPr lang="en-GB" sz="1600" b="1">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Cálculo de costes inverso / Diseño a coste /</a:t>
            </a:r>
            <a:br>
              <a:rPr lang="en-GB" sz="1600">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Diseño para la fabricación)</a:t>
            </a:r>
            <a:endParaRPr lang="en-GB" sz="1600" dirty="0">
              <a:solidFill>
                <a:schemeClr val="tx2"/>
              </a:solidFill>
              <a:latin typeface="+mj-lt"/>
              <a:ea typeface="League Spartan" charset="0"/>
              <a:cs typeface="Poppins" pitchFamily="2" charset="77"/>
            </a:endParaRPr>
          </a:p>
        </p:txBody>
      </p:sp>
      <p:sp>
        <p:nvSpPr>
          <p:cNvPr id="15" name="TextBox 85">
            <a:extLst>
              <a:ext uri="{FF2B5EF4-FFF2-40B4-BE49-F238E27FC236}">
                <a16:creationId xmlns:a16="http://schemas.microsoft.com/office/drawing/2014/main" xmlns="" id="{5947AC03-28D1-4A7C-98D1-64B81B79AA91}"/>
              </a:ext>
            </a:extLst>
          </p:cNvPr>
          <p:cNvSpPr txBox="1"/>
          <p:nvPr/>
        </p:nvSpPr>
        <p:spPr>
          <a:xfrm>
            <a:off x="8907755" y="5269175"/>
            <a:ext cx="32092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a:t>
            </a:r>
          </a:p>
        </p:txBody>
      </p:sp>
      <p:sp>
        <p:nvSpPr>
          <p:cNvPr id="16" name="TextBox 79">
            <a:extLst>
              <a:ext uri="{FF2B5EF4-FFF2-40B4-BE49-F238E27FC236}">
                <a16:creationId xmlns:a16="http://schemas.microsoft.com/office/drawing/2014/main" xmlns="" id="{8D02BF83-6A7C-43DB-988E-3BF205FF2B9E}"/>
              </a:ext>
            </a:extLst>
          </p:cNvPr>
          <p:cNvSpPr txBox="1"/>
          <p:nvPr/>
        </p:nvSpPr>
        <p:spPr>
          <a:xfrm>
            <a:off x="3176466" y="1935097"/>
            <a:ext cx="3167214" cy="1077218"/>
          </a:xfrm>
          <a:prstGeom prst="rect">
            <a:avLst/>
          </a:prstGeom>
          <a:noFill/>
        </p:spPr>
        <p:txBody>
          <a:bodyPr wrap="none" lIns="91440" tIns="45720" rIns="91440" bIns="45720" rtlCol="0" anchor="b" anchorCtr="0">
            <a:spAutoFit/>
          </a:bodyPr>
          <a:lstStyle/>
          <a:p>
            <a:pPr algn="r"/>
            <a:r>
              <a:rPr lang="en-GB" sz="1600" b="1">
                <a:solidFill>
                  <a:schemeClr val="tx2"/>
                </a:solidFill>
                <a:latin typeface="+mj-lt"/>
                <a:ea typeface="League Spartan" charset="0"/>
                <a:cs typeface="Poppins" pitchFamily="2" charset="77"/>
              </a:rPr>
              <a:t>Estrategias de los proveedores</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a:solidFill>
                  <a:schemeClr val="tx2"/>
                </a:solidFill>
                <a:latin typeface="+mj-lt"/>
                <a:ea typeface="League Spartan" charset="0"/>
                <a:cs typeface="Poppins" pitchFamily="2" charset="77"/>
              </a:rPr>
              <a:t>(Análisis de desglose de costes de proveedores / </a:t>
            </a:r>
            <a:r>
              <a:rPr lang="en-GB" sz="1600" dirty="0">
                <a:latin typeface="+mj-lt"/>
                <a:ea typeface="League Spartan" charset="0"/>
                <a:cs typeface="Poppins" pitchFamily="2" charset="77"/>
              </a:rPr>
              <a:t/>
            </a:r>
            <a:br>
              <a:rPr lang="en-GB" sz="1600" dirty="0">
                <a:latin typeface="+mj-lt"/>
                <a:ea typeface="League Spartan" charset="0"/>
                <a:cs typeface="Poppins" pitchFamily="2" charset="77"/>
              </a:rPr>
            </a:br>
            <a:r>
              <a:rPr lang="en-GB" sz="1600">
                <a:solidFill>
                  <a:schemeClr val="tx2"/>
                </a:solidFill>
                <a:latin typeface="+mj-lt"/>
                <a:ea typeface="League Spartan" charset="0"/>
                <a:cs typeface="Poppins" pitchFamily="2" charset="77"/>
              </a:rPr>
              <a:t>Solicitud de ofertas / </a:t>
            </a:r>
            <a:r>
              <a:rPr lang="en-GB" sz="1600" dirty="0">
                <a:latin typeface="+mj-lt"/>
                <a:ea typeface="League Spartan" charset="0"/>
                <a:cs typeface="Poppins" pitchFamily="2" charset="77"/>
              </a:rPr>
              <a:t/>
            </a:r>
            <a:br>
              <a:rPr lang="en-GB" sz="1600" dirty="0">
                <a:latin typeface="+mj-lt"/>
                <a:ea typeface="League Spartan" charset="0"/>
                <a:cs typeface="Poppins" pitchFamily="2" charset="77"/>
              </a:rPr>
            </a:br>
            <a:r>
              <a:rPr lang="en-GB" sz="1600">
                <a:solidFill>
                  <a:schemeClr val="tx2"/>
                </a:solidFill>
                <a:latin typeface="+mj-lt"/>
                <a:ea typeface="League Spartan" charset="0"/>
                <a:cs typeface="Poppins" pitchFamily="2" charset="77"/>
              </a:rPr>
              <a:t>Talleres de diseño con los proveedores)/ </a:t>
            </a:r>
          </a:p>
        </p:txBody>
      </p:sp>
      <p:sp>
        <p:nvSpPr>
          <p:cNvPr id="17" name="TextBox 87">
            <a:extLst>
              <a:ext uri="{FF2B5EF4-FFF2-40B4-BE49-F238E27FC236}">
                <a16:creationId xmlns:a16="http://schemas.microsoft.com/office/drawing/2014/main" xmlns="" id="{82C68E9D-2EDA-40FC-9F18-C5BC434C7A8E}"/>
              </a:ext>
            </a:extLst>
          </p:cNvPr>
          <p:cNvSpPr txBox="1"/>
          <p:nvPr/>
        </p:nvSpPr>
        <p:spPr>
          <a:xfrm>
            <a:off x="8597193" y="1863927"/>
            <a:ext cx="2399247" cy="830997"/>
          </a:xfrm>
          <a:prstGeom prst="rect">
            <a:avLst/>
          </a:prstGeom>
          <a:noFill/>
        </p:spPr>
        <p:txBody>
          <a:bodyPr wrap="none" lIns="91440" tIns="45720" rIns="91440" bIns="45720" rtlCol="0" anchor="b" anchorCtr="0">
            <a:spAutoFit/>
          </a:bodyPr>
          <a:lstStyle/>
          <a:p>
            <a:r>
              <a:rPr lang="en-GB" sz="1600" b="1" dirty="0">
                <a:solidFill>
                  <a:schemeClr val="tx2"/>
                </a:solidFill>
                <a:latin typeface="+mj-lt"/>
                <a:ea typeface="League Spartan" charset="0"/>
                <a:cs typeface="Poppins" pitchFamily="2" charset="77"/>
              </a:rPr>
              <a:t>Estrategias de consolidación</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Consolidación de proveedores / </a:t>
            </a:r>
            <a:br>
              <a:rPr lang="en-GB" sz="1600" dirty="0">
                <a:solidFill>
                  <a:schemeClr val="tx2"/>
                </a:solidFill>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Consolidación de componentes)</a:t>
            </a:r>
          </a:p>
        </p:txBody>
      </p:sp>
      <p:sp>
        <p:nvSpPr>
          <p:cNvPr id="18" name="TextBox 81">
            <a:extLst>
              <a:ext uri="{FF2B5EF4-FFF2-40B4-BE49-F238E27FC236}">
                <a16:creationId xmlns:a16="http://schemas.microsoft.com/office/drawing/2014/main" xmlns="" id="{6B14D351-4425-41A8-90F9-0007560AE176}"/>
              </a:ext>
            </a:extLst>
          </p:cNvPr>
          <p:cNvSpPr txBox="1"/>
          <p:nvPr/>
        </p:nvSpPr>
        <p:spPr>
          <a:xfrm>
            <a:off x="3022518" y="4256269"/>
            <a:ext cx="2529347" cy="830997"/>
          </a:xfrm>
          <a:prstGeom prst="rect">
            <a:avLst/>
          </a:prstGeom>
          <a:noFill/>
        </p:spPr>
        <p:txBody>
          <a:bodyPr wrap="none" rtlCol="0" anchor="b" anchorCtr="0">
            <a:spAutoFit/>
          </a:bodyPr>
          <a:lstStyle/>
          <a:p>
            <a:pPr algn="r"/>
            <a:r>
              <a:rPr lang="en-GB" sz="1600" b="1">
                <a:solidFill>
                  <a:schemeClr val="tx2"/>
                </a:solidFill>
                <a:latin typeface="+mj-lt"/>
                <a:ea typeface="League Spartan" charset="0"/>
                <a:cs typeface="Poppins" pitchFamily="2" charset="77"/>
              </a:rPr>
              <a:t>Estrategias de control de costes</a:t>
            </a:r>
            <a:br>
              <a:rPr lang="en-GB" sz="1600" b="1">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Análisis de funciones / Análisis de productos </a:t>
            </a:r>
            <a:br>
              <a:rPr lang="en-GB" sz="1600">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Análisis de productos)</a:t>
            </a:r>
            <a:endParaRPr lang="en-GB" sz="1600" b="1" dirty="0">
              <a:solidFill>
                <a:schemeClr val="tx2"/>
              </a:solidFill>
              <a:latin typeface="+mj-lt"/>
              <a:ea typeface="League Spartan" charset="0"/>
              <a:cs typeface="Poppins" pitchFamily="2" charset="77"/>
            </a:endParaRPr>
          </a:p>
        </p:txBody>
      </p:sp>
      <p:sp>
        <p:nvSpPr>
          <p:cNvPr id="19" name="TextBox 89">
            <a:extLst>
              <a:ext uri="{FF2B5EF4-FFF2-40B4-BE49-F238E27FC236}">
                <a16:creationId xmlns:a16="http://schemas.microsoft.com/office/drawing/2014/main" xmlns="" id="{4596200A-24A8-492C-BFDE-5258D1C1747B}"/>
              </a:ext>
            </a:extLst>
          </p:cNvPr>
          <p:cNvSpPr txBox="1"/>
          <p:nvPr/>
        </p:nvSpPr>
        <p:spPr>
          <a:xfrm>
            <a:off x="9583606" y="4219303"/>
            <a:ext cx="1818511"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Análisis de la cadena de valor</a:t>
            </a:r>
            <a:endParaRPr lang="en-GB" sz="1600" b="1" dirty="0">
              <a:solidFill>
                <a:schemeClr val="tx2"/>
              </a:solidFill>
              <a:latin typeface="+mj-lt"/>
              <a:ea typeface="League Spartan" charset="0"/>
              <a:cs typeface="Poppins" pitchFamily="2" charset="77"/>
            </a:endParaRPr>
          </a:p>
        </p:txBody>
      </p:sp>
      <p:sp>
        <p:nvSpPr>
          <p:cNvPr id="20" name="TextBox 83">
            <a:extLst>
              <a:ext uri="{FF2B5EF4-FFF2-40B4-BE49-F238E27FC236}">
                <a16:creationId xmlns:a16="http://schemas.microsoft.com/office/drawing/2014/main" xmlns="" id="{85B8CDD4-D719-4F43-8247-44B231B431A2}"/>
              </a:ext>
            </a:extLst>
          </p:cNvPr>
          <p:cNvSpPr txBox="1"/>
          <p:nvPr/>
        </p:nvSpPr>
        <p:spPr>
          <a:xfrm>
            <a:off x="3021496" y="3226649"/>
            <a:ext cx="2472344" cy="830997"/>
          </a:xfrm>
          <a:prstGeom prst="rect">
            <a:avLst/>
          </a:prstGeom>
          <a:noFill/>
        </p:spPr>
        <p:txBody>
          <a:bodyPr wrap="none" rtlCol="0" anchor="b" anchorCtr="0">
            <a:spAutoFit/>
          </a:bodyPr>
          <a:lstStyle/>
          <a:p>
            <a:pPr algn="r"/>
            <a:r>
              <a:rPr lang="en-GB" sz="1600" b="1">
                <a:solidFill>
                  <a:schemeClr val="tx2"/>
                </a:solidFill>
                <a:latin typeface="+mj-lt"/>
                <a:ea typeface="League Spartan" charset="0"/>
                <a:cs typeface="Poppins" pitchFamily="2" charset="77"/>
              </a:rPr>
              <a:t>Estrategias de evaluación comparativa </a:t>
            </a:r>
            <a:br>
              <a:rPr lang="en-GB" sz="1600" b="1">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Benchmarking de producto /</a:t>
            </a:r>
            <a:br>
              <a:rPr lang="en-GB" sz="1600">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Evaluación comparativa de la competencia)</a:t>
            </a:r>
            <a:endParaRPr lang="en-GB" sz="1600" dirty="0">
              <a:solidFill>
                <a:schemeClr val="tx2"/>
              </a:solidFill>
              <a:latin typeface="+mj-lt"/>
              <a:ea typeface="League Spartan" charset="0"/>
              <a:cs typeface="Poppins" pitchFamily="2" charset="77"/>
            </a:endParaRPr>
          </a:p>
        </p:txBody>
      </p:sp>
      <p:sp>
        <p:nvSpPr>
          <p:cNvPr id="21" name="TextBox 91">
            <a:extLst>
              <a:ext uri="{FF2B5EF4-FFF2-40B4-BE49-F238E27FC236}">
                <a16:creationId xmlns:a16="http://schemas.microsoft.com/office/drawing/2014/main" xmlns="" id="{4DAD6A1B-E939-4B18-8F65-385B23A6F1A4}"/>
              </a:ext>
            </a:extLst>
          </p:cNvPr>
          <p:cNvSpPr txBox="1"/>
          <p:nvPr/>
        </p:nvSpPr>
        <p:spPr>
          <a:xfrm>
            <a:off x="9476045" y="2930033"/>
            <a:ext cx="2620141" cy="830997"/>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Estrategias de abastecimiento</a:t>
            </a:r>
            <a:br>
              <a:rPr lang="en-GB" sz="1600" b="1">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Abastecimiento de países de bajo coste / </a:t>
            </a:r>
            <a:br>
              <a:rPr lang="en-GB" sz="1600">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Abastecimiento simple / doble)</a:t>
            </a:r>
            <a:endParaRPr lang="en-GB" sz="1600"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16961335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84813" y="580647"/>
            <a:ext cx="8852375" cy="697353"/>
          </a:xfrm>
        </p:spPr>
        <p:txBody>
          <a:bodyPr>
            <a:normAutofit/>
          </a:bodyPr>
          <a:lstStyle/>
          <a:p>
            <a:r>
              <a:rPr lang="en-GB" dirty="0"/>
              <a:t>Medidas rápidas:    Producc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030870" cy="279081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os procesos de producción inestables, la mala calidad y los altos índices de desechos son problemas típicos que causan o aceleran la crisis. Es esencialmente importante tener todos los procesos centrales en su sitio. </a:t>
            </a:r>
            <a:endParaRPr lang="en-US" dirty="0">
              <a:solidFill>
                <a:srgbClr val="245473"/>
              </a:solidFill>
            </a:endParaRPr>
          </a:p>
        </p:txBody>
      </p:sp>
      <p:grpSp>
        <p:nvGrpSpPr>
          <p:cNvPr id="5" name="Gruppieren 4">
            <a:extLst>
              <a:ext uri="{FF2B5EF4-FFF2-40B4-BE49-F238E27FC236}">
                <a16:creationId xmlns:a16="http://schemas.microsoft.com/office/drawing/2014/main" xmlns="" id="{466CC3C7-816E-4F47-9C72-4F2EF02E1263}"/>
              </a:ext>
            </a:extLst>
          </p:cNvPr>
          <p:cNvGrpSpPr/>
          <p:nvPr/>
        </p:nvGrpSpPr>
        <p:grpSpPr>
          <a:xfrm>
            <a:off x="6774082" y="2519739"/>
            <a:ext cx="1088242" cy="867947"/>
            <a:chOff x="2290684" y="1670769"/>
            <a:chExt cx="1808891" cy="1606818"/>
          </a:xfrm>
        </p:grpSpPr>
        <p:sp>
          <p:nvSpPr>
            <p:cNvPr id="6" name="Rounded Rectangle 60">
              <a:extLst>
                <a:ext uri="{FF2B5EF4-FFF2-40B4-BE49-F238E27FC236}">
                  <a16:creationId xmlns:a16="http://schemas.microsoft.com/office/drawing/2014/main" xmlns="" id="{4E406E1A-1910-4BD8-979A-A60E3BFF5AA1}"/>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7" name="Rounded Rectangle 63">
              <a:extLst>
                <a:ext uri="{FF2B5EF4-FFF2-40B4-BE49-F238E27FC236}">
                  <a16:creationId xmlns:a16="http://schemas.microsoft.com/office/drawing/2014/main" xmlns="" id="{7E627314-754B-4EC7-8B52-478A47DFA387}"/>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8" name="Rounded Rectangle 62">
              <a:extLst>
                <a:ext uri="{FF2B5EF4-FFF2-40B4-BE49-F238E27FC236}">
                  <a16:creationId xmlns:a16="http://schemas.microsoft.com/office/drawing/2014/main" xmlns="" id="{90226900-FB06-40B0-AF09-6F792763B360}"/>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9" name="Gruppieren 8">
            <a:extLst>
              <a:ext uri="{FF2B5EF4-FFF2-40B4-BE49-F238E27FC236}">
                <a16:creationId xmlns:a16="http://schemas.microsoft.com/office/drawing/2014/main" xmlns="" id="{567D8BD3-4DBB-41EA-9C0D-CBC7A3824FD5}"/>
              </a:ext>
            </a:extLst>
          </p:cNvPr>
          <p:cNvGrpSpPr/>
          <p:nvPr/>
        </p:nvGrpSpPr>
        <p:grpSpPr>
          <a:xfrm>
            <a:off x="6774082" y="3021208"/>
            <a:ext cx="1088242" cy="867947"/>
            <a:chOff x="2290684" y="3390989"/>
            <a:chExt cx="1808891" cy="1606818"/>
          </a:xfrm>
        </p:grpSpPr>
        <p:sp>
          <p:nvSpPr>
            <p:cNvPr id="10" name="Rounded Rectangle 70">
              <a:extLst>
                <a:ext uri="{FF2B5EF4-FFF2-40B4-BE49-F238E27FC236}">
                  <a16:creationId xmlns:a16="http://schemas.microsoft.com/office/drawing/2014/main" xmlns="" id="{7DAAD918-3866-4CE2-8136-D9C9C77DA125}"/>
                </a:ext>
              </a:extLst>
            </p:cNvPr>
            <p:cNvSpPr/>
            <p:nvPr/>
          </p:nvSpPr>
          <p:spPr>
            <a:xfrm>
              <a:off x="2290684" y="3967677"/>
              <a:ext cx="1808891"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1" name="Rounded Rectangle 71">
              <a:extLst>
                <a:ext uri="{FF2B5EF4-FFF2-40B4-BE49-F238E27FC236}">
                  <a16:creationId xmlns:a16="http://schemas.microsoft.com/office/drawing/2014/main" xmlns="" id="{999C52A7-8A57-48EC-BEFB-F53AF0C79827}"/>
                </a:ext>
              </a:extLst>
            </p:cNvPr>
            <p:cNvSpPr/>
            <p:nvPr/>
          </p:nvSpPr>
          <p:spPr>
            <a:xfrm rot="18893649">
              <a:off x="3082077" y="4207067"/>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2" name="Rounded Rectangle 72">
              <a:extLst>
                <a:ext uri="{FF2B5EF4-FFF2-40B4-BE49-F238E27FC236}">
                  <a16:creationId xmlns:a16="http://schemas.microsoft.com/office/drawing/2014/main" xmlns="" id="{8B604882-A955-412A-8EC7-540AC2821E72}"/>
                </a:ext>
              </a:extLst>
            </p:cNvPr>
            <p:cNvSpPr/>
            <p:nvPr/>
          </p:nvSpPr>
          <p:spPr>
            <a:xfrm rot="2717866">
              <a:off x="3082874" y="3724731"/>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13" name="Gruppieren 12">
            <a:extLst>
              <a:ext uri="{FF2B5EF4-FFF2-40B4-BE49-F238E27FC236}">
                <a16:creationId xmlns:a16="http://schemas.microsoft.com/office/drawing/2014/main" xmlns="" id="{23285BE3-8251-41EB-B1C8-B78A3B609477}"/>
              </a:ext>
            </a:extLst>
          </p:cNvPr>
          <p:cNvGrpSpPr/>
          <p:nvPr/>
        </p:nvGrpSpPr>
        <p:grpSpPr>
          <a:xfrm rot="10800000">
            <a:off x="6774081" y="2031319"/>
            <a:ext cx="1088242" cy="867946"/>
            <a:chOff x="3772626" y="2531562"/>
            <a:chExt cx="1808891" cy="1606817"/>
          </a:xfrm>
        </p:grpSpPr>
        <p:sp>
          <p:nvSpPr>
            <p:cNvPr id="14" name="Rounded Rectangle 74">
              <a:extLst>
                <a:ext uri="{FF2B5EF4-FFF2-40B4-BE49-F238E27FC236}">
                  <a16:creationId xmlns:a16="http://schemas.microsoft.com/office/drawing/2014/main" xmlns="" id="{CF766CF0-2FF4-49D8-98DD-EA85043FDE7C}"/>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5" name="Rounded Rectangle 75">
              <a:extLst>
                <a:ext uri="{FF2B5EF4-FFF2-40B4-BE49-F238E27FC236}">
                  <a16:creationId xmlns:a16="http://schemas.microsoft.com/office/drawing/2014/main" xmlns="" id="{5FA96652-7A5E-463A-BE1B-D9994DFC1102}"/>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6" name="Rounded Rectangle 76">
              <a:extLst>
                <a:ext uri="{FF2B5EF4-FFF2-40B4-BE49-F238E27FC236}">
                  <a16:creationId xmlns:a16="http://schemas.microsoft.com/office/drawing/2014/main" xmlns="" id="{6905BEC1-FEF8-48BD-8296-726DEE599DC6}"/>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17" name="Gruppieren 16">
            <a:extLst>
              <a:ext uri="{FF2B5EF4-FFF2-40B4-BE49-F238E27FC236}">
                <a16:creationId xmlns:a16="http://schemas.microsoft.com/office/drawing/2014/main" xmlns="" id="{910D5BB6-B313-4BA5-A45B-B363A0C9A3AC}"/>
              </a:ext>
            </a:extLst>
          </p:cNvPr>
          <p:cNvGrpSpPr/>
          <p:nvPr/>
        </p:nvGrpSpPr>
        <p:grpSpPr>
          <a:xfrm rot="10800000">
            <a:off x="6774081" y="3526229"/>
            <a:ext cx="1088242" cy="867947"/>
            <a:chOff x="3749667" y="4263234"/>
            <a:chExt cx="1808891" cy="1606818"/>
          </a:xfrm>
        </p:grpSpPr>
        <p:sp>
          <p:nvSpPr>
            <p:cNvPr id="18" name="Rounded Rectangle 78">
              <a:extLst>
                <a:ext uri="{FF2B5EF4-FFF2-40B4-BE49-F238E27FC236}">
                  <a16:creationId xmlns:a16="http://schemas.microsoft.com/office/drawing/2014/main" xmlns="" id="{C5692A4D-3BFF-412B-9503-AC6DDF76180C}"/>
                </a:ext>
              </a:extLst>
            </p:cNvPr>
            <p:cNvSpPr/>
            <p:nvPr/>
          </p:nvSpPr>
          <p:spPr>
            <a:xfrm rot="10800000">
              <a:off x="3749667" y="4836366"/>
              <a:ext cx="1808891"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9" name="Rounded Rectangle 79">
              <a:extLst>
                <a:ext uri="{FF2B5EF4-FFF2-40B4-BE49-F238E27FC236}">
                  <a16:creationId xmlns:a16="http://schemas.microsoft.com/office/drawing/2014/main" xmlns="" id="{B19899C5-06B9-4CBE-9D24-D3F69E15DEB6}"/>
                </a:ext>
              </a:extLst>
            </p:cNvPr>
            <p:cNvSpPr/>
            <p:nvPr/>
          </p:nvSpPr>
          <p:spPr>
            <a:xfrm rot="8093649">
              <a:off x="3642680" y="4596976"/>
              <a:ext cx="1124482"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0" name="Rounded Rectangle 80">
              <a:extLst>
                <a:ext uri="{FF2B5EF4-FFF2-40B4-BE49-F238E27FC236}">
                  <a16:creationId xmlns:a16="http://schemas.microsoft.com/office/drawing/2014/main" xmlns="" id="{B7B96230-025B-44B6-9924-01D9CECA4A9E}"/>
                </a:ext>
              </a:extLst>
            </p:cNvPr>
            <p:cNvSpPr/>
            <p:nvPr/>
          </p:nvSpPr>
          <p:spPr>
            <a:xfrm rot="13517866">
              <a:off x="3641883" y="5079312"/>
              <a:ext cx="1124482"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21" name="Gruppieren 20">
            <a:extLst>
              <a:ext uri="{FF2B5EF4-FFF2-40B4-BE49-F238E27FC236}">
                <a16:creationId xmlns:a16="http://schemas.microsoft.com/office/drawing/2014/main" xmlns="" id="{AB1D54D2-5905-478A-B220-2DFDC3E8D809}"/>
              </a:ext>
            </a:extLst>
          </p:cNvPr>
          <p:cNvGrpSpPr/>
          <p:nvPr/>
        </p:nvGrpSpPr>
        <p:grpSpPr>
          <a:xfrm>
            <a:off x="6774000" y="4520170"/>
            <a:ext cx="1088242" cy="867947"/>
            <a:chOff x="2290684" y="1670769"/>
            <a:chExt cx="1808891" cy="1606818"/>
          </a:xfrm>
        </p:grpSpPr>
        <p:sp>
          <p:nvSpPr>
            <p:cNvPr id="22" name="Rounded Rectangle 60">
              <a:extLst>
                <a:ext uri="{FF2B5EF4-FFF2-40B4-BE49-F238E27FC236}">
                  <a16:creationId xmlns:a16="http://schemas.microsoft.com/office/drawing/2014/main" xmlns="" id="{F52C07C2-1B2F-477F-B718-B68C436E2159}"/>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3" name="Rounded Rectangle 63">
              <a:extLst>
                <a:ext uri="{FF2B5EF4-FFF2-40B4-BE49-F238E27FC236}">
                  <a16:creationId xmlns:a16="http://schemas.microsoft.com/office/drawing/2014/main" xmlns="" id="{C9DC05DF-D6E1-4098-8DFB-5CD364F544E7}"/>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4" name="Rounded Rectangle 62">
              <a:extLst>
                <a:ext uri="{FF2B5EF4-FFF2-40B4-BE49-F238E27FC236}">
                  <a16:creationId xmlns:a16="http://schemas.microsoft.com/office/drawing/2014/main" xmlns="" id="{F2F78C99-2D40-4E3F-A396-747135948B80}"/>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25" name="Gruppieren 24">
            <a:extLst>
              <a:ext uri="{FF2B5EF4-FFF2-40B4-BE49-F238E27FC236}">
                <a16:creationId xmlns:a16="http://schemas.microsoft.com/office/drawing/2014/main" xmlns="" id="{285FE4E5-0A17-4795-A245-1229B4B9713D}"/>
              </a:ext>
            </a:extLst>
          </p:cNvPr>
          <p:cNvGrpSpPr/>
          <p:nvPr/>
        </p:nvGrpSpPr>
        <p:grpSpPr>
          <a:xfrm>
            <a:off x="6774000" y="5021639"/>
            <a:ext cx="1088242" cy="867947"/>
            <a:chOff x="2290684" y="3390989"/>
            <a:chExt cx="1808891" cy="1606818"/>
          </a:xfrm>
        </p:grpSpPr>
        <p:sp>
          <p:nvSpPr>
            <p:cNvPr id="26" name="Rounded Rectangle 70">
              <a:extLst>
                <a:ext uri="{FF2B5EF4-FFF2-40B4-BE49-F238E27FC236}">
                  <a16:creationId xmlns:a16="http://schemas.microsoft.com/office/drawing/2014/main" xmlns="" id="{F45767FC-CC33-49D3-BDD6-FB58E5021966}"/>
                </a:ext>
              </a:extLst>
            </p:cNvPr>
            <p:cNvSpPr/>
            <p:nvPr/>
          </p:nvSpPr>
          <p:spPr>
            <a:xfrm>
              <a:off x="2290684" y="3967677"/>
              <a:ext cx="1808891"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7" name="Rounded Rectangle 71">
              <a:extLst>
                <a:ext uri="{FF2B5EF4-FFF2-40B4-BE49-F238E27FC236}">
                  <a16:creationId xmlns:a16="http://schemas.microsoft.com/office/drawing/2014/main" xmlns="" id="{26CEAE79-A0C9-467A-A6DB-111F7A9A9F99}"/>
                </a:ext>
              </a:extLst>
            </p:cNvPr>
            <p:cNvSpPr/>
            <p:nvPr/>
          </p:nvSpPr>
          <p:spPr>
            <a:xfrm rot="18893649">
              <a:off x="3082077" y="4207067"/>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8" name="Rounded Rectangle 72">
              <a:extLst>
                <a:ext uri="{FF2B5EF4-FFF2-40B4-BE49-F238E27FC236}">
                  <a16:creationId xmlns:a16="http://schemas.microsoft.com/office/drawing/2014/main" xmlns="" id="{F020CAF4-5FC2-473D-89F4-E34C1E3A81BB}"/>
                </a:ext>
              </a:extLst>
            </p:cNvPr>
            <p:cNvSpPr/>
            <p:nvPr/>
          </p:nvSpPr>
          <p:spPr>
            <a:xfrm rot="2717866">
              <a:off x="3082874" y="3724731"/>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29" name="Gruppieren 28">
            <a:extLst>
              <a:ext uri="{FF2B5EF4-FFF2-40B4-BE49-F238E27FC236}">
                <a16:creationId xmlns:a16="http://schemas.microsoft.com/office/drawing/2014/main" xmlns="" id="{20F8BBC4-3AA0-4296-AD2B-EACA77D98969}"/>
              </a:ext>
            </a:extLst>
          </p:cNvPr>
          <p:cNvGrpSpPr/>
          <p:nvPr/>
        </p:nvGrpSpPr>
        <p:grpSpPr>
          <a:xfrm rot="10800000">
            <a:off x="6773999" y="4031750"/>
            <a:ext cx="1088242" cy="867946"/>
            <a:chOff x="3772626" y="2531562"/>
            <a:chExt cx="1808891" cy="1606817"/>
          </a:xfrm>
        </p:grpSpPr>
        <p:sp>
          <p:nvSpPr>
            <p:cNvPr id="30" name="Rounded Rectangle 74">
              <a:extLst>
                <a:ext uri="{FF2B5EF4-FFF2-40B4-BE49-F238E27FC236}">
                  <a16:creationId xmlns:a16="http://schemas.microsoft.com/office/drawing/2014/main" xmlns="" id="{22CE87CE-C6C2-466C-B22F-3A3CBC478394}"/>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31" name="Rounded Rectangle 75">
              <a:extLst>
                <a:ext uri="{FF2B5EF4-FFF2-40B4-BE49-F238E27FC236}">
                  <a16:creationId xmlns:a16="http://schemas.microsoft.com/office/drawing/2014/main" xmlns="" id="{83EAEA51-F41E-4FA2-80C2-12121D110993}"/>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32" name="Rounded Rectangle 76">
              <a:extLst>
                <a:ext uri="{FF2B5EF4-FFF2-40B4-BE49-F238E27FC236}">
                  <a16:creationId xmlns:a16="http://schemas.microsoft.com/office/drawing/2014/main" xmlns="" id="{E910D177-8B88-4112-B827-2DDDC3B0101B}"/>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sp>
        <p:nvSpPr>
          <p:cNvPr id="33" name="TextBox 79">
            <a:extLst>
              <a:ext uri="{FF2B5EF4-FFF2-40B4-BE49-F238E27FC236}">
                <a16:creationId xmlns:a16="http://schemas.microsoft.com/office/drawing/2014/main" xmlns="" id="{C400918B-741F-4E4D-AF98-D289B749D19C}"/>
              </a:ext>
            </a:extLst>
          </p:cNvPr>
          <p:cNvSpPr txBox="1"/>
          <p:nvPr/>
        </p:nvSpPr>
        <p:spPr>
          <a:xfrm>
            <a:off x="4968623" y="2292555"/>
            <a:ext cx="1684757" cy="338554"/>
          </a:xfrm>
          <a:prstGeom prst="rect">
            <a:avLst/>
          </a:prstGeom>
          <a:noFill/>
        </p:spPr>
        <p:txBody>
          <a:bodyPr wrap="none" lIns="91440" tIns="45720" rIns="91440" bIns="45720" rtlCol="0" anchor="ctr" anchorCtr="0">
            <a:spAutoFit/>
          </a:bodyPr>
          <a:lstStyle/>
          <a:p>
            <a:pPr algn="r"/>
            <a:r>
              <a:rPr lang="en-GB" sz="1600" b="1">
                <a:solidFill>
                  <a:schemeClr val="tx2"/>
                </a:solidFill>
                <a:latin typeface="+mj-lt"/>
                <a:ea typeface="League Spartan" charset="0"/>
                <a:cs typeface="Poppins" pitchFamily="2" charset="77"/>
              </a:rPr>
              <a:t>Procesos inestables</a:t>
            </a:r>
          </a:p>
        </p:txBody>
      </p:sp>
      <p:sp>
        <p:nvSpPr>
          <p:cNvPr id="34" name="TextBox 87">
            <a:extLst>
              <a:ext uri="{FF2B5EF4-FFF2-40B4-BE49-F238E27FC236}">
                <a16:creationId xmlns:a16="http://schemas.microsoft.com/office/drawing/2014/main" xmlns="" id="{C23895D4-E610-4EDC-BEF4-38F047F041C8}"/>
              </a:ext>
            </a:extLst>
          </p:cNvPr>
          <p:cNvSpPr txBox="1"/>
          <p:nvPr/>
        </p:nvSpPr>
        <p:spPr>
          <a:xfrm>
            <a:off x="8062918" y="2169445"/>
            <a:ext cx="3698000" cy="584775"/>
          </a:xfrm>
          <a:prstGeom prst="rect">
            <a:avLst/>
          </a:prstGeom>
          <a:noFill/>
        </p:spPr>
        <p:txBody>
          <a:bodyPr wrap="none" lIns="91440" tIns="45720" rIns="91440" bIns="45720" rtlCol="0" anchor="ctr" anchorCtr="0">
            <a:spAutoFit/>
          </a:bodyPr>
          <a:lstStyle/>
          <a:p>
            <a:r>
              <a:rPr lang="en-GB" sz="1600" b="1" dirty="0">
                <a:solidFill>
                  <a:schemeClr val="tx2"/>
                </a:solidFill>
                <a:latin typeface="+mj-lt"/>
                <a:ea typeface="League Spartan" charset="0"/>
                <a:cs typeface="Poppins" pitchFamily="2" charset="77"/>
              </a:rPr>
              <a:t>Estabilizar los procesos para reducir los desechos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y retrabajo</a:t>
            </a:r>
          </a:p>
        </p:txBody>
      </p:sp>
      <p:sp>
        <p:nvSpPr>
          <p:cNvPr id="35" name="TextBox 79">
            <a:extLst>
              <a:ext uri="{FF2B5EF4-FFF2-40B4-BE49-F238E27FC236}">
                <a16:creationId xmlns:a16="http://schemas.microsoft.com/office/drawing/2014/main" xmlns="" id="{7497F00E-0871-438A-B3B5-3E9D57FF11EA}"/>
              </a:ext>
            </a:extLst>
          </p:cNvPr>
          <p:cNvSpPr txBox="1"/>
          <p:nvPr/>
        </p:nvSpPr>
        <p:spPr>
          <a:xfrm>
            <a:off x="4385754" y="2786058"/>
            <a:ext cx="2242024" cy="338554"/>
          </a:xfrm>
          <a:prstGeom prst="rect">
            <a:avLst/>
          </a:prstGeom>
          <a:noFill/>
        </p:spPr>
        <p:txBody>
          <a:bodyPr wrap="none" lIns="91440" tIns="45720" rIns="91440" bIns="45720" rtlCol="0" anchor="ctr" anchorCtr="0">
            <a:spAutoFit/>
          </a:bodyPr>
          <a:lstStyle/>
          <a:p>
            <a:pPr algn="r"/>
            <a:r>
              <a:rPr lang="en-GB" sz="1600" b="1">
                <a:solidFill>
                  <a:schemeClr val="tx2"/>
                </a:solidFill>
                <a:latin typeface="+mj-lt"/>
                <a:ea typeface="League Spartan" charset="0"/>
                <a:cs typeface="Poppins" pitchFamily="2" charset="77"/>
              </a:rPr>
              <a:t>Tecnología inadecuada</a:t>
            </a:r>
            <a:endParaRPr lang="en-GB" sz="1600" b="1" dirty="0">
              <a:solidFill>
                <a:schemeClr val="tx2"/>
              </a:solidFill>
              <a:latin typeface="+mj-lt"/>
              <a:ea typeface="League Spartan" charset="0"/>
              <a:cs typeface="Poppins" pitchFamily="2" charset="77"/>
            </a:endParaRPr>
          </a:p>
        </p:txBody>
      </p:sp>
      <p:sp>
        <p:nvSpPr>
          <p:cNvPr id="36" name="TextBox 87">
            <a:extLst>
              <a:ext uri="{FF2B5EF4-FFF2-40B4-BE49-F238E27FC236}">
                <a16:creationId xmlns:a16="http://schemas.microsoft.com/office/drawing/2014/main" xmlns="" id="{F6D71507-171A-4D1E-B844-3E727063B2E3}"/>
              </a:ext>
            </a:extLst>
          </p:cNvPr>
          <p:cNvSpPr txBox="1"/>
          <p:nvPr/>
        </p:nvSpPr>
        <p:spPr>
          <a:xfrm>
            <a:off x="8062918" y="2662947"/>
            <a:ext cx="3578804" cy="584775"/>
          </a:xfrm>
          <a:prstGeom prst="rect">
            <a:avLst/>
          </a:prstGeom>
          <a:noFill/>
        </p:spPr>
        <p:txBody>
          <a:bodyPr wrap="square" rtlCol="0" anchor="ctr" anchorCtr="0">
            <a:spAutoFit/>
          </a:bodyPr>
          <a:lstStyle/>
          <a:p>
            <a:r>
              <a:rPr lang="en-GB" sz="1600" b="1">
                <a:solidFill>
                  <a:schemeClr val="tx2"/>
                </a:solidFill>
                <a:latin typeface="+mj-lt"/>
                <a:ea typeface="League Spartan" charset="0"/>
                <a:cs typeface="Poppins" pitchFamily="2" charset="77"/>
              </a:rPr>
              <a:t>Renovar tecnologías / máquinas anticuadas o no probadas</a:t>
            </a:r>
            <a:endParaRPr lang="en-GB" sz="1600" b="1" dirty="0">
              <a:solidFill>
                <a:schemeClr val="tx2"/>
              </a:solidFill>
              <a:latin typeface="+mj-lt"/>
              <a:ea typeface="League Spartan" charset="0"/>
              <a:cs typeface="Poppins" pitchFamily="2" charset="77"/>
            </a:endParaRPr>
          </a:p>
        </p:txBody>
      </p:sp>
      <p:sp>
        <p:nvSpPr>
          <p:cNvPr id="37" name="TextBox 79">
            <a:extLst>
              <a:ext uri="{FF2B5EF4-FFF2-40B4-BE49-F238E27FC236}">
                <a16:creationId xmlns:a16="http://schemas.microsoft.com/office/drawing/2014/main" xmlns="" id="{426E6CAF-85CE-485D-AE1A-A2B53026D9E8}"/>
              </a:ext>
            </a:extLst>
          </p:cNvPr>
          <p:cNvSpPr txBox="1"/>
          <p:nvPr/>
        </p:nvSpPr>
        <p:spPr>
          <a:xfrm>
            <a:off x="5105245" y="3259723"/>
            <a:ext cx="1522533" cy="338554"/>
          </a:xfrm>
          <a:prstGeom prst="rect">
            <a:avLst/>
          </a:prstGeom>
          <a:noFill/>
        </p:spPr>
        <p:txBody>
          <a:bodyPr wrap="none" rtlCol="0" anchor="ctr" anchorCtr="0">
            <a:spAutoFit/>
          </a:bodyPr>
          <a:lstStyle/>
          <a:p>
            <a:pPr algn="r"/>
            <a:r>
              <a:rPr lang="en-GB" sz="1600" b="1">
                <a:solidFill>
                  <a:schemeClr val="tx2"/>
                </a:solidFill>
                <a:latin typeface="+mj-lt"/>
                <a:ea typeface="League Spartan" charset="0"/>
                <a:cs typeface="Poppins" pitchFamily="2" charset="77"/>
              </a:rPr>
              <a:t>Baja productividad</a:t>
            </a:r>
            <a:endParaRPr lang="en-GB" sz="1600" b="1" dirty="0">
              <a:solidFill>
                <a:schemeClr val="tx2"/>
              </a:solidFill>
              <a:latin typeface="+mj-lt"/>
              <a:ea typeface="League Spartan" charset="0"/>
              <a:cs typeface="Poppins" pitchFamily="2" charset="77"/>
            </a:endParaRPr>
          </a:p>
        </p:txBody>
      </p:sp>
      <p:sp>
        <p:nvSpPr>
          <p:cNvPr id="38" name="TextBox 87">
            <a:extLst>
              <a:ext uri="{FF2B5EF4-FFF2-40B4-BE49-F238E27FC236}">
                <a16:creationId xmlns:a16="http://schemas.microsoft.com/office/drawing/2014/main" xmlns="" id="{0302F883-F10D-4957-93EC-E7D20ED4C862}"/>
              </a:ext>
            </a:extLst>
          </p:cNvPr>
          <p:cNvSpPr txBox="1"/>
          <p:nvPr/>
        </p:nvSpPr>
        <p:spPr>
          <a:xfrm>
            <a:off x="8062918" y="3137910"/>
            <a:ext cx="3578804" cy="584775"/>
          </a:xfrm>
          <a:prstGeom prst="rect">
            <a:avLst/>
          </a:prstGeom>
          <a:noFill/>
        </p:spPr>
        <p:txBody>
          <a:bodyPr wrap="square" rtlCol="0" anchor="ctr" anchorCtr="0">
            <a:spAutoFit/>
          </a:bodyPr>
          <a:lstStyle/>
          <a:p>
            <a:r>
              <a:rPr lang="en-GB" sz="1600" b="1">
                <a:solidFill>
                  <a:schemeClr val="tx2"/>
                </a:solidFill>
                <a:latin typeface="+mj-lt"/>
                <a:ea typeface="League Spartan" charset="0"/>
                <a:cs typeface="Poppins" pitchFamily="2" charset="77"/>
              </a:rPr>
              <a:t>Aplicar un control de la producción a corto plazo para identificar los puntos débiles</a:t>
            </a:r>
            <a:endParaRPr lang="en-GB" sz="1600" b="1" dirty="0">
              <a:solidFill>
                <a:schemeClr val="tx2"/>
              </a:solidFill>
              <a:latin typeface="+mj-lt"/>
              <a:ea typeface="League Spartan" charset="0"/>
              <a:cs typeface="Poppins" pitchFamily="2" charset="77"/>
            </a:endParaRPr>
          </a:p>
        </p:txBody>
      </p:sp>
      <p:sp>
        <p:nvSpPr>
          <p:cNvPr id="39" name="TextBox 79">
            <a:extLst>
              <a:ext uri="{FF2B5EF4-FFF2-40B4-BE49-F238E27FC236}">
                <a16:creationId xmlns:a16="http://schemas.microsoft.com/office/drawing/2014/main" xmlns="" id="{BDD0B9A8-F9C3-4956-B6E0-6FC2D2AA3861}"/>
              </a:ext>
            </a:extLst>
          </p:cNvPr>
          <p:cNvSpPr txBox="1"/>
          <p:nvPr/>
        </p:nvSpPr>
        <p:spPr>
          <a:xfrm>
            <a:off x="4481036" y="3815733"/>
            <a:ext cx="2146742" cy="338554"/>
          </a:xfrm>
          <a:prstGeom prst="rect">
            <a:avLst/>
          </a:prstGeom>
          <a:noFill/>
        </p:spPr>
        <p:txBody>
          <a:bodyPr wrap="none" rtlCol="0" anchor="ctr" anchorCtr="0">
            <a:spAutoFit/>
          </a:bodyPr>
          <a:lstStyle/>
          <a:p>
            <a:pPr algn="r"/>
            <a:r>
              <a:rPr lang="en-GB" sz="1600" b="1">
                <a:solidFill>
                  <a:schemeClr val="tx2"/>
                </a:solidFill>
                <a:latin typeface="+mj-lt"/>
                <a:ea typeface="League Spartan" charset="0"/>
                <a:cs typeface="Poppins" pitchFamily="2" charset="77"/>
              </a:rPr>
              <a:t>Uso problemático de las piezas</a:t>
            </a:r>
            <a:endParaRPr lang="en-GB" sz="1600" b="1" dirty="0">
              <a:solidFill>
                <a:schemeClr val="tx2"/>
              </a:solidFill>
              <a:latin typeface="+mj-lt"/>
              <a:ea typeface="League Spartan" charset="0"/>
              <a:cs typeface="Poppins" pitchFamily="2" charset="77"/>
            </a:endParaRPr>
          </a:p>
        </p:txBody>
      </p:sp>
      <p:sp>
        <p:nvSpPr>
          <p:cNvPr id="40" name="TextBox 87">
            <a:extLst>
              <a:ext uri="{FF2B5EF4-FFF2-40B4-BE49-F238E27FC236}">
                <a16:creationId xmlns:a16="http://schemas.microsoft.com/office/drawing/2014/main" xmlns="" id="{E58CFFFE-32DB-49F7-B01D-8C1C972804E2}"/>
              </a:ext>
            </a:extLst>
          </p:cNvPr>
          <p:cNvSpPr txBox="1"/>
          <p:nvPr/>
        </p:nvSpPr>
        <p:spPr>
          <a:xfrm>
            <a:off x="8062918" y="3817031"/>
            <a:ext cx="3578804" cy="338554"/>
          </a:xfrm>
          <a:prstGeom prst="rect">
            <a:avLst/>
          </a:prstGeom>
          <a:noFill/>
        </p:spPr>
        <p:txBody>
          <a:bodyPr wrap="square" rtlCol="0" anchor="ctr" anchorCtr="0">
            <a:spAutoFit/>
          </a:bodyPr>
          <a:lstStyle/>
          <a:p>
            <a:r>
              <a:rPr lang="en-GB" sz="1600" b="1">
                <a:solidFill>
                  <a:schemeClr val="tx2"/>
                </a:solidFill>
                <a:latin typeface="+mj-lt"/>
                <a:ea typeface="League Spartan" charset="0"/>
                <a:cs typeface="Poppins" pitchFamily="2" charset="77"/>
              </a:rPr>
              <a:t>Estandarizar las piezas utilizadas en la producción</a:t>
            </a:r>
            <a:endParaRPr lang="en-GB" sz="1600" b="1" dirty="0">
              <a:solidFill>
                <a:schemeClr val="tx2"/>
              </a:solidFill>
              <a:latin typeface="+mj-lt"/>
              <a:ea typeface="League Spartan" charset="0"/>
              <a:cs typeface="Poppins" pitchFamily="2" charset="77"/>
            </a:endParaRPr>
          </a:p>
        </p:txBody>
      </p:sp>
      <p:sp>
        <p:nvSpPr>
          <p:cNvPr id="41" name="TextBox 79">
            <a:extLst>
              <a:ext uri="{FF2B5EF4-FFF2-40B4-BE49-F238E27FC236}">
                <a16:creationId xmlns:a16="http://schemas.microsoft.com/office/drawing/2014/main" xmlns="" id="{F8BF2AEE-A0E5-4AC9-BD53-6037F617EDA4}"/>
              </a:ext>
            </a:extLst>
          </p:cNvPr>
          <p:cNvSpPr txBox="1"/>
          <p:nvPr/>
        </p:nvSpPr>
        <p:spPr>
          <a:xfrm>
            <a:off x="5437003" y="4298924"/>
            <a:ext cx="1190775" cy="338554"/>
          </a:xfrm>
          <a:prstGeom prst="rect">
            <a:avLst/>
          </a:prstGeom>
          <a:noFill/>
        </p:spPr>
        <p:txBody>
          <a:bodyPr wrap="none" rtlCol="0" anchor="ctr" anchorCtr="0">
            <a:spAutoFit/>
          </a:bodyPr>
          <a:lstStyle/>
          <a:p>
            <a:pPr algn="r"/>
            <a:r>
              <a:rPr lang="en-GB" sz="1600" b="1">
                <a:solidFill>
                  <a:schemeClr val="tx2"/>
                </a:solidFill>
                <a:latin typeface="+mj-lt"/>
                <a:ea typeface="League Spartan" charset="0"/>
                <a:cs typeface="Poppins" pitchFamily="2" charset="77"/>
              </a:rPr>
              <a:t>Hacer o comprar</a:t>
            </a:r>
            <a:endParaRPr lang="en-GB" sz="1600" b="1" dirty="0">
              <a:solidFill>
                <a:schemeClr val="tx2"/>
              </a:solidFill>
              <a:latin typeface="+mj-lt"/>
              <a:ea typeface="League Spartan" charset="0"/>
              <a:cs typeface="Poppins" pitchFamily="2" charset="77"/>
            </a:endParaRPr>
          </a:p>
        </p:txBody>
      </p:sp>
      <p:sp>
        <p:nvSpPr>
          <p:cNvPr id="42" name="TextBox 87">
            <a:extLst>
              <a:ext uri="{FF2B5EF4-FFF2-40B4-BE49-F238E27FC236}">
                <a16:creationId xmlns:a16="http://schemas.microsoft.com/office/drawing/2014/main" xmlns="" id="{2E950739-3027-47CD-885A-EF7DCDC1DF69}"/>
              </a:ext>
            </a:extLst>
          </p:cNvPr>
          <p:cNvSpPr txBox="1"/>
          <p:nvPr/>
        </p:nvSpPr>
        <p:spPr>
          <a:xfrm>
            <a:off x="8062918" y="4177111"/>
            <a:ext cx="3578804" cy="584775"/>
          </a:xfrm>
          <a:prstGeom prst="rect">
            <a:avLst/>
          </a:prstGeom>
          <a:noFill/>
        </p:spPr>
        <p:txBody>
          <a:bodyPr wrap="square" rtlCol="0" anchor="ctr" anchorCtr="0">
            <a:spAutoFit/>
          </a:bodyPr>
          <a:lstStyle/>
          <a:p>
            <a:r>
              <a:rPr lang="en-GB" sz="1600" b="1">
                <a:solidFill>
                  <a:schemeClr val="tx2"/>
                </a:solidFill>
                <a:latin typeface="+mj-lt"/>
                <a:ea typeface="League Spartan" charset="0"/>
                <a:cs typeface="Poppins" pitchFamily="2" charset="77"/>
              </a:rPr>
              <a:t>Analizar el potencial de la externalización o la internalización</a:t>
            </a:r>
            <a:endParaRPr lang="en-GB" sz="1600" b="1" dirty="0">
              <a:solidFill>
                <a:schemeClr val="tx2"/>
              </a:solidFill>
              <a:latin typeface="+mj-lt"/>
              <a:ea typeface="League Spartan" charset="0"/>
              <a:cs typeface="Poppins" pitchFamily="2" charset="77"/>
            </a:endParaRPr>
          </a:p>
        </p:txBody>
      </p:sp>
      <p:sp>
        <p:nvSpPr>
          <p:cNvPr id="43" name="TextBox 79">
            <a:extLst>
              <a:ext uri="{FF2B5EF4-FFF2-40B4-BE49-F238E27FC236}">
                <a16:creationId xmlns:a16="http://schemas.microsoft.com/office/drawing/2014/main" xmlns="" id="{71D886A1-8395-4ADD-B181-D276A57BD818}"/>
              </a:ext>
            </a:extLst>
          </p:cNvPr>
          <p:cNvSpPr txBox="1"/>
          <p:nvPr/>
        </p:nvSpPr>
        <p:spPr>
          <a:xfrm>
            <a:off x="3701849" y="4790547"/>
            <a:ext cx="2925929" cy="338554"/>
          </a:xfrm>
          <a:prstGeom prst="rect">
            <a:avLst/>
          </a:prstGeom>
          <a:noFill/>
        </p:spPr>
        <p:txBody>
          <a:bodyPr wrap="none" rtlCol="0" anchor="ctr" anchorCtr="0">
            <a:spAutoFit/>
          </a:bodyPr>
          <a:lstStyle/>
          <a:p>
            <a:pPr algn="r"/>
            <a:r>
              <a:rPr lang="en-GB" sz="1600" b="1">
                <a:solidFill>
                  <a:schemeClr val="tx2"/>
                </a:solidFill>
                <a:latin typeface="+mj-lt"/>
                <a:ea typeface="League Spartan" charset="0"/>
                <a:cs typeface="Poppins" pitchFamily="2" charset="77"/>
              </a:rPr>
              <a:t>Altos inventarios / Largos plazos de entrega</a:t>
            </a:r>
            <a:endParaRPr lang="en-GB" sz="1600" b="1" dirty="0">
              <a:solidFill>
                <a:schemeClr val="tx2"/>
              </a:solidFill>
              <a:latin typeface="+mj-lt"/>
              <a:ea typeface="League Spartan" charset="0"/>
              <a:cs typeface="Poppins" pitchFamily="2" charset="77"/>
            </a:endParaRPr>
          </a:p>
        </p:txBody>
      </p:sp>
      <p:sp>
        <p:nvSpPr>
          <p:cNvPr id="44" name="TextBox 87">
            <a:extLst>
              <a:ext uri="{FF2B5EF4-FFF2-40B4-BE49-F238E27FC236}">
                <a16:creationId xmlns:a16="http://schemas.microsoft.com/office/drawing/2014/main" xmlns="" id="{E85F7125-8597-4088-A917-3BD02B84DB18}"/>
              </a:ext>
            </a:extLst>
          </p:cNvPr>
          <p:cNvSpPr txBox="1"/>
          <p:nvPr/>
        </p:nvSpPr>
        <p:spPr>
          <a:xfrm>
            <a:off x="8062918" y="4668734"/>
            <a:ext cx="3578804" cy="584775"/>
          </a:xfrm>
          <a:prstGeom prst="rect">
            <a:avLst/>
          </a:prstGeom>
          <a:noFill/>
        </p:spPr>
        <p:txBody>
          <a:bodyPr wrap="square" rtlCol="0" anchor="ctr" anchorCtr="0">
            <a:spAutoFit/>
          </a:bodyPr>
          <a:lstStyle/>
          <a:p>
            <a:r>
              <a:rPr lang="en-GB" sz="1600" b="1">
                <a:solidFill>
                  <a:schemeClr val="tx2"/>
                </a:solidFill>
                <a:latin typeface="+mj-lt"/>
                <a:ea typeface="League Spartan" charset="0"/>
                <a:cs typeface="Poppins" pitchFamily="2" charset="77"/>
              </a:rPr>
              <a:t>Mejora de los procesos hacia una producción ajustada</a:t>
            </a:r>
            <a:endParaRPr lang="en-GB" sz="1600" b="1" dirty="0">
              <a:solidFill>
                <a:schemeClr val="tx2"/>
              </a:solidFill>
              <a:latin typeface="+mj-lt"/>
              <a:ea typeface="League Spartan" charset="0"/>
              <a:cs typeface="Poppins" pitchFamily="2" charset="77"/>
            </a:endParaRPr>
          </a:p>
        </p:txBody>
      </p:sp>
      <p:sp>
        <p:nvSpPr>
          <p:cNvPr id="45" name="TextBox 79">
            <a:extLst>
              <a:ext uri="{FF2B5EF4-FFF2-40B4-BE49-F238E27FC236}">
                <a16:creationId xmlns:a16="http://schemas.microsoft.com/office/drawing/2014/main" xmlns="" id="{1C9D22B9-AADE-412C-968A-D8957EA0B7EB}"/>
              </a:ext>
            </a:extLst>
          </p:cNvPr>
          <p:cNvSpPr txBox="1"/>
          <p:nvPr/>
        </p:nvSpPr>
        <p:spPr>
          <a:xfrm>
            <a:off x="4354011" y="5282170"/>
            <a:ext cx="2268442" cy="338554"/>
          </a:xfrm>
          <a:prstGeom prst="rect">
            <a:avLst/>
          </a:prstGeom>
          <a:noFill/>
        </p:spPr>
        <p:txBody>
          <a:bodyPr wrap="none" rtlCol="0" anchor="ctr" anchorCtr="0">
            <a:spAutoFit/>
          </a:bodyPr>
          <a:lstStyle/>
          <a:p>
            <a:pPr algn="r"/>
            <a:r>
              <a:rPr lang="en-GB" sz="1600" b="1">
                <a:solidFill>
                  <a:schemeClr val="tx2"/>
                </a:solidFill>
                <a:latin typeface="+mj-lt"/>
                <a:ea typeface="League Spartan" charset="0"/>
                <a:cs typeface="Poppins" pitchFamily="2" charset="77"/>
              </a:rPr>
              <a:t>Tiempos de vacío y de parada</a:t>
            </a:r>
            <a:endParaRPr lang="en-GB" sz="1600" b="1" dirty="0">
              <a:solidFill>
                <a:schemeClr val="tx2"/>
              </a:solidFill>
              <a:latin typeface="+mj-lt"/>
              <a:ea typeface="League Spartan" charset="0"/>
              <a:cs typeface="Poppins" pitchFamily="2" charset="77"/>
            </a:endParaRPr>
          </a:p>
        </p:txBody>
      </p:sp>
      <p:sp>
        <p:nvSpPr>
          <p:cNvPr id="46" name="TextBox 87">
            <a:extLst>
              <a:ext uri="{FF2B5EF4-FFF2-40B4-BE49-F238E27FC236}">
                <a16:creationId xmlns:a16="http://schemas.microsoft.com/office/drawing/2014/main" xmlns="" id="{5173466E-340F-42C9-BA5B-678CE97BB769}"/>
              </a:ext>
            </a:extLst>
          </p:cNvPr>
          <p:cNvSpPr txBox="1"/>
          <p:nvPr/>
        </p:nvSpPr>
        <p:spPr>
          <a:xfrm>
            <a:off x="8057593" y="5160357"/>
            <a:ext cx="3578804" cy="584775"/>
          </a:xfrm>
          <a:prstGeom prst="rect">
            <a:avLst/>
          </a:prstGeom>
          <a:noFill/>
        </p:spPr>
        <p:txBody>
          <a:bodyPr wrap="square" rtlCol="0" anchor="ctr" anchorCtr="0">
            <a:spAutoFit/>
          </a:bodyPr>
          <a:lstStyle/>
          <a:p>
            <a:r>
              <a:rPr lang="en-GB" sz="1600" b="1">
                <a:solidFill>
                  <a:schemeClr val="tx2"/>
                </a:solidFill>
                <a:latin typeface="+mj-lt"/>
                <a:ea typeface="League Spartan" charset="0"/>
                <a:cs typeface="Poppins" pitchFamily="2" charset="77"/>
              </a:rPr>
              <a:t>Aplicar una planificación adecuada de los recursos y la producción</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597611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1359635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89381" y="474187"/>
            <a:ext cx="8852375" cy="697353"/>
          </a:xfrm>
        </p:spPr>
        <p:txBody>
          <a:bodyPr>
            <a:normAutofit/>
          </a:bodyPr>
          <a:lstStyle/>
          <a:p>
            <a:r>
              <a:rPr lang="en-GB" dirty="0"/>
              <a:t>Opciones estratégicas en la crisis: Crisis tardí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8601" y="1872343"/>
            <a:ext cx="2832652"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n contra de la creencia común, la insolvencia no es necesariamente el fin de la empresa. Aunque las opciones estratégicas sean muy limitadas, el marco legal de la mayoría de los países también permite la reestructuración dentro de la insolvencia. </a:t>
            </a:r>
            <a:endParaRPr lang="en-US" sz="1800" dirty="0">
              <a:solidFill>
                <a:srgbClr val="245473"/>
              </a:solidFill>
            </a:endParaRP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Como los marcos jurídicos en Europa son muy variados, no es posible adoptar una visión global en este curso</a:t>
            </a:r>
          </a:p>
          <a:p>
            <a:pPr marL="285750" indent="-285750" algn="l">
              <a:lnSpc>
                <a:spcPct val="100000"/>
              </a:lnSpc>
              <a:spcBef>
                <a:spcPts val="600"/>
              </a:spcBef>
              <a:buFont typeface="Wingdings" panose="05000000000000000000" pitchFamily="2" charset="2"/>
              <a:buChar char="à"/>
            </a:pPr>
            <a:r>
              <a:rPr lang="en-GB" sz="1800" b="1" dirty="0">
                <a:solidFill>
                  <a:srgbClr val="245473"/>
                </a:solidFill>
                <a:latin typeface="+mj-lt"/>
                <a:ea typeface="Open Sans Light" panose="020B0306030504020204" pitchFamily="34" charset="0"/>
                <a:cs typeface="Open Sans Light" panose="020B0306030504020204" pitchFamily="34" charset="0"/>
              </a:rPr>
              <a:t>Por principio, debería obtener urgentemente asesoramiento jurídico y de gestión empresarial. </a:t>
            </a: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193166" y="1868372"/>
            <a:ext cx="6770233" cy="84006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No queda efectivo / Préstamos en mora</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Todos los ratios financieros son negativo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os clientes abandonan a los competidore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No hay materias primas disponible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os empleados se precipitan hacia la puerta</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os abogados toman el relevo</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02150" y="2007420"/>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Los síntomas:</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003756" y="5374932"/>
            <a:ext cx="6770233" cy="100661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habilitar el negocio con nueva financiación</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estructuración extrajudicial</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Vender la empresa</a:t>
            </a:r>
          </a:p>
          <a:p>
            <a:pPr marL="182563" indent="-182563" algn="l">
              <a:lnSpc>
                <a:spcPts val="1313"/>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estructuración en los tribunales</a:t>
            </a:r>
          </a:p>
          <a:p>
            <a:pPr marL="182563" indent="-182563"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45252"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Acciones:</a:t>
            </a:r>
          </a:p>
        </p:txBody>
      </p:sp>
      <p:sp>
        <p:nvSpPr>
          <p:cNvPr id="13" name="Trapezoid 12">
            <a:extLst>
              <a:ext uri="{FF2B5EF4-FFF2-40B4-BE49-F238E27FC236}">
                <a16:creationId xmlns:a16="http://schemas.microsoft.com/office/drawing/2014/main" xmlns="" id="{39210B4B-CAF6-4E86-8239-5405095CD342}"/>
              </a:ext>
            </a:extLst>
          </p:cNvPr>
          <p:cNvSpPr/>
          <p:nvPr/>
        </p:nvSpPr>
        <p:spPr>
          <a:xfrm rot="5400000">
            <a:off x="7767415" y="3089311"/>
            <a:ext cx="1191128" cy="1889760"/>
          </a:xfrm>
          <a:prstGeom prst="trapezoid">
            <a:avLst>
              <a:gd name="adj" fmla="val 23751"/>
            </a:avLst>
          </a:prstGeom>
          <a:solidFill>
            <a:srgbClr val="E532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7411427" y="3722475"/>
            <a:ext cx="1883088" cy="64569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Crisis tardía</a:t>
            </a:r>
          </a:p>
          <a:p>
            <a:pPr>
              <a:lnSpc>
                <a:spcPts val="1313"/>
              </a:lnSpc>
            </a:pPr>
            <a:endParaRPr lang="en-GB" sz="1600" b="1">
              <a:solidFill>
                <a:schemeClr val="bg1"/>
              </a:solidFill>
              <a:latin typeface="+mj-lt"/>
              <a:ea typeface="Lato Light" panose="020F0502020204030203" pitchFamily="34" charset="0"/>
              <a:cs typeface="Mukta ExtraLight" panose="020B0000000000000000" pitchFamily="34" charset="77"/>
            </a:endParaRPr>
          </a:p>
          <a:p>
            <a:pPr marL="285750" indent="-285750">
              <a:lnSpc>
                <a:spcPts val="1313"/>
              </a:lnSpc>
              <a:buFont typeface="Wingdings" panose="05000000000000000000" pitchFamily="2" charset="2"/>
              <a:buChar char="à"/>
            </a:pPr>
            <a: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Insolvencia</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12" name="Subtitle 2">
            <a:extLst>
              <a:ext uri="{FF2B5EF4-FFF2-40B4-BE49-F238E27FC236}">
                <a16:creationId xmlns:a16="http://schemas.microsoft.com/office/drawing/2014/main" xmlns="" id="{D2942D0A-BB4C-4283-A493-C6E2CD214BF4}"/>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Opciones estratégicas</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6859847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Superar la crisis en diferentes elementos de la empresa</a:t>
            </a:r>
          </a:p>
          <a:p>
            <a:endParaRPr lang="en-GB" dirty="0"/>
          </a:p>
        </p:txBody>
      </p:sp>
    </p:spTree>
    <p:extLst>
      <p:ext uri="{BB962C8B-B14F-4D97-AF65-F5344CB8AC3E}">
        <p14:creationId xmlns:p14="http://schemas.microsoft.com/office/powerpoint/2010/main" val="5122031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2438" y="484554"/>
            <a:ext cx="9997819" cy="923342"/>
          </a:xfrm>
        </p:spPr>
        <p:txBody>
          <a:bodyPr>
            <a:normAutofit fontScale="92500"/>
          </a:bodyPr>
          <a:lstStyle/>
          <a:p>
            <a:r>
              <a:rPr lang="en-GB" dirty="0"/>
              <a:t>6 formas de superar una crisis de ventas y productos </a:t>
            </a:r>
            <a:r>
              <a:rPr lang="en-GB" u="sng" dirty="0"/>
              <a:t>estacional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43432" y="1825417"/>
            <a:ext cx="3732705"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n primer lugar, hay que </a:t>
            </a:r>
            <a:r>
              <a:rPr lang="en-GB" sz="2000" dirty="0" err="1">
                <a:solidFill>
                  <a:srgbClr val="245473"/>
                </a:solidFill>
                <a:latin typeface="+mj-lt"/>
                <a:ea typeface="Open Sans Light" panose="020B0306030504020204" pitchFamily="34" charset="0"/>
                <a:cs typeface="Open Sans Light" panose="020B0306030504020204" pitchFamily="34" charset="0"/>
              </a:rPr>
              <a:t>analizar </a:t>
            </a:r>
            <a:r>
              <a:rPr lang="en-GB" sz="2000" dirty="0">
                <a:solidFill>
                  <a:srgbClr val="245473"/>
                </a:solidFill>
                <a:latin typeface="+mj-lt"/>
                <a:ea typeface="Open Sans Light" panose="020B0306030504020204" pitchFamily="34" charset="0"/>
                <a:cs typeface="Open Sans Light" panose="020B0306030504020204" pitchFamily="34" charset="0"/>
              </a:rPr>
              <a:t>si la crisis de ventas está causada únicamente por influencias externas a corto plazo (clima, estacionalidad). Si es así, se pueden tomar contramedidas, por ejemplo, mediante la reducción de la jornada laboral o de los trabajadores temporales. </a:t>
            </a:r>
          </a:p>
          <a:p>
            <a:pPr algn="l">
              <a:lnSpc>
                <a:spcPct val="100000"/>
              </a:lnSpc>
              <a:spcBef>
                <a:spcPts val="600"/>
              </a:spcBef>
            </a:pPr>
            <a:endParaRPr lang="en-GB" sz="20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Una crisis de ventas continuada debe ser examinada más de cerca. Si el producto es básicamente competitivo, el problema está probablemente en el área de ventas y marketing.</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47" name="4-Point Star 53">
            <a:extLst>
              <a:ext uri="{FF2B5EF4-FFF2-40B4-BE49-F238E27FC236}">
                <a16:creationId xmlns:a16="http://schemas.microsoft.com/office/drawing/2014/main" xmlns="" id="{3B7DEF8F-23FB-4584-831F-76BD366A4DB4}"/>
              </a:ext>
            </a:extLst>
          </p:cNvPr>
          <p:cNvSpPr/>
          <p:nvPr/>
        </p:nvSpPr>
        <p:spPr>
          <a:xfrm>
            <a:off x="4140248" y="2066513"/>
            <a:ext cx="1170635" cy="1170635"/>
          </a:xfrm>
          <a:prstGeom prst="star4">
            <a:avLst>
              <a:gd name="adj" fmla="val 225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8" name="4-Point Star 3">
            <a:extLst>
              <a:ext uri="{FF2B5EF4-FFF2-40B4-BE49-F238E27FC236}">
                <a16:creationId xmlns:a16="http://schemas.microsoft.com/office/drawing/2014/main" xmlns="" id="{FD346BA9-C0C5-41DE-993F-A3CA4A2460B9}"/>
              </a:ext>
            </a:extLst>
          </p:cNvPr>
          <p:cNvSpPr/>
          <p:nvPr/>
        </p:nvSpPr>
        <p:spPr>
          <a:xfrm rot="2700000">
            <a:off x="4140248" y="2066513"/>
            <a:ext cx="1170635" cy="1170635"/>
          </a:xfrm>
          <a:prstGeom prst="star4">
            <a:avLst>
              <a:gd name="adj" fmla="val 225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9" name="TextBox 23">
            <a:extLst>
              <a:ext uri="{FF2B5EF4-FFF2-40B4-BE49-F238E27FC236}">
                <a16:creationId xmlns:a16="http://schemas.microsoft.com/office/drawing/2014/main" xmlns="" id="{B9C40B45-DC9F-4D15-84EE-17ABDD1736F4}"/>
              </a:ext>
            </a:extLst>
          </p:cNvPr>
          <p:cNvSpPr txBox="1"/>
          <p:nvPr/>
        </p:nvSpPr>
        <p:spPr>
          <a:xfrm>
            <a:off x="4487359" y="2432474"/>
            <a:ext cx="476413" cy="438710"/>
          </a:xfrm>
          <a:prstGeom prst="rect">
            <a:avLst/>
          </a:prstGeom>
          <a:noFill/>
        </p:spPr>
        <p:txBody>
          <a:bodyPr wrap="none" rtlCol="0" anchor="ctr" anchorCtr="0">
            <a:spAutoFit/>
          </a:bodyPr>
          <a:lstStyle/>
          <a:p>
            <a:pPr algn="ctr"/>
            <a:r>
              <a:rPr lang="en-GB" sz="2251" b="1">
                <a:solidFill>
                  <a:schemeClr val="bg1"/>
                </a:solidFill>
                <a:latin typeface="+mj-lt"/>
                <a:ea typeface="League Spartan" charset="0"/>
                <a:cs typeface="Poppins" pitchFamily="2" charset="77"/>
              </a:rPr>
              <a:t>01</a:t>
            </a:r>
            <a:endParaRPr lang="en-GB" sz="2251" b="1" dirty="0">
              <a:solidFill>
                <a:schemeClr val="bg1"/>
              </a:solidFill>
              <a:latin typeface="+mj-lt"/>
              <a:ea typeface="League Spartan" charset="0"/>
              <a:cs typeface="Poppins" pitchFamily="2" charset="77"/>
            </a:endParaRPr>
          </a:p>
        </p:txBody>
      </p:sp>
      <p:sp>
        <p:nvSpPr>
          <p:cNvPr id="51" name="Subtitle 2">
            <a:extLst>
              <a:ext uri="{FF2B5EF4-FFF2-40B4-BE49-F238E27FC236}">
                <a16:creationId xmlns:a16="http://schemas.microsoft.com/office/drawing/2014/main" xmlns="" id="{97FA5EE1-B019-4045-B36A-9F35DBE1C8A9}"/>
              </a:ext>
            </a:extLst>
          </p:cNvPr>
          <p:cNvSpPr txBox="1">
            <a:spLocks/>
          </p:cNvSpPr>
          <p:nvPr/>
        </p:nvSpPr>
        <p:spPr>
          <a:xfrm>
            <a:off x="5553330" y="2024380"/>
            <a:ext cx="6170583"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Si la crisis del producto y de las ventas es sólo de carácter temporal (por ejemplo, un descenso estacional de las ventas), sólo deben tomarse medidas para contrarrestar estos problemas temporales.</a:t>
            </a:r>
          </a:p>
        </p:txBody>
      </p:sp>
      <p:sp>
        <p:nvSpPr>
          <p:cNvPr id="52" name="4-Point Star 55">
            <a:extLst>
              <a:ext uri="{FF2B5EF4-FFF2-40B4-BE49-F238E27FC236}">
                <a16:creationId xmlns:a16="http://schemas.microsoft.com/office/drawing/2014/main" xmlns="" id="{74EEF346-1922-4EBA-BB0F-4D6F89A3E2DB}"/>
              </a:ext>
            </a:extLst>
          </p:cNvPr>
          <p:cNvSpPr/>
          <p:nvPr/>
        </p:nvSpPr>
        <p:spPr>
          <a:xfrm>
            <a:off x="4140248" y="3406026"/>
            <a:ext cx="1170635" cy="1170635"/>
          </a:xfrm>
          <a:prstGeom prst="star4">
            <a:avLst>
              <a:gd name="adj" fmla="val 225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3" name="4-Point Star 7">
            <a:extLst>
              <a:ext uri="{FF2B5EF4-FFF2-40B4-BE49-F238E27FC236}">
                <a16:creationId xmlns:a16="http://schemas.microsoft.com/office/drawing/2014/main" xmlns="" id="{85009DC9-5C7D-4B88-91AA-345C47A8AC83}"/>
              </a:ext>
            </a:extLst>
          </p:cNvPr>
          <p:cNvSpPr/>
          <p:nvPr/>
        </p:nvSpPr>
        <p:spPr>
          <a:xfrm rot="2700000">
            <a:off x="4140248" y="3406026"/>
            <a:ext cx="1170635" cy="1170635"/>
          </a:xfrm>
          <a:prstGeom prst="star4">
            <a:avLst>
              <a:gd name="adj" fmla="val 225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4" name="TextBox 24">
            <a:extLst>
              <a:ext uri="{FF2B5EF4-FFF2-40B4-BE49-F238E27FC236}">
                <a16:creationId xmlns:a16="http://schemas.microsoft.com/office/drawing/2014/main" xmlns="" id="{7FE9B831-D878-4A5C-A740-6809DB62060A}"/>
              </a:ext>
            </a:extLst>
          </p:cNvPr>
          <p:cNvSpPr txBox="1"/>
          <p:nvPr/>
        </p:nvSpPr>
        <p:spPr>
          <a:xfrm>
            <a:off x="4487359" y="3771274"/>
            <a:ext cx="476413" cy="438710"/>
          </a:xfrm>
          <a:prstGeom prst="rect">
            <a:avLst/>
          </a:prstGeom>
          <a:noFill/>
        </p:spPr>
        <p:txBody>
          <a:bodyPr wrap="none" rtlCol="0" anchor="ctr" anchorCtr="0">
            <a:spAutoFit/>
          </a:bodyPr>
          <a:lstStyle/>
          <a:p>
            <a:pPr algn="ctr"/>
            <a:r>
              <a:rPr lang="en-GB" sz="2251" b="1">
                <a:solidFill>
                  <a:schemeClr val="bg1"/>
                </a:solidFill>
                <a:latin typeface="+mj-lt"/>
                <a:ea typeface="League Spartan" charset="0"/>
                <a:cs typeface="Poppins" pitchFamily="2" charset="77"/>
              </a:rPr>
              <a:t>02</a:t>
            </a:r>
            <a:endParaRPr lang="en-GB" sz="2251" b="1" dirty="0">
              <a:solidFill>
                <a:schemeClr val="bg1"/>
              </a:solidFill>
              <a:latin typeface="+mj-lt"/>
              <a:ea typeface="League Spartan" charset="0"/>
              <a:cs typeface="Poppins" pitchFamily="2" charset="77"/>
            </a:endParaRPr>
          </a:p>
        </p:txBody>
      </p:sp>
      <p:sp>
        <p:nvSpPr>
          <p:cNvPr id="56" name="Subtitle 2">
            <a:extLst>
              <a:ext uri="{FF2B5EF4-FFF2-40B4-BE49-F238E27FC236}">
                <a16:creationId xmlns:a16="http://schemas.microsoft.com/office/drawing/2014/main" xmlns="" id="{70E6B2B6-5438-4DBC-A401-CCD0C2530C37}"/>
              </a:ext>
            </a:extLst>
          </p:cNvPr>
          <p:cNvSpPr txBox="1">
            <a:spLocks/>
          </p:cNvSpPr>
          <p:nvPr/>
        </p:nvSpPr>
        <p:spPr>
          <a:xfrm>
            <a:off x="5553330" y="3040055"/>
            <a:ext cx="6170583" cy="219522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ara mantener el potencial de los empleados con su cualificación profesional, hay que revisar las medidas que preservan el stock, como</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plicación de la jornada reducida</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ción del trabajo temporal</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ción de los créditos de tiempo</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ción de la jornada laboral semanal, etc</a:t>
            </a:r>
            <a:r>
              <a:rPr lang="en-GB" sz="1800" dirty="0">
                <a:solidFill>
                  <a:schemeClr val="tx1"/>
                </a:solidFill>
                <a:latin typeface="+mj-lt"/>
                <a:ea typeface="Lato Light" panose="020F0502020204030203" pitchFamily="34" charset="0"/>
                <a:cs typeface="Mukta ExtraLight" panose="020B0000000000000000" pitchFamily="34" charset="77"/>
              </a:rPr>
              <a:t>.</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57" name="4-Point Star 56">
            <a:extLst>
              <a:ext uri="{FF2B5EF4-FFF2-40B4-BE49-F238E27FC236}">
                <a16:creationId xmlns:a16="http://schemas.microsoft.com/office/drawing/2014/main" xmlns="" id="{FAFF919C-1B67-4756-9C77-19B14D0068AA}"/>
              </a:ext>
            </a:extLst>
          </p:cNvPr>
          <p:cNvSpPr/>
          <p:nvPr/>
        </p:nvSpPr>
        <p:spPr>
          <a:xfrm>
            <a:off x="4140248" y="4745539"/>
            <a:ext cx="1170635" cy="1170635"/>
          </a:xfrm>
          <a:prstGeom prst="star4">
            <a:avLst>
              <a:gd name="adj" fmla="val 225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8" name="4-Point Star 10">
            <a:extLst>
              <a:ext uri="{FF2B5EF4-FFF2-40B4-BE49-F238E27FC236}">
                <a16:creationId xmlns:a16="http://schemas.microsoft.com/office/drawing/2014/main" xmlns="" id="{BD2337E1-4459-492B-9D47-8E991CDD0392}"/>
              </a:ext>
            </a:extLst>
          </p:cNvPr>
          <p:cNvSpPr/>
          <p:nvPr/>
        </p:nvSpPr>
        <p:spPr>
          <a:xfrm rot="2700000">
            <a:off x="4140248" y="4745539"/>
            <a:ext cx="1170635" cy="1170635"/>
          </a:xfrm>
          <a:prstGeom prst="star4">
            <a:avLst>
              <a:gd name="adj" fmla="val 225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9" name="TextBox 25">
            <a:extLst>
              <a:ext uri="{FF2B5EF4-FFF2-40B4-BE49-F238E27FC236}">
                <a16:creationId xmlns:a16="http://schemas.microsoft.com/office/drawing/2014/main" xmlns="" id="{484EB46D-566F-449A-996F-EA1E60F5813A}"/>
              </a:ext>
            </a:extLst>
          </p:cNvPr>
          <p:cNvSpPr txBox="1"/>
          <p:nvPr/>
        </p:nvSpPr>
        <p:spPr>
          <a:xfrm>
            <a:off x="4487359" y="5111502"/>
            <a:ext cx="476413" cy="438710"/>
          </a:xfrm>
          <a:prstGeom prst="rect">
            <a:avLst/>
          </a:prstGeom>
          <a:noFill/>
        </p:spPr>
        <p:txBody>
          <a:bodyPr wrap="none" rtlCol="0" anchor="ctr" anchorCtr="0">
            <a:spAutoFit/>
          </a:bodyPr>
          <a:lstStyle/>
          <a:p>
            <a:pPr algn="ctr"/>
            <a:r>
              <a:rPr lang="en-GB" sz="2251" b="1">
                <a:solidFill>
                  <a:schemeClr val="bg1"/>
                </a:solidFill>
                <a:latin typeface="+mj-lt"/>
                <a:ea typeface="League Spartan" charset="0"/>
                <a:cs typeface="Poppins" pitchFamily="2" charset="77"/>
              </a:rPr>
              <a:t>03</a:t>
            </a:r>
            <a:endParaRPr lang="en-GB" sz="2251" b="1" dirty="0">
              <a:solidFill>
                <a:schemeClr val="bg1"/>
              </a:solidFill>
              <a:latin typeface="+mj-lt"/>
              <a:ea typeface="League Spartan" charset="0"/>
              <a:cs typeface="Poppins" pitchFamily="2" charset="77"/>
            </a:endParaRPr>
          </a:p>
        </p:txBody>
      </p:sp>
      <p:sp>
        <p:nvSpPr>
          <p:cNvPr id="61" name="Subtitle 2">
            <a:extLst>
              <a:ext uri="{FF2B5EF4-FFF2-40B4-BE49-F238E27FC236}">
                <a16:creationId xmlns:a16="http://schemas.microsoft.com/office/drawing/2014/main" xmlns="" id="{187EA8A0-6494-4398-A159-92080FD70F42}"/>
              </a:ext>
            </a:extLst>
          </p:cNvPr>
          <p:cNvSpPr txBox="1">
            <a:spLocks/>
          </p:cNvSpPr>
          <p:nvPr/>
        </p:nvSpPr>
        <p:spPr>
          <a:xfrm>
            <a:off x="5474994" y="5385324"/>
            <a:ext cx="6248920"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ara compensar las pérdidas de ingresos durante el periodo de transición, las medidas se complementarán con una estricta gestión de los costes y controles adecuados en todas las divisiones.</a:t>
            </a:r>
          </a:p>
        </p:txBody>
      </p:sp>
    </p:spTree>
    <p:extLst>
      <p:ext uri="{BB962C8B-B14F-4D97-AF65-F5344CB8AC3E}">
        <p14:creationId xmlns:p14="http://schemas.microsoft.com/office/powerpoint/2010/main" val="20422711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3075111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0" name="4-Point Star 54">
            <a:extLst>
              <a:ext uri="{FF2B5EF4-FFF2-40B4-BE49-F238E27FC236}">
                <a16:creationId xmlns:a16="http://schemas.microsoft.com/office/drawing/2014/main" xmlns="" id="{17E4123B-BCBF-4F9A-96B9-B8B263A83E95}"/>
              </a:ext>
            </a:extLst>
          </p:cNvPr>
          <p:cNvSpPr/>
          <p:nvPr/>
        </p:nvSpPr>
        <p:spPr>
          <a:xfrm>
            <a:off x="4140247" y="2063634"/>
            <a:ext cx="1170635" cy="1170635"/>
          </a:xfrm>
          <a:prstGeom prst="star4">
            <a:avLst>
              <a:gd name="adj" fmla="val 225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1" name="4-Point Star 13">
            <a:extLst>
              <a:ext uri="{FF2B5EF4-FFF2-40B4-BE49-F238E27FC236}">
                <a16:creationId xmlns:a16="http://schemas.microsoft.com/office/drawing/2014/main" xmlns="" id="{F62D43C6-37A3-4032-B698-E886470B1F82}"/>
              </a:ext>
            </a:extLst>
          </p:cNvPr>
          <p:cNvSpPr/>
          <p:nvPr/>
        </p:nvSpPr>
        <p:spPr>
          <a:xfrm rot="2700000">
            <a:off x="4140247" y="2063634"/>
            <a:ext cx="1170635" cy="1170635"/>
          </a:xfrm>
          <a:prstGeom prst="star4">
            <a:avLst>
              <a:gd name="adj" fmla="val 225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2" name="TextBox 26">
            <a:extLst>
              <a:ext uri="{FF2B5EF4-FFF2-40B4-BE49-F238E27FC236}">
                <a16:creationId xmlns:a16="http://schemas.microsoft.com/office/drawing/2014/main" xmlns="" id="{C289E61D-B6BC-40D6-BB39-D31E9CD6DCD9}"/>
              </a:ext>
            </a:extLst>
          </p:cNvPr>
          <p:cNvSpPr txBox="1"/>
          <p:nvPr/>
        </p:nvSpPr>
        <p:spPr>
          <a:xfrm>
            <a:off x="4487358" y="2429595"/>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4</a:t>
            </a:r>
            <a:endParaRPr lang="en-GB" sz="2251" b="1" dirty="0">
              <a:solidFill>
                <a:schemeClr val="bg1"/>
              </a:solidFill>
              <a:latin typeface="Poppins" pitchFamily="2" charset="77"/>
              <a:ea typeface="League Spartan" charset="0"/>
              <a:cs typeface="Poppins" pitchFamily="2" charset="77"/>
            </a:endParaRPr>
          </a:p>
        </p:txBody>
      </p:sp>
      <p:sp>
        <p:nvSpPr>
          <p:cNvPr id="73" name="4-Point Star 57">
            <a:extLst>
              <a:ext uri="{FF2B5EF4-FFF2-40B4-BE49-F238E27FC236}">
                <a16:creationId xmlns:a16="http://schemas.microsoft.com/office/drawing/2014/main" xmlns="" id="{A6E81094-3A10-4EE9-9AED-21803932003C}"/>
              </a:ext>
            </a:extLst>
          </p:cNvPr>
          <p:cNvSpPr/>
          <p:nvPr/>
        </p:nvSpPr>
        <p:spPr>
          <a:xfrm>
            <a:off x="4140247" y="3403147"/>
            <a:ext cx="1170635" cy="1170635"/>
          </a:xfrm>
          <a:prstGeom prst="star4">
            <a:avLst>
              <a:gd name="adj" fmla="val 225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4" name="4-Point Star 16">
            <a:extLst>
              <a:ext uri="{FF2B5EF4-FFF2-40B4-BE49-F238E27FC236}">
                <a16:creationId xmlns:a16="http://schemas.microsoft.com/office/drawing/2014/main" xmlns="" id="{8AAC948F-531A-4DC6-9C37-D8D857127939}"/>
              </a:ext>
            </a:extLst>
          </p:cNvPr>
          <p:cNvSpPr/>
          <p:nvPr/>
        </p:nvSpPr>
        <p:spPr>
          <a:xfrm rot="2700000">
            <a:off x="4140247" y="3403147"/>
            <a:ext cx="1170635" cy="1170635"/>
          </a:xfrm>
          <a:prstGeom prst="star4">
            <a:avLst>
              <a:gd name="adj" fmla="val 225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5" name="TextBox 27">
            <a:extLst>
              <a:ext uri="{FF2B5EF4-FFF2-40B4-BE49-F238E27FC236}">
                <a16:creationId xmlns:a16="http://schemas.microsoft.com/office/drawing/2014/main" xmlns="" id="{4F7308B6-1DD1-4A88-A52A-4368D8CF104B}"/>
              </a:ext>
            </a:extLst>
          </p:cNvPr>
          <p:cNvSpPr txBox="1"/>
          <p:nvPr/>
        </p:nvSpPr>
        <p:spPr>
          <a:xfrm>
            <a:off x="4487358" y="3768395"/>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5</a:t>
            </a:r>
            <a:endParaRPr lang="en-GB" sz="2251" b="1" dirty="0">
              <a:solidFill>
                <a:schemeClr val="bg1"/>
              </a:solidFill>
              <a:latin typeface="Poppins" pitchFamily="2" charset="77"/>
              <a:ea typeface="League Spartan" charset="0"/>
              <a:cs typeface="Poppins" pitchFamily="2" charset="77"/>
            </a:endParaRPr>
          </a:p>
        </p:txBody>
      </p:sp>
      <p:sp>
        <p:nvSpPr>
          <p:cNvPr id="76" name="4-Point Star 58">
            <a:extLst>
              <a:ext uri="{FF2B5EF4-FFF2-40B4-BE49-F238E27FC236}">
                <a16:creationId xmlns:a16="http://schemas.microsoft.com/office/drawing/2014/main" xmlns="" id="{133F1B64-1EF4-4582-972A-E077BCB0AC10}"/>
              </a:ext>
            </a:extLst>
          </p:cNvPr>
          <p:cNvSpPr/>
          <p:nvPr/>
        </p:nvSpPr>
        <p:spPr>
          <a:xfrm>
            <a:off x="4140247" y="4742660"/>
            <a:ext cx="1170635" cy="1170635"/>
          </a:xfrm>
          <a:prstGeom prst="star4">
            <a:avLst>
              <a:gd name="adj" fmla="val 225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7" name="4-Point Star 19">
            <a:extLst>
              <a:ext uri="{FF2B5EF4-FFF2-40B4-BE49-F238E27FC236}">
                <a16:creationId xmlns:a16="http://schemas.microsoft.com/office/drawing/2014/main" xmlns="" id="{7835EFC7-1C6E-4174-8769-A8E8E0E689E6}"/>
              </a:ext>
            </a:extLst>
          </p:cNvPr>
          <p:cNvSpPr/>
          <p:nvPr/>
        </p:nvSpPr>
        <p:spPr>
          <a:xfrm rot="2700000">
            <a:off x="4140247" y="4742660"/>
            <a:ext cx="1170635" cy="1170635"/>
          </a:xfrm>
          <a:prstGeom prst="star4">
            <a:avLst>
              <a:gd name="adj" fmla="val 225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8" name="TextBox 28">
            <a:extLst>
              <a:ext uri="{FF2B5EF4-FFF2-40B4-BE49-F238E27FC236}">
                <a16:creationId xmlns:a16="http://schemas.microsoft.com/office/drawing/2014/main" xmlns="" id="{9A8CDAB4-2CD7-41D7-9DDF-68DC85C1A630}"/>
              </a:ext>
            </a:extLst>
          </p:cNvPr>
          <p:cNvSpPr txBox="1"/>
          <p:nvPr/>
        </p:nvSpPr>
        <p:spPr>
          <a:xfrm>
            <a:off x="4487358" y="5108623"/>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6</a:t>
            </a:r>
            <a:endParaRPr lang="en-GB" sz="2251" b="1" dirty="0">
              <a:solidFill>
                <a:schemeClr val="bg1"/>
              </a:solidFill>
              <a:latin typeface="Poppins" pitchFamily="2" charset="77"/>
              <a:ea typeface="League Spartan" charset="0"/>
              <a:cs typeface="Poppins" pitchFamily="2" charset="77"/>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6867" y="732885"/>
            <a:ext cx="8852375" cy="697353"/>
          </a:xfrm>
        </p:spPr>
        <p:txBody>
          <a:bodyPr>
            <a:normAutofit fontScale="77500" lnSpcReduction="20000"/>
          </a:bodyPr>
          <a:lstStyle/>
          <a:p>
            <a:r>
              <a:rPr lang="en-GB" dirty="0"/>
              <a:t>6 formas de superar una crisis de ventas y productos </a:t>
            </a:r>
            <a:r>
              <a:rPr lang="en-GB" u="sng" dirty="0"/>
              <a:t>estacional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1379" y="2065780"/>
            <a:ext cx="3752932" cy="48529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i los puntos débiles radican en la prestación de servicios, hay que tomar medidas en este ámbito (por ejemplo, eliminar los defectos de calidad y entrega o introducir mejoras en los productos).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in embargo, siempre hay que considerar una reorientación fundamental de la empresa si el análisis de las causas de la crisis muestra que la demanda de los productos ha cambiado fundamentalmente.</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51" name="Subtitle 2">
            <a:extLst>
              <a:ext uri="{FF2B5EF4-FFF2-40B4-BE49-F238E27FC236}">
                <a16:creationId xmlns:a16="http://schemas.microsoft.com/office/drawing/2014/main" xmlns="" id="{97FA5EE1-B019-4045-B36A-9F35DBE1C8A9}"/>
              </a:ext>
            </a:extLst>
          </p:cNvPr>
          <p:cNvSpPr txBox="1">
            <a:spLocks/>
          </p:cNvSpPr>
          <p:nvPr/>
        </p:nvSpPr>
        <p:spPr>
          <a:xfrm>
            <a:off x="5392937" y="2220686"/>
            <a:ext cx="5907675"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Si la crisis de producto/ventas no puede resolverse con medidas de ajuste a corto plazo, deben adoptarse medidas estructurales en el área de rendimiento</a:t>
            </a:r>
          </a:p>
        </p:txBody>
      </p:sp>
      <p:sp>
        <p:nvSpPr>
          <p:cNvPr id="56" name="Subtitle 2">
            <a:extLst>
              <a:ext uri="{FF2B5EF4-FFF2-40B4-BE49-F238E27FC236}">
                <a16:creationId xmlns:a16="http://schemas.microsoft.com/office/drawing/2014/main" xmlns="" id="{70E6B2B6-5438-4DBC-A401-CCD0C2530C37}"/>
              </a:ext>
            </a:extLst>
          </p:cNvPr>
          <p:cNvSpPr txBox="1">
            <a:spLocks/>
          </p:cNvSpPr>
          <p:nvPr/>
        </p:nvSpPr>
        <p:spPr>
          <a:xfrm>
            <a:off x="5392937" y="3580362"/>
            <a:ext cx="5743562"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Antes de adoptar estas medidas, hay que examinar si los productos y servicios son comercializables en general y cuál es el volumen de ventas potencial</a:t>
            </a:r>
          </a:p>
        </p:txBody>
      </p:sp>
      <p:sp>
        <p:nvSpPr>
          <p:cNvPr id="61" name="Subtitle 2">
            <a:extLst>
              <a:ext uri="{FF2B5EF4-FFF2-40B4-BE49-F238E27FC236}">
                <a16:creationId xmlns:a16="http://schemas.microsoft.com/office/drawing/2014/main" xmlns="" id="{187EA8A0-6494-4398-A159-92080FD70F42}"/>
              </a:ext>
            </a:extLst>
          </p:cNvPr>
          <p:cNvSpPr txBox="1">
            <a:spLocks/>
          </p:cNvSpPr>
          <p:nvPr/>
        </p:nvSpPr>
        <p:spPr>
          <a:xfrm>
            <a:off x="5415910" y="4808271"/>
            <a:ext cx="5743561" cy="125342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En esta consideración deben incluirse posibles medidas para la optimización de las oportunidades de venta, por ejemplo</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liminación de los puntos débiles en ventas y marketing</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Ofertas especiales, descuentos, publicidad adicional</a:t>
            </a:r>
          </a:p>
        </p:txBody>
      </p:sp>
    </p:spTree>
    <p:extLst>
      <p:ext uri="{BB962C8B-B14F-4D97-AF65-F5344CB8AC3E}">
        <p14:creationId xmlns:p14="http://schemas.microsoft.com/office/powerpoint/2010/main" val="29063393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3253" y="595461"/>
            <a:ext cx="8852375" cy="697353"/>
          </a:xfrm>
        </p:spPr>
        <p:txBody>
          <a:bodyPr>
            <a:normAutofit/>
          </a:bodyPr>
          <a:lstStyle/>
          <a:p>
            <a:r>
              <a:rPr lang="en-GB" dirty="0"/>
              <a:t>Superar una crisis de ingres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8225" y="1774254"/>
            <a:ext cx="4080234" cy="50837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Para estabilizar los resultados y superar una crisis de beneficios, hay que mejorar el margen de los servicios: </a:t>
            </a:r>
            <a:endParaRPr lang="en-US" sz="2000" dirty="0">
              <a:solidFill>
                <a:srgbClr val="245473"/>
              </a:solidFill>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Aumentar los precios y/o reducir los costes</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Concentrarse en productos de alto margen</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Ofrecer servicios adicionales</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El objetivo es alcanzar un punto de referencia competitivo en cuanto a la </a:t>
            </a:r>
            <a:r>
              <a:rPr lang="en-GB" sz="2000" b="1" dirty="0">
                <a:solidFill>
                  <a:srgbClr val="245473"/>
                </a:solidFill>
                <a:latin typeface="+mj-lt"/>
                <a:ea typeface="Open Sans Light" panose="020B0306030504020204" pitchFamily="34" charset="0"/>
                <a:cs typeface="Open Sans Light" panose="020B0306030504020204" pitchFamily="34" charset="0"/>
              </a:rPr>
              <a:t>rentabilidad de las ventas</a:t>
            </a:r>
          </a:p>
          <a:p>
            <a:pPr marL="285750" indent="-285750" algn="l">
              <a:lnSpc>
                <a:spcPct val="100000"/>
              </a:lnSpc>
              <a:spcBef>
                <a:spcPts val="600"/>
              </a:spcBef>
              <a:buFont typeface="Wingdings" panose="05000000000000000000" pitchFamily="2" charset="2"/>
              <a:buChar char="à"/>
            </a:pPr>
            <a:r>
              <a:rPr lang="en-GB" sz="2000" b="1" dirty="0">
                <a:solidFill>
                  <a:srgbClr val="245473"/>
                </a:solidFill>
                <a:latin typeface="+mj-lt"/>
                <a:ea typeface="Open Sans Light" panose="020B0306030504020204" pitchFamily="34" charset="0"/>
                <a:cs typeface="Open Sans Light" panose="020B0306030504020204" pitchFamily="34" charset="0"/>
              </a:rPr>
              <a:t>De la sencilla fórmula básica </a:t>
            </a:r>
            <a:br>
              <a:rPr lang="en-GB" sz="2000" b="1" dirty="0">
                <a:solidFill>
                  <a:srgbClr val="245473"/>
                </a:solidFill>
                <a:latin typeface="+mj-lt"/>
                <a:ea typeface="Open Sans Light" panose="020B0306030504020204" pitchFamily="34" charset="0"/>
                <a:cs typeface="Open Sans Light" panose="020B0306030504020204" pitchFamily="34" charset="0"/>
              </a:rPr>
            </a:br>
            <a:r>
              <a:rPr lang="en-GB" sz="2000" b="1" dirty="0">
                <a:solidFill>
                  <a:srgbClr val="245473"/>
                </a:solidFill>
                <a:latin typeface="+mj-lt"/>
                <a:ea typeface="Open Sans Light" panose="020B0306030504020204" pitchFamily="34" charset="0"/>
                <a:cs typeface="Open Sans Light" panose="020B0306030504020204" pitchFamily="34" charset="0"/>
              </a:rPr>
              <a:t>"Resultado = Ingresos - Gastos", se derivan los parámetros centrales para mejorar el resultado:</a:t>
            </a:r>
          </a:p>
        </p:txBody>
      </p:sp>
      <p:sp>
        <p:nvSpPr>
          <p:cNvPr id="25" name="Rectangle 13">
            <a:extLst>
              <a:ext uri="{FF2B5EF4-FFF2-40B4-BE49-F238E27FC236}">
                <a16:creationId xmlns:a16="http://schemas.microsoft.com/office/drawing/2014/main" xmlns="" id="{FA34A4D5-27F8-4689-BED6-338D4CFCAABF}"/>
              </a:ext>
            </a:extLst>
          </p:cNvPr>
          <p:cNvSpPr/>
          <p:nvPr/>
        </p:nvSpPr>
        <p:spPr>
          <a:xfrm>
            <a:off x="5158073" y="3219038"/>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TextBox 14">
            <a:extLst>
              <a:ext uri="{FF2B5EF4-FFF2-40B4-BE49-F238E27FC236}">
                <a16:creationId xmlns:a16="http://schemas.microsoft.com/office/drawing/2014/main" xmlns="" id="{BD09A097-493F-4834-A271-3CAD8A4A8FD5}"/>
              </a:ext>
            </a:extLst>
          </p:cNvPr>
          <p:cNvSpPr txBox="1"/>
          <p:nvPr/>
        </p:nvSpPr>
        <p:spPr>
          <a:xfrm>
            <a:off x="5273408" y="3421854"/>
            <a:ext cx="1107567" cy="338554"/>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Ingresos</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27" name="Rectangle 19">
            <a:extLst>
              <a:ext uri="{FF2B5EF4-FFF2-40B4-BE49-F238E27FC236}">
                <a16:creationId xmlns:a16="http://schemas.microsoft.com/office/drawing/2014/main" xmlns="" id="{98CEC835-6B66-491C-8262-AC6247DBD396}"/>
              </a:ext>
            </a:extLst>
          </p:cNvPr>
          <p:cNvSpPr/>
          <p:nvPr/>
        </p:nvSpPr>
        <p:spPr>
          <a:xfrm>
            <a:off x="9034779" y="3219038"/>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TextBox 20">
            <a:extLst>
              <a:ext uri="{FF2B5EF4-FFF2-40B4-BE49-F238E27FC236}">
                <a16:creationId xmlns:a16="http://schemas.microsoft.com/office/drawing/2014/main" xmlns="" id="{1F42B3E1-4495-4F10-B16B-5655469C7646}"/>
              </a:ext>
            </a:extLst>
          </p:cNvPr>
          <p:cNvSpPr txBox="1"/>
          <p:nvPr/>
        </p:nvSpPr>
        <p:spPr>
          <a:xfrm>
            <a:off x="9150114" y="3421854"/>
            <a:ext cx="1107567" cy="338554"/>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Gastos</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6" name="Verbinder: gewinkelt 5">
            <a:extLst>
              <a:ext uri="{FF2B5EF4-FFF2-40B4-BE49-F238E27FC236}">
                <a16:creationId xmlns:a16="http://schemas.microsoft.com/office/drawing/2014/main" xmlns="" id="{E41BDB2E-D002-470D-BCC9-818F0D926DF1}"/>
              </a:ext>
            </a:extLst>
          </p:cNvPr>
          <p:cNvCxnSpPr>
            <a:stCxn id="25" idx="0"/>
            <a:endCxn id="27" idx="0"/>
          </p:cNvCxnSpPr>
          <p:nvPr/>
        </p:nvCxnSpPr>
        <p:spPr>
          <a:xfrm rot="5400000" flipH="1" flipV="1">
            <a:off x="7765544" y="1280685"/>
            <a:ext cx="12700" cy="3876706"/>
          </a:xfrm>
          <a:prstGeom prst="bentConnector3">
            <a:avLst>
              <a:gd name="adj1" fmla="val 1800000"/>
            </a:avLst>
          </a:prstGeom>
          <a:ln w="31750">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Rectangle 13">
            <a:extLst>
              <a:ext uri="{FF2B5EF4-FFF2-40B4-BE49-F238E27FC236}">
                <a16:creationId xmlns:a16="http://schemas.microsoft.com/office/drawing/2014/main" xmlns="" id="{A25811A4-A86E-4DA5-B8FA-7CEB629853D0}"/>
              </a:ext>
            </a:extLst>
          </p:cNvPr>
          <p:cNvSpPr/>
          <p:nvPr/>
        </p:nvSpPr>
        <p:spPr>
          <a:xfrm>
            <a:off x="4246513" y="4235253"/>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TextBox 14">
            <a:extLst>
              <a:ext uri="{FF2B5EF4-FFF2-40B4-BE49-F238E27FC236}">
                <a16:creationId xmlns:a16="http://schemas.microsoft.com/office/drawing/2014/main" xmlns="" id="{00EE5008-58F5-498F-AD45-1A7213F639A5}"/>
              </a:ext>
            </a:extLst>
          </p:cNvPr>
          <p:cNvSpPr txBox="1"/>
          <p:nvPr/>
        </p:nvSpPr>
        <p:spPr>
          <a:xfrm>
            <a:off x="4340904" y="4443325"/>
            <a:ext cx="1107567" cy="338554"/>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Cantidad</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41" name="Rectangle 13">
            <a:extLst>
              <a:ext uri="{FF2B5EF4-FFF2-40B4-BE49-F238E27FC236}">
                <a16:creationId xmlns:a16="http://schemas.microsoft.com/office/drawing/2014/main" xmlns="" id="{017121F7-77FF-4C24-B223-78F74D070045}"/>
              </a:ext>
            </a:extLst>
          </p:cNvPr>
          <p:cNvSpPr/>
          <p:nvPr/>
        </p:nvSpPr>
        <p:spPr>
          <a:xfrm>
            <a:off x="6104122" y="4239021"/>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2" name="TextBox 14">
            <a:extLst>
              <a:ext uri="{FF2B5EF4-FFF2-40B4-BE49-F238E27FC236}">
                <a16:creationId xmlns:a16="http://schemas.microsoft.com/office/drawing/2014/main" xmlns="" id="{4442B116-F7AA-44B5-9176-FBC16511D863}"/>
              </a:ext>
            </a:extLst>
          </p:cNvPr>
          <p:cNvSpPr txBox="1"/>
          <p:nvPr/>
        </p:nvSpPr>
        <p:spPr>
          <a:xfrm>
            <a:off x="6219457" y="4441837"/>
            <a:ext cx="1107567" cy="338554"/>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Precio de venta</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43" name="Verbinder: gewinkelt 42">
            <a:extLst>
              <a:ext uri="{FF2B5EF4-FFF2-40B4-BE49-F238E27FC236}">
                <a16:creationId xmlns:a16="http://schemas.microsoft.com/office/drawing/2014/main" xmlns="" id="{B1BFC417-C2F1-47B3-938F-72A79C6E62E3}"/>
              </a:ext>
            </a:extLst>
          </p:cNvPr>
          <p:cNvCxnSpPr>
            <a:cxnSpLocks/>
            <a:stCxn id="25" idx="2"/>
            <a:endCxn id="41" idx="0"/>
          </p:cNvCxnSpPr>
          <p:nvPr/>
        </p:nvCxnSpPr>
        <p:spPr>
          <a:xfrm rot="16200000" flipH="1">
            <a:off x="6162316" y="3628096"/>
            <a:ext cx="275799" cy="946049"/>
          </a:xfrm>
          <a:prstGeom prst="bentConnector3">
            <a:avLst>
              <a:gd name="adj1" fmla="val 50000"/>
            </a:avLst>
          </a:prstGeom>
          <a:ln w="3175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Verbinder: gewinkelt 45">
            <a:extLst>
              <a:ext uri="{FF2B5EF4-FFF2-40B4-BE49-F238E27FC236}">
                <a16:creationId xmlns:a16="http://schemas.microsoft.com/office/drawing/2014/main" xmlns="" id="{E441D4AD-BDD8-4F1C-87FB-B7CF23BDC92A}"/>
              </a:ext>
            </a:extLst>
          </p:cNvPr>
          <p:cNvCxnSpPr>
            <a:cxnSpLocks/>
            <a:stCxn id="25" idx="2"/>
            <a:endCxn id="39" idx="0"/>
          </p:cNvCxnSpPr>
          <p:nvPr/>
        </p:nvCxnSpPr>
        <p:spPr>
          <a:xfrm rot="5400000">
            <a:off x="5235396" y="3643457"/>
            <a:ext cx="272031" cy="911560"/>
          </a:xfrm>
          <a:prstGeom prst="bentConnector3">
            <a:avLst>
              <a:gd name="adj1" fmla="val 50000"/>
            </a:avLst>
          </a:prstGeom>
          <a:ln w="31750">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Rectangle 13">
            <a:extLst>
              <a:ext uri="{FF2B5EF4-FFF2-40B4-BE49-F238E27FC236}">
                <a16:creationId xmlns:a16="http://schemas.microsoft.com/office/drawing/2014/main" xmlns="" id="{0D0F3216-0449-44E4-B632-41B5A17F32CB}"/>
              </a:ext>
            </a:extLst>
          </p:cNvPr>
          <p:cNvSpPr/>
          <p:nvPr/>
        </p:nvSpPr>
        <p:spPr>
          <a:xfrm>
            <a:off x="8204175" y="4239021"/>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TextBox 14">
            <a:extLst>
              <a:ext uri="{FF2B5EF4-FFF2-40B4-BE49-F238E27FC236}">
                <a16:creationId xmlns:a16="http://schemas.microsoft.com/office/drawing/2014/main" xmlns="" id="{4A5B6A49-D5D0-4ECD-ACF3-D7150FC68F70}"/>
              </a:ext>
            </a:extLst>
          </p:cNvPr>
          <p:cNvSpPr txBox="1"/>
          <p:nvPr/>
        </p:nvSpPr>
        <p:spPr>
          <a:xfrm>
            <a:off x="8319510" y="4441837"/>
            <a:ext cx="1107567" cy="338554"/>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Cantidad</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54" name="Verbinder: gewinkelt 53">
            <a:extLst>
              <a:ext uri="{FF2B5EF4-FFF2-40B4-BE49-F238E27FC236}">
                <a16:creationId xmlns:a16="http://schemas.microsoft.com/office/drawing/2014/main" xmlns="" id="{4A416695-72CA-4CC9-AF59-8700776B60DD}"/>
              </a:ext>
            </a:extLst>
          </p:cNvPr>
          <p:cNvCxnSpPr>
            <a:cxnSpLocks/>
            <a:stCxn id="27" idx="2"/>
            <a:endCxn id="50" idx="0"/>
          </p:cNvCxnSpPr>
          <p:nvPr/>
        </p:nvCxnSpPr>
        <p:spPr>
          <a:xfrm rot="5400000">
            <a:off x="9150696" y="3685819"/>
            <a:ext cx="275799" cy="830604"/>
          </a:xfrm>
          <a:prstGeom prst="bentConnector3">
            <a:avLst>
              <a:gd name="adj1" fmla="val 50000"/>
            </a:avLst>
          </a:prstGeom>
          <a:ln w="31750">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13">
            <a:extLst>
              <a:ext uri="{FF2B5EF4-FFF2-40B4-BE49-F238E27FC236}">
                <a16:creationId xmlns:a16="http://schemas.microsoft.com/office/drawing/2014/main" xmlns="" id="{77ADB0A6-4C6F-4480-8595-4E8064A09E93}"/>
              </a:ext>
            </a:extLst>
          </p:cNvPr>
          <p:cNvSpPr/>
          <p:nvPr/>
        </p:nvSpPr>
        <p:spPr>
          <a:xfrm>
            <a:off x="9946451" y="4239021"/>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8" name="TextBox 14">
            <a:extLst>
              <a:ext uri="{FF2B5EF4-FFF2-40B4-BE49-F238E27FC236}">
                <a16:creationId xmlns:a16="http://schemas.microsoft.com/office/drawing/2014/main" xmlns="" id="{618D181C-FE7F-43B6-81C6-916FCC29713A}"/>
              </a:ext>
            </a:extLst>
          </p:cNvPr>
          <p:cNvSpPr txBox="1"/>
          <p:nvPr/>
        </p:nvSpPr>
        <p:spPr>
          <a:xfrm>
            <a:off x="10061786" y="4318727"/>
            <a:ext cx="1107567" cy="584775"/>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Precio de compra</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59" name="Verbinder: gewinkelt 58">
            <a:extLst>
              <a:ext uri="{FF2B5EF4-FFF2-40B4-BE49-F238E27FC236}">
                <a16:creationId xmlns:a16="http://schemas.microsoft.com/office/drawing/2014/main" xmlns="" id="{7582ABB2-F27F-4F89-9602-90F0A5DD7C39}"/>
              </a:ext>
            </a:extLst>
          </p:cNvPr>
          <p:cNvCxnSpPr>
            <a:cxnSpLocks/>
            <a:stCxn id="27" idx="2"/>
            <a:endCxn id="57" idx="0"/>
          </p:cNvCxnSpPr>
          <p:nvPr/>
        </p:nvCxnSpPr>
        <p:spPr>
          <a:xfrm rot="16200000" flipH="1">
            <a:off x="10021834" y="3645285"/>
            <a:ext cx="275799" cy="911672"/>
          </a:xfrm>
          <a:prstGeom prst="bentConnector3">
            <a:avLst>
              <a:gd name="adj1" fmla="val 50000"/>
            </a:avLst>
          </a:prstGeom>
          <a:ln w="3175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xmlns="" id="{1283D86F-2AD1-4731-A5C5-FBE3EEE060C1}"/>
              </a:ext>
            </a:extLst>
          </p:cNvPr>
          <p:cNvGrpSpPr/>
          <p:nvPr/>
        </p:nvGrpSpPr>
        <p:grpSpPr>
          <a:xfrm rot="5400000">
            <a:off x="7131712" y="4471550"/>
            <a:ext cx="337287" cy="328410"/>
            <a:chOff x="3772626" y="2531562"/>
            <a:chExt cx="1808891" cy="1606817"/>
          </a:xfrm>
          <a:solidFill>
            <a:srgbClr val="E53292"/>
          </a:solidFill>
        </p:grpSpPr>
        <p:sp>
          <p:nvSpPr>
            <p:cNvPr id="63" name="Rounded Rectangle 74">
              <a:extLst>
                <a:ext uri="{FF2B5EF4-FFF2-40B4-BE49-F238E27FC236}">
                  <a16:creationId xmlns:a16="http://schemas.microsoft.com/office/drawing/2014/main" xmlns="" id="{5D648690-D0FB-44EF-BB6A-CE7648344958}"/>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4" name="Rounded Rectangle 75">
              <a:extLst>
                <a:ext uri="{FF2B5EF4-FFF2-40B4-BE49-F238E27FC236}">
                  <a16:creationId xmlns:a16="http://schemas.microsoft.com/office/drawing/2014/main" xmlns="" id="{79D48CF6-2F22-43B6-AAC4-C8F87A981B62}"/>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5" name="Rounded Rectangle 76">
              <a:extLst>
                <a:ext uri="{FF2B5EF4-FFF2-40B4-BE49-F238E27FC236}">
                  <a16:creationId xmlns:a16="http://schemas.microsoft.com/office/drawing/2014/main" xmlns="" id="{1C717BD2-3743-4791-92BC-E69DC90C0F33}"/>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66" name="Gruppieren 65">
            <a:extLst>
              <a:ext uri="{FF2B5EF4-FFF2-40B4-BE49-F238E27FC236}">
                <a16:creationId xmlns:a16="http://schemas.microsoft.com/office/drawing/2014/main" xmlns="" id="{F8F873DD-57B9-4F8D-8957-24B985B581E4}"/>
              </a:ext>
            </a:extLst>
          </p:cNvPr>
          <p:cNvGrpSpPr/>
          <p:nvPr/>
        </p:nvGrpSpPr>
        <p:grpSpPr>
          <a:xfrm rot="5400000">
            <a:off x="5269744" y="4482519"/>
            <a:ext cx="337287" cy="328410"/>
            <a:chOff x="3772626" y="2531562"/>
            <a:chExt cx="1808891" cy="1606817"/>
          </a:xfrm>
          <a:solidFill>
            <a:srgbClr val="E53292"/>
          </a:solidFill>
        </p:grpSpPr>
        <p:sp>
          <p:nvSpPr>
            <p:cNvPr id="67" name="Rounded Rectangle 74">
              <a:extLst>
                <a:ext uri="{FF2B5EF4-FFF2-40B4-BE49-F238E27FC236}">
                  <a16:creationId xmlns:a16="http://schemas.microsoft.com/office/drawing/2014/main" xmlns="" id="{F6E0C71B-5C8F-4165-AF9F-B40E369D88CB}"/>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8" name="Rounded Rectangle 75">
              <a:extLst>
                <a:ext uri="{FF2B5EF4-FFF2-40B4-BE49-F238E27FC236}">
                  <a16:creationId xmlns:a16="http://schemas.microsoft.com/office/drawing/2014/main" xmlns="" id="{7A4AC1AF-C3F5-4290-A0BC-F8B1EB71F42B}"/>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9" name="Rounded Rectangle 76">
              <a:extLst>
                <a:ext uri="{FF2B5EF4-FFF2-40B4-BE49-F238E27FC236}">
                  <a16:creationId xmlns:a16="http://schemas.microsoft.com/office/drawing/2014/main" xmlns="" id="{25F7B5A6-1F32-4D5D-9383-693043C3BA33}"/>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79" name="Gruppieren 78">
            <a:extLst>
              <a:ext uri="{FF2B5EF4-FFF2-40B4-BE49-F238E27FC236}">
                <a16:creationId xmlns:a16="http://schemas.microsoft.com/office/drawing/2014/main" xmlns="" id="{5E42756A-3D4E-409E-9F0B-E0EC4A7D727C}"/>
              </a:ext>
            </a:extLst>
          </p:cNvPr>
          <p:cNvGrpSpPr/>
          <p:nvPr/>
        </p:nvGrpSpPr>
        <p:grpSpPr>
          <a:xfrm rot="16200000">
            <a:off x="9237752" y="4471550"/>
            <a:ext cx="337287" cy="328410"/>
            <a:chOff x="3772626" y="2531562"/>
            <a:chExt cx="1808891" cy="1606817"/>
          </a:xfrm>
          <a:solidFill>
            <a:srgbClr val="E53292"/>
          </a:solidFill>
        </p:grpSpPr>
        <p:sp>
          <p:nvSpPr>
            <p:cNvPr id="80" name="Rounded Rectangle 74">
              <a:extLst>
                <a:ext uri="{FF2B5EF4-FFF2-40B4-BE49-F238E27FC236}">
                  <a16:creationId xmlns:a16="http://schemas.microsoft.com/office/drawing/2014/main" xmlns="" id="{DE099DC8-FA53-4D75-856F-D2F0968B2C30}"/>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1" name="Rounded Rectangle 75">
              <a:extLst>
                <a:ext uri="{FF2B5EF4-FFF2-40B4-BE49-F238E27FC236}">
                  <a16:creationId xmlns:a16="http://schemas.microsoft.com/office/drawing/2014/main" xmlns="" id="{965A5AAE-55D0-40D3-9991-844120ED351A}"/>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2" name="Rounded Rectangle 76">
              <a:extLst>
                <a:ext uri="{FF2B5EF4-FFF2-40B4-BE49-F238E27FC236}">
                  <a16:creationId xmlns:a16="http://schemas.microsoft.com/office/drawing/2014/main" xmlns="" id="{0E65D768-FADC-42A9-89BD-E513E4D45279}"/>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83" name="Gruppieren 82">
            <a:extLst>
              <a:ext uri="{FF2B5EF4-FFF2-40B4-BE49-F238E27FC236}">
                <a16:creationId xmlns:a16="http://schemas.microsoft.com/office/drawing/2014/main" xmlns="" id="{A958D4EC-72C8-40D7-B03C-25FDEC8F55AE}"/>
              </a:ext>
            </a:extLst>
          </p:cNvPr>
          <p:cNvGrpSpPr/>
          <p:nvPr/>
        </p:nvGrpSpPr>
        <p:grpSpPr>
          <a:xfrm rot="16200000">
            <a:off x="10981460" y="4482519"/>
            <a:ext cx="337287" cy="328410"/>
            <a:chOff x="3772626" y="2531562"/>
            <a:chExt cx="1808891" cy="1606817"/>
          </a:xfrm>
          <a:solidFill>
            <a:srgbClr val="E53292"/>
          </a:solidFill>
        </p:grpSpPr>
        <p:sp>
          <p:nvSpPr>
            <p:cNvPr id="84" name="Rounded Rectangle 74">
              <a:extLst>
                <a:ext uri="{FF2B5EF4-FFF2-40B4-BE49-F238E27FC236}">
                  <a16:creationId xmlns:a16="http://schemas.microsoft.com/office/drawing/2014/main" xmlns="" id="{53FA0203-D298-4DBB-BD18-47E5D9BFCD76}"/>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5" name="Rounded Rectangle 75">
              <a:extLst>
                <a:ext uri="{FF2B5EF4-FFF2-40B4-BE49-F238E27FC236}">
                  <a16:creationId xmlns:a16="http://schemas.microsoft.com/office/drawing/2014/main" xmlns="" id="{2164AFE2-FD3B-46AF-8017-8C4431EA79F2}"/>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6" name="Rounded Rectangle 76">
              <a:extLst>
                <a:ext uri="{FF2B5EF4-FFF2-40B4-BE49-F238E27FC236}">
                  <a16:creationId xmlns:a16="http://schemas.microsoft.com/office/drawing/2014/main" xmlns="" id="{F89EE0D9-DF53-4C52-8CA7-E85103DCB09E}"/>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87" name="Gruppieren 86">
            <a:extLst>
              <a:ext uri="{FF2B5EF4-FFF2-40B4-BE49-F238E27FC236}">
                <a16:creationId xmlns:a16="http://schemas.microsoft.com/office/drawing/2014/main" xmlns="" id="{3D1A9D98-C911-4F4E-B1E8-0E44798D9B2C}"/>
              </a:ext>
            </a:extLst>
          </p:cNvPr>
          <p:cNvGrpSpPr/>
          <p:nvPr/>
        </p:nvGrpSpPr>
        <p:grpSpPr>
          <a:xfrm rot="16200000">
            <a:off x="10057348" y="3426924"/>
            <a:ext cx="337287" cy="328410"/>
            <a:chOff x="3772626" y="2531562"/>
            <a:chExt cx="1808891" cy="1606817"/>
          </a:xfrm>
          <a:solidFill>
            <a:srgbClr val="E53292"/>
          </a:solidFill>
        </p:grpSpPr>
        <p:sp>
          <p:nvSpPr>
            <p:cNvPr id="88" name="Rounded Rectangle 74">
              <a:extLst>
                <a:ext uri="{FF2B5EF4-FFF2-40B4-BE49-F238E27FC236}">
                  <a16:creationId xmlns:a16="http://schemas.microsoft.com/office/drawing/2014/main" xmlns="" id="{1C857129-DCE8-42F2-A01A-5AE6C426E2A0}"/>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9" name="Rounded Rectangle 75">
              <a:extLst>
                <a:ext uri="{FF2B5EF4-FFF2-40B4-BE49-F238E27FC236}">
                  <a16:creationId xmlns:a16="http://schemas.microsoft.com/office/drawing/2014/main" xmlns="" id="{54B6C3CD-228A-4440-86E3-F06ADD6E5A14}"/>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0" name="Rounded Rectangle 76">
              <a:extLst>
                <a:ext uri="{FF2B5EF4-FFF2-40B4-BE49-F238E27FC236}">
                  <a16:creationId xmlns:a16="http://schemas.microsoft.com/office/drawing/2014/main" xmlns="" id="{1F0865C4-D9CD-4B00-8DE5-2EE8EFB93EAC}"/>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91" name="Gruppieren 90">
            <a:extLst>
              <a:ext uri="{FF2B5EF4-FFF2-40B4-BE49-F238E27FC236}">
                <a16:creationId xmlns:a16="http://schemas.microsoft.com/office/drawing/2014/main" xmlns="" id="{86C00326-6D56-472E-A679-ED50125D91DA}"/>
              </a:ext>
            </a:extLst>
          </p:cNvPr>
          <p:cNvGrpSpPr/>
          <p:nvPr/>
        </p:nvGrpSpPr>
        <p:grpSpPr>
          <a:xfrm rot="5400000">
            <a:off x="6186627" y="3430279"/>
            <a:ext cx="337287" cy="328410"/>
            <a:chOff x="3772626" y="2531562"/>
            <a:chExt cx="1808891" cy="1606817"/>
          </a:xfrm>
          <a:solidFill>
            <a:srgbClr val="E53292"/>
          </a:solidFill>
        </p:grpSpPr>
        <p:sp>
          <p:nvSpPr>
            <p:cNvPr id="92" name="Rounded Rectangle 74">
              <a:extLst>
                <a:ext uri="{FF2B5EF4-FFF2-40B4-BE49-F238E27FC236}">
                  <a16:creationId xmlns:a16="http://schemas.microsoft.com/office/drawing/2014/main" xmlns="" id="{1D994512-8139-44F5-80DB-168D27E18A2E}"/>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3" name="Rounded Rectangle 75">
              <a:extLst>
                <a:ext uri="{FF2B5EF4-FFF2-40B4-BE49-F238E27FC236}">
                  <a16:creationId xmlns:a16="http://schemas.microsoft.com/office/drawing/2014/main" xmlns="" id="{BAB17C48-9126-442B-A621-948CCC4B5FB8}"/>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4" name="Rounded Rectangle 76">
              <a:extLst>
                <a:ext uri="{FF2B5EF4-FFF2-40B4-BE49-F238E27FC236}">
                  <a16:creationId xmlns:a16="http://schemas.microsoft.com/office/drawing/2014/main" xmlns="" id="{458B5F82-9E77-4428-A62D-4313C6DB345D}"/>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sp>
        <p:nvSpPr>
          <p:cNvPr id="95" name="Rectangle 13">
            <a:extLst>
              <a:ext uri="{FF2B5EF4-FFF2-40B4-BE49-F238E27FC236}">
                <a16:creationId xmlns:a16="http://schemas.microsoft.com/office/drawing/2014/main" xmlns="" id="{4FFFFDF2-0C0F-4D6A-8D06-65F670FE730A}"/>
              </a:ext>
            </a:extLst>
          </p:cNvPr>
          <p:cNvSpPr/>
          <p:nvPr/>
        </p:nvSpPr>
        <p:spPr>
          <a:xfrm>
            <a:off x="7084842" y="2621301"/>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6" name="TextBox 14">
            <a:extLst>
              <a:ext uri="{FF2B5EF4-FFF2-40B4-BE49-F238E27FC236}">
                <a16:creationId xmlns:a16="http://schemas.microsoft.com/office/drawing/2014/main" xmlns="" id="{37E0DD36-F605-4F6F-AB1E-DD4A1F1C9BFB}"/>
              </a:ext>
            </a:extLst>
          </p:cNvPr>
          <p:cNvSpPr txBox="1"/>
          <p:nvPr/>
        </p:nvSpPr>
        <p:spPr>
          <a:xfrm>
            <a:off x="7200177" y="2824117"/>
            <a:ext cx="1107567" cy="338554"/>
          </a:xfrm>
          <a:prstGeom prst="rect">
            <a:avLst/>
          </a:prstGeom>
          <a:noFill/>
        </p:spPr>
        <p:txBody>
          <a:bodyPr wrap="square" rtlCol="0" anchor="ctr" anchorCtr="0">
            <a:spAutoFit/>
          </a:bodyPr>
          <a:lstStyle/>
          <a:p>
            <a:pPr algn="ctr"/>
            <a:r>
              <a:rPr lang="en-GB" sz="1600" b="1">
                <a:solidFill>
                  <a:schemeClr val="bg1"/>
                </a:solidFill>
                <a:latin typeface="+mj-lt"/>
                <a:ea typeface="Open Sans Light" panose="020B0306030504020204" pitchFamily="34" charset="0"/>
                <a:cs typeface="Open Sans Light" panose="020B0306030504020204" pitchFamily="34" charset="0"/>
              </a:rPr>
              <a:t>Resultados</a:t>
            </a:r>
            <a:endParaRPr lang="en-GB" sz="1600" b="1" dirty="0">
              <a:solidFill>
                <a:schemeClr val="bg1"/>
              </a:solidFill>
              <a:latin typeface="+mj-lt"/>
              <a:ea typeface="Open Sans Light" panose="020B0306030504020204" pitchFamily="34" charset="0"/>
              <a:cs typeface="Open Sans Light" panose="020B0306030504020204" pitchFamily="34" charset="0"/>
            </a:endParaRPr>
          </a:p>
        </p:txBody>
      </p:sp>
      <p:grpSp>
        <p:nvGrpSpPr>
          <p:cNvPr id="97" name="Gruppieren 96">
            <a:extLst>
              <a:ext uri="{FF2B5EF4-FFF2-40B4-BE49-F238E27FC236}">
                <a16:creationId xmlns:a16="http://schemas.microsoft.com/office/drawing/2014/main" xmlns="" id="{C141E4CF-1C00-4E24-BFBA-5838AC12C8E2}"/>
              </a:ext>
            </a:extLst>
          </p:cNvPr>
          <p:cNvGrpSpPr/>
          <p:nvPr/>
        </p:nvGrpSpPr>
        <p:grpSpPr>
          <a:xfrm rot="5400000">
            <a:off x="8113396" y="2832542"/>
            <a:ext cx="337287" cy="328410"/>
            <a:chOff x="3772626" y="2531562"/>
            <a:chExt cx="1808891" cy="1606817"/>
          </a:xfrm>
          <a:solidFill>
            <a:srgbClr val="E53292"/>
          </a:solidFill>
        </p:grpSpPr>
        <p:sp>
          <p:nvSpPr>
            <p:cNvPr id="98" name="Rounded Rectangle 74">
              <a:extLst>
                <a:ext uri="{FF2B5EF4-FFF2-40B4-BE49-F238E27FC236}">
                  <a16:creationId xmlns:a16="http://schemas.microsoft.com/office/drawing/2014/main" xmlns="" id="{76B9B93E-F138-4413-B98E-E7899E00C12E}"/>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9" name="Rounded Rectangle 75">
              <a:extLst>
                <a:ext uri="{FF2B5EF4-FFF2-40B4-BE49-F238E27FC236}">
                  <a16:creationId xmlns:a16="http://schemas.microsoft.com/office/drawing/2014/main" xmlns="" id="{AEBD3F78-9B5F-4400-BE70-5DBF9A908B44}"/>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100" name="Rounded Rectangle 76">
              <a:extLst>
                <a:ext uri="{FF2B5EF4-FFF2-40B4-BE49-F238E27FC236}">
                  <a16:creationId xmlns:a16="http://schemas.microsoft.com/office/drawing/2014/main" xmlns="" id="{D5E127AC-90E5-4AAB-ABB6-9CC6A6033BEC}"/>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spTree>
    <p:extLst>
      <p:ext uri="{BB962C8B-B14F-4D97-AF65-F5344CB8AC3E}">
        <p14:creationId xmlns:p14="http://schemas.microsoft.com/office/powerpoint/2010/main" val="31540474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09165" y="675416"/>
            <a:ext cx="8852375" cy="697353"/>
          </a:xfrm>
        </p:spPr>
        <p:txBody>
          <a:bodyPr>
            <a:normAutofit/>
          </a:bodyPr>
          <a:lstStyle/>
          <a:p>
            <a:r>
              <a:rPr lang="en-GB" dirty="0"/>
              <a:t>Superar una crisis de ingreso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39085" y="2360205"/>
            <a:ext cx="3550211" cy="312936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unque ya se pueden conseguir efectos a corto plazo mejorando la situación de los costes y explotando el potencial de ventas, lo más probable es que sea necesario innovar en términos de procesos, productos y mercados para superar la crisis a largo plazo.</a:t>
            </a:r>
            <a:endParaRPr lang="en-GB" sz="2200" b="1" dirty="0">
              <a:solidFill>
                <a:srgbClr val="245473"/>
              </a:solidFill>
              <a:latin typeface="+mj-lt"/>
              <a:ea typeface="Open Sans Light" panose="020B0306030504020204" pitchFamily="34" charset="0"/>
              <a:cs typeface="Open Sans Light" panose="020B0306030504020204" pitchFamily="34" charset="0"/>
            </a:endParaRPr>
          </a:p>
        </p:txBody>
      </p:sp>
      <p:sp>
        <p:nvSpPr>
          <p:cNvPr id="25" name="Rectangle 13">
            <a:extLst>
              <a:ext uri="{FF2B5EF4-FFF2-40B4-BE49-F238E27FC236}">
                <a16:creationId xmlns:a16="http://schemas.microsoft.com/office/drawing/2014/main" xmlns="" id="{FA34A4D5-27F8-4689-BED6-338D4CFCAABF}"/>
              </a:ext>
            </a:extLst>
          </p:cNvPr>
          <p:cNvSpPr/>
          <p:nvPr/>
        </p:nvSpPr>
        <p:spPr>
          <a:xfrm>
            <a:off x="4732142" y="2875761"/>
            <a:ext cx="1752692"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TextBox 14">
            <a:extLst>
              <a:ext uri="{FF2B5EF4-FFF2-40B4-BE49-F238E27FC236}">
                <a16:creationId xmlns:a16="http://schemas.microsoft.com/office/drawing/2014/main" xmlns="" id="{BD09A097-493F-4834-A271-3CAD8A4A8FD5}"/>
              </a:ext>
            </a:extLst>
          </p:cNvPr>
          <p:cNvSpPr txBox="1"/>
          <p:nvPr/>
        </p:nvSpPr>
        <p:spPr>
          <a:xfrm>
            <a:off x="5021303" y="2832354"/>
            <a:ext cx="1367132" cy="830997"/>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Mejora de la posición de costes</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27" name="Rectangle 19">
            <a:extLst>
              <a:ext uri="{FF2B5EF4-FFF2-40B4-BE49-F238E27FC236}">
                <a16:creationId xmlns:a16="http://schemas.microsoft.com/office/drawing/2014/main" xmlns="" id="{98CEC835-6B66-491C-8262-AC6247DBD396}"/>
              </a:ext>
            </a:extLst>
          </p:cNvPr>
          <p:cNvSpPr/>
          <p:nvPr/>
        </p:nvSpPr>
        <p:spPr>
          <a:xfrm>
            <a:off x="8608848" y="2875761"/>
            <a:ext cx="1752692"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TextBox 20">
            <a:extLst>
              <a:ext uri="{FF2B5EF4-FFF2-40B4-BE49-F238E27FC236}">
                <a16:creationId xmlns:a16="http://schemas.microsoft.com/office/drawing/2014/main" xmlns="" id="{1F42B3E1-4495-4F10-B16B-5655469C7646}"/>
              </a:ext>
            </a:extLst>
          </p:cNvPr>
          <p:cNvSpPr txBox="1"/>
          <p:nvPr/>
        </p:nvSpPr>
        <p:spPr>
          <a:xfrm>
            <a:off x="8936509" y="3078577"/>
            <a:ext cx="1107567" cy="338554"/>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Innovación</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92" name="Rounded Rectangle 74">
            <a:extLst>
              <a:ext uri="{FF2B5EF4-FFF2-40B4-BE49-F238E27FC236}">
                <a16:creationId xmlns:a16="http://schemas.microsoft.com/office/drawing/2014/main" xmlns="" id="{1D994512-8139-44F5-80DB-168D27E18A2E}"/>
              </a:ext>
            </a:extLst>
          </p:cNvPr>
          <p:cNvSpPr/>
          <p:nvPr/>
        </p:nvSpPr>
        <p:spPr>
          <a:xfrm rot="5400000">
            <a:off x="6444724" y="3199663"/>
            <a:ext cx="256936" cy="93405"/>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5" name="Rectangle 13">
            <a:extLst>
              <a:ext uri="{FF2B5EF4-FFF2-40B4-BE49-F238E27FC236}">
                <a16:creationId xmlns:a16="http://schemas.microsoft.com/office/drawing/2014/main" xmlns="" id="{4FFFFDF2-0C0F-4D6A-8D06-65F670FE730A}"/>
              </a:ext>
            </a:extLst>
          </p:cNvPr>
          <p:cNvSpPr/>
          <p:nvPr/>
        </p:nvSpPr>
        <p:spPr>
          <a:xfrm>
            <a:off x="6096001" y="1877399"/>
            <a:ext cx="2971800" cy="744184"/>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6" name="TextBox 14">
            <a:extLst>
              <a:ext uri="{FF2B5EF4-FFF2-40B4-BE49-F238E27FC236}">
                <a16:creationId xmlns:a16="http://schemas.microsoft.com/office/drawing/2014/main" xmlns="" id="{37E0DD36-F605-4F6F-AB1E-DD4A1F1C9BFB}"/>
              </a:ext>
            </a:extLst>
          </p:cNvPr>
          <p:cNvSpPr txBox="1"/>
          <p:nvPr/>
        </p:nvSpPr>
        <p:spPr>
          <a:xfrm>
            <a:off x="6159616" y="2049438"/>
            <a:ext cx="2840508" cy="400110"/>
          </a:xfrm>
          <a:prstGeom prst="rect">
            <a:avLst/>
          </a:prstGeom>
          <a:noFill/>
        </p:spPr>
        <p:txBody>
          <a:bodyPr wrap="square" rtlCol="0" anchor="ctr" anchorCtr="0">
            <a:spAutoFit/>
          </a:bodyPr>
          <a:lstStyle/>
          <a:p>
            <a:pPr algn="ctr"/>
            <a:r>
              <a:rPr lang="en-GB" sz="2000" b="1" dirty="0">
                <a:solidFill>
                  <a:schemeClr val="bg1"/>
                </a:solidFill>
                <a:latin typeface="+mj-lt"/>
                <a:ea typeface="Open Sans Light" panose="020B0306030504020204" pitchFamily="34" charset="0"/>
                <a:cs typeface="Open Sans Light" panose="020B0306030504020204" pitchFamily="34" charset="0"/>
              </a:rPr>
              <a:t>Crecimiento de las ventas y los beneficios</a:t>
            </a:r>
          </a:p>
        </p:txBody>
      </p:sp>
      <p:sp>
        <p:nvSpPr>
          <p:cNvPr id="29" name="Rectangle 13">
            <a:extLst>
              <a:ext uri="{FF2B5EF4-FFF2-40B4-BE49-F238E27FC236}">
                <a16:creationId xmlns:a16="http://schemas.microsoft.com/office/drawing/2014/main" xmlns="" id="{085B5D65-4825-41CE-8579-1837F8B03D12}"/>
              </a:ext>
            </a:extLst>
          </p:cNvPr>
          <p:cNvSpPr/>
          <p:nvPr/>
        </p:nvSpPr>
        <p:spPr>
          <a:xfrm>
            <a:off x="6660070" y="2874273"/>
            <a:ext cx="1752692"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0" name="TextBox 14">
            <a:extLst>
              <a:ext uri="{FF2B5EF4-FFF2-40B4-BE49-F238E27FC236}">
                <a16:creationId xmlns:a16="http://schemas.microsoft.com/office/drawing/2014/main" xmlns="" id="{BCA7D871-0D51-4DA6-B949-32A668E84F4F}"/>
              </a:ext>
            </a:extLst>
          </p:cNvPr>
          <p:cNvSpPr txBox="1"/>
          <p:nvPr/>
        </p:nvSpPr>
        <p:spPr>
          <a:xfrm>
            <a:off x="6987731" y="2830867"/>
            <a:ext cx="1184278" cy="830997"/>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Explotación del potencial de ventas</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35" name="Verbinder: gewinkelt 34">
            <a:extLst>
              <a:ext uri="{FF2B5EF4-FFF2-40B4-BE49-F238E27FC236}">
                <a16:creationId xmlns:a16="http://schemas.microsoft.com/office/drawing/2014/main" xmlns="" id="{0E6FA181-6B63-437A-AF87-F0F3822C000E}"/>
              </a:ext>
            </a:extLst>
          </p:cNvPr>
          <p:cNvCxnSpPr>
            <a:cxnSpLocks/>
            <a:stCxn id="25" idx="0"/>
            <a:endCxn id="96" idx="2"/>
          </p:cNvCxnSpPr>
          <p:nvPr/>
        </p:nvCxnSpPr>
        <p:spPr>
          <a:xfrm rot="5400000" flipH="1" flipV="1">
            <a:off x="6381073" y="1676964"/>
            <a:ext cx="426213" cy="1971382"/>
          </a:xfrm>
          <a:prstGeom prst="bentConnector3">
            <a:avLst>
              <a:gd name="adj1" fmla="val 50000"/>
            </a:avLst>
          </a:prstGeom>
          <a:ln w="317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xmlns="" id="{4E095394-BF5C-41E3-BAE7-C1489851EFE6}"/>
              </a:ext>
            </a:extLst>
          </p:cNvPr>
          <p:cNvCxnSpPr>
            <a:cxnSpLocks/>
            <a:stCxn id="27" idx="0"/>
            <a:endCxn id="96" idx="2"/>
          </p:cNvCxnSpPr>
          <p:nvPr/>
        </p:nvCxnSpPr>
        <p:spPr>
          <a:xfrm rot="16200000" flipV="1">
            <a:off x="8319426" y="1709993"/>
            <a:ext cx="426213" cy="1905324"/>
          </a:xfrm>
          <a:prstGeom prst="bentConnector3">
            <a:avLst>
              <a:gd name="adj1" fmla="val 50000"/>
            </a:avLst>
          </a:prstGeom>
          <a:ln w="317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xmlns="" id="{7BD19275-38FE-4245-8AC9-35120A991ADA}"/>
              </a:ext>
            </a:extLst>
          </p:cNvPr>
          <p:cNvCxnSpPr>
            <a:cxnSpLocks/>
          </p:cNvCxnSpPr>
          <p:nvPr/>
        </p:nvCxnSpPr>
        <p:spPr>
          <a:xfrm flipV="1">
            <a:off x="7523585" y="2460619"/>
            <a:ext cx="43454" cy="424725"/>
          </a:xfrm>
          <a:prstGeom prst="straightConnector1">
            <a:avLst/>
          </a:prstGeom>
          <a:ln w="31750">
            <a:headEnd type="triangle"/>
            <a:tailEnd type="none"/>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xmlns="" id="{3C439CFB-E72B-4596-9F44-96F6AFB9AA64}"/>
              </a:ext>
            </a:extLst>
          </p:cNvPr>
          <p:cNvSpPr/>
          <p:nvPr/>
        </p:nvSpPr>
        <p:spPr>
          <a:xfrm>
            <a:off x="4518045" y="3677150"/>
            <a:ext cx="2101850" cy="2062103"/>
          </a:xfrm>
          <a:prstGeom prst="rect">
            <a:avLst/>
          </a:prstGeom>
        </p:spPr>
        <p:txBody>
          <a:bodyPr wrap="square">
            <a:spAutoFit/>
          </a:bodyPr>
          <a:lstStyle/>
          <a:p>
            <a:pPr marL="182563" indent="-182563">
              <a:buFont typeface="Arial" panose="020B0604020202020204" pitchFamily="34" charset="0"/>
              <a:buChar char="•"/>
            </a:pPr>
            <a:r>
              <a:rPr lang="en-GB" sz="1600" dirty="0">
                <a:solidFill>
                  <a:srgbClr val="245473"/>
                </a:solidFill>
                <a:latin typeface="+mj-lt"/>
              </a:rPr>
              <a:t>Eficiencia organizativa</a:t>
            </a:r>
          </a:p>
          <a:p>
            <a:pPr marL="182563" indent="-182563">
              <a:buFont typeface="Arial" panose="020B0604020202020204" pitchFamily="34" charset="0"/>
              <a:buChar char="•"/>
            </a:pPr>
            <a:r>
              <a:rPr lang="en-GB" sz="1600" dirty="0">
                <a:solidFill>
                  <a:srgbClr val="245473"/>
                </a:solidFill>
                <a:latin typeface="+mj-lt"/>
              </a:rPr>
              <a:t>Diseño de productos y servicios con costes optimizados</a:t>
            </a:r>
          </a:p>
          <a:p>
            <a:pPr marL="182563" indent="-182563">
              <a:buFont typeface="Arial" panose="020B0604020202020204" pitchFamily="34" charset="0"/>
              <a:buChar char="•"/>
            </a:pPr>
            <a:r>
              <a:rPr lang="en-GB" sz="1600" dirty="0">
                <a:solidFill>
                  <a:srgbClr val="245473"/>
                </a:solidFill>
                <a:latin typeface="+mj-lt"/>
              </a:rPr>
              <a:t>Productividad de los activos corrientes y fijos</a:t>
            </a:r>
          </a:p>
        </p:txBody>
      </p:sp>
      <p:sp>
        <p:nvSpPr>
          <p:cNvPr id="53" name="Rechteck 52">
            <a:extLst>
              <a:ext uri="{FF2B5EF4-FFF2-40B4-BE49-F238E27FC236}">
                <a16:creationId xmlns:a16="http://schemas.microsoft.com/office/drawing/2014/main" xmlns="" id="{75273325-F27E-4C57-853F-AAE83A4332A1}"/>
              </a:ext>
            </a:extLst>
          </p:cNvPr>
          <p:cNvSpPr/>
          <p:nvPr/>
        </p:nvSpPr>
        <p:spPr>
          <a:xfrm>
            <a:off x="6664010" y="3628039"/>
            <a:ext cx="1752692" cy="2554545"/>
          </a:xfrm>
          <a:prstGeom prst="rect">
            <a:avLst/>
          </a:prstGeom>
        </p:spPr>
        <p:txBody>
          <a:bodyPr wrap="square">
            <a:spAutoFit/>
          </a:bodyPr>
          <a:lstStyle/>
          <a:p>
            <a:pPr marL="182563" indent="-182563">
              <a:buFont typeface="Arial" panose="020B0604020202020204" pitchFamily="34" charset="0"/>
              <a:buChar char="•"/>
            </a:pPr>
            <a:r>
              <a:rPr lang="en-GB" sz="1600" dirty="0">
                <a:solidFill>
                  <a:srgbClr val="245473"/>
                </a:solidFill>
                <a:latin typeface="+mj-lt"/>
              </a:rPr>
              <a:t>Penetración de los principales segmentos de clientes</a:t>
            </a:r>
          </a:p>
          <a:p>
            <a:pPr marL="182563" indent="-182563">
              <a:buFont typeface="Arial" panose="020B0604020202020204" pitchFamily="34" charset="0"/>
              <a:buChar char="•"/>
            </a:pPr>
            <a:r>
              <a:rPr lang="en-GB" sz="1600" dirty="0">
                <a:solidFill>
                  <a:srgbClr val="245473"/>
                </a:solidFill>
                <a:latin typeface="+mj-lt"/>
              </a:rPr>
              <a:t>Desarrollo de nuevos segmentos de clientes</a:t>
            </a:r>
          </a:p>
          <a:p>
            <a:pPr marL="182563" indent="-182563">
              <a:buFont typeface="Arial" panose="020B0604020202020204" pitchFamily="34" charset="0"/>
              <a:buChar char="•"/>
            </a:pPr>
            <a:r>
              <a:rPr lang="en-GB" sz="1600" dirty="0">
                <a:solidFill>
                  <a:srgbClr val="245473"/>
                </a:solidFill>
                <a:latin typeface="+mj-lt"/>
              </a:rPr>
              <a:t>Abrir nuevos mercados (geográficamente)</a:t>
            </a:r>
          </a:p>
        </p:txBody>
      </p:sp>
      <p:sp>
        <p:nvSpPr>
          <p:cNvPr id="54" name="Rechteck 53">
            <a:extLst>
              <a:ext uri="{FF2B5EF4-FFF2-40B4-BE49-F238E27FC236}">
                <a16:creationId xmlns:a16="http://schemas.microsoft.com/office/drawing/2014/main" xmlns="" id="{0680E122-A7AB-41B7-8A23-049A3459C3B7}"/>
              </a:ext>
            </a:extLst>
          </p:cNvPr>
          <p:cNvSpPr/>
          <p:nvPr/>
        </p:nvSpPr>
        <p:spPr>
          <a:xfrm>
            <a:off x="8606105" y="3622925"/>
            <a:ext cx="2279609" cy="2062103"/>
          </a:xfrm>
          <a:prstGeom prst="rect">
            <a:avLst/>
          </a:prstGeom>
        </p:spPr>
        <p:txBody>
          <a:bodyPr wrap="square">
            <a:spAutoFit/>
          </a:bodyPr>
          <a:lstStyle/>
          <a:p>
            <a:pPr marL="182563" indent="-182563">
              <a:buFont typeface="Arial" panose="020B0604020202020204" pitchFamily="34" charset="0"/>
              <a:buChar char="•"/>
            </a:pPr>
            <a:r>
              <a:rPr lang="en-GB" sz="1600" dirty="0">
                <a:solidFill>
                  <a:srgbClr val="245473"/>
                </a:solidFill>
                <a:latin typeface="+mj-lt"/>
              </a:rPr>
              <a:t>Desarrollo de la gama de productos y servicios existentes</a:t>
            </a:r>
          </a:p>
          <a:p>
            <a:pPr marL="182563" indent="-182563">
              <a:buFont typeface="Arial" panose="020B0604020202020204" pitchFamily="34" charset="0"/>
              <a:buChar char="•"/>
            </a:pPr>
            <a:r>
              <a:rPr lang="en-GB" sz="1600" dirty="0">
                <a:solidFill>
                  <a:srgbClr val="245473"/>
                </a:solidFill>
                <a:latin typeface="+mj-lt"/>
              </a:rPr>
              <a:t>Transferencia de competencias básicas a nuevos modelos de negocio</a:t>
            </a:r>
          </a:p>
          <a:p>
            <a:pPr marL="182563" indent="-182563">
              <a:buFont typeface="Arial" panose="020B0604020202020204" pitchFamily="34" charset="0"/>
              <a:buChar char="•"/>
            </a:pPr>
            <a:r>
              <a:rPr lang="en-GB" sz="1600" dirty="0">
                <a:solidFill>
                  <a:srgbClr val="245473"/>
                </a:solidFill>
                <a:latin typeface="+mj-lt"/>
              </a:rPr>
              <a:t>Desarrollo de nuevas competencias básicas</a:t>
            </a:r>
          </a:p>
        </p:txBody>
      </p:sp>
      <p:sp>
        <p:nvSpPr>
          <p:cNvPr id="55" name="Rounded Rectangle 74">
            <a:extLst>
              <a:ext uri="{FF2B5EF4-FFF2-40B4-BE49-F238E27FC236}">
                <a16:creationId xmlns:a16="http://schemas.microsoft.com/office/drawing/2014/main" xmlns="" id="{7CE51E15-B79E-48F0-AF1E-EC58562032AC}"/>
              </a:ext>
            </a:extLst>
          </p:cNvPr>
          <p:cNvSpPr/>
          <p:nvPr/>
        </p:nvSpPr>
        <p:spPr>
          <a:xfrm rot="10800000">
            <a:off x="6443984" y="3208476"/>
            <a:ext cx="256936" cy="93405"/>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6" name="Rounded Rectangle 74">
            <a:extLst>
              <a:ext uri="{FF2B5EF4-FFF2-40B4-BE49-F238E27FC236}">
                <a16:creationId xmlns:a16="http://schemas.microsoft.com/office/drawing/2014/main" xmlns="" id="{7ADFB08D-493C-459D-84E2-6E9B8256585F}"/>
              </a:ext>
            </a:extLst>
          </p:cNvPr>
          <p:cNvSpPr/>
          <p:nvPr/>
        </p:nvSpPr>
        <p:spPr>
          <a:xfrm rot="5400000">
            <a:off x="8392241" y="3199663"/>
            <a:ext cx="256936" cy="93405"/>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7" name="Rounded Rectangle 74">
            <a:extLst>
              <a:ext uri="{FF2B5EF4-FFF2-40B4-BE49-F238E27FC236}">
                <a16:creationId xmlns:a16="http://schemas.microsoft.com/office/drawing/2014/main" xmlns="" id="{70EA4A0D-30AC-4DB1-A863-DE55D70AE824}"/>
              </a:ext>
            </a:extLst>
          </p:cNvPr>
          <p:cNvSpPr/>
          <p:nvPr/>
        </p:nvSpPr>
        <p:spPr>
          <a:xfrm rot="10800000">
            <a:off x="8391501" y="3208476"/>
            <a:ext cx="256936" cy="93405"/>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Tree>
    <p:extLst>
      <p:ext uri="{BB962C8B-B14F-4D97-AF65-F5344CB8AC3E}">
        <p14:creationId xmlns:p14="http://schemas.microsoft.com/office/powerpoint/2010/main" val="16254306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34335" y="524626"/>
            <a:ext cx="8852375" cy="697353"/>
          </a:xfrm>
        </p:spPr>
        <p:txBody>
          <a:bodyPr>
            <a:normAutofit/>
          </a:bodyPr>
          <a:lstStyle/>
          <a:p>
            <a:r>
              <a:rPr lang="en-GB" dirty="0"/>
              <a:t>Superar la crisis de ingresos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6941" y="2173153"/>
            <a:ext cx="1968114" cy="312936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ara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para seguir teniendo éxito a largo plazo, debe conseguir al menos los mismos márgenes que sus competidores. </a:t>
            </a:r>
            <a:endParaRPr lang="en-GB" sz="2200" b="1" dirty="0">
              <a:solidFill>
                <a:srgbClr val="245473"/>
              </a:solidFill>
              <a:latin typeface="+mj-lt"/>
              <a:ea typeface="Open Sans Light" panose="020B0306030504020204" pitchFamily="34" charset="0"/>
              <a:cs typeface="Open Sans Light" panose="020B0306030504020204" pitchFamily="34" charset="0"/>
            </a:endParaRPr>
          </a:p>
        </p:txBody>
      </p:sp>
      <p:graphicFrame>
        <p:nvGraphicFramePr>
          <p:cNvPr id="53" name="object 2">
            <a:extLst>
              <a:ext uri="{FF2B5EF4-FFF2-40B4-BE49-F238E27FC236}">
                <a16:creationId xmlns:a16="http://schemas.microsoft.com/office/drawing/2014/main" xmlns="" id="{E82591D0-8DD7-4571-8988-F0E12F34DFFA}"/>
              </a:ext>
            </a:extLst>
          </p:cNvPr>
          <p:cNvGraphicFramePr>
            <a:graphicFrameLocks noGrp="1"/>
          </p:cNvGraphicFramePr>
          <p:nvPr>
            <p:extLst>
              <p:ext uri="{D42A27DB-BD31-4B8C-83A1-F6EECF244321}">
                <p14:modId xmlns:p14="http://schemas.microsoft.com/office/powerpoint/2010/main" val="649475331"/>
              </p:ext>
            </p:extLst>
          </p:nvPr>
        </p:nvGraphicFramePr>
        <p:xfrm>
          <a:off x="2200318" y="1752048"/>
          <a:ext cx="5434535" cy="4732464"/>
        </p:xfrm>
        <a:graphic>
          <a:graphicData uri="http://schemas.openxmlformats.org/drawingml/2006/table">
            <a:tbl>
              <a:tblPr firstRow="1" bandRow="1">
                <a:tableStyleId>{2D5ABB26-0587-4C30-8999-92F81FD0307C}</a:tableStyleId>
              </a:tblPr>
              <a:tblGrid>
                <a:gridCol w="5434535">
                  <a:extLst>
                    <a:ext uri="{9D8B030D-6E8A-4147-A177-3AD203B41FA5}">
                      <a16:colId xmlns:a16="http://schemas.microsoft.com/office/drawing/2014/main" xmlns="" val="20000"/>
                    </a:ext>
                  </a:extLst>
                </a:gridCol>
              </a:tblGrid>
              <a:tr h="541502">
                <a:tc>
                  <a:txBody>
                    <a:bodyPr/>
                    <a:lstStyle/>
                    <a:p>
                      <a:pPr marL="91440">
                        <a:lnSpc>
                          <a:spcPct val="100000"/>
                        </a:lnSpc>
                        <a:spcBef>
                          <a:spcPts val="715"/>
                        </a:spcBef>
                      </a:pPr>
                      <a:r>
                        <a:rPr lang="en-GB" sz="1800" b="1" dirty="0">
                          <a:solidFill>
                            <a:srgbClr val="FFFFFF"/>
                          </a:solidFill>
                          <a:latin typeface="+mj-lt"/>
                          <a:cs typeface="Arial"/>
                        </a:rPr>
                        <a:t>Superar la crisis de los ingresos/el éxito</a:t>
                      </a:r>
                      <a:endParaRPr lang="en-GB" sz="1800" dirty="0">
                        <a:latin typeface="+mj-lt"/>
                        <a:cs typeface="Arial"/>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375F92"/>
                    </a:solidFill>
                  </a:tcPr>
                </a:tc>
                <a:extLst>
                  <a:ext uri="{0D108BD9-81ED-4DB2-BD59-A6C34878D82A}">
                    <a16:rowId xmlns:a16="http://schemas.microsoft.com/office/drawing/2014/main" xmlns="" val="10000"/>
                  </a:ext>
                </a:extLst>
              </a:tr>
              <a:tr h="2946618">
                <a:tc>
                  <a:txBody>
                    <a:bodyPr/>
                    <a:lstStyle/>
                    <a:p>
                      <a:pPr marL="87313" marR="185420" indent="0">
                        <a:lnSpc>
                          <a:spcPct val="100000"/>
                        </a:lnSpc>
                        <a:spcBef>
                          <a:spcPts val="320"/>
                        </a:spcBef>
                        <a:buFont typeface="Wingdings"/>
                        <a:buNone/>
                        <a:tabLst>
                          <a:tab pos="551815" algn="l"/>
                          <a:tab pos="552450" algn="l"/>
                        </a:tabLst>
                      </a:pPr>
                      <a:r>
                        <a:rPr lang="en-GB" sz="1800" b="0" spc="-5" dirty="0">
                          <a:solidFill>
                            <a:srgbClr val="245473"/>
                          </a:solidFill>
                          <a:latin typeface="+mj-lt"/>
                          <a:cs typeface="Arial"/>
                        </a:rPr>
                        <a:t>Para conseguir al menos una rentabilidad sostenible de las ventas en línea con los estándares del sector tras una crisis de éxito, es necesario un concepto de reestructuración en profundidad. Como medidas generales hay que tener en cuenta</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Abandono o agrupación de áreas de negocio individuales</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Racionalización de la gama de servicios</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Reducción de la gama vertical de fabricación</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Uso de piezas comunes</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Agrupación de funciones y procesos, etc.</a:t>
                      </a:r>
                    </a:p>
                  </a:txBody>
                  <a:tcPr marL="0" marR="0" marT="4064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xmlns="" val="10001"/>
                  </a:ext>
                </a:extLst>
              </a:tr>
              <a:tr h="1216622">
                <a:tc>
                  <a:txBody>
                    <a:bodyPr/>
                    <a:lstStyle/>
                    <a:p>
                      <a:pPr marL="266065" marR="298450" indent="0">
                        <a:lnSpc>
                          <a:spcPct val="100000"/>
                        </a:lnSpc>
                        <a:buFont typeface="Wingdings"/>
                        <a:buNone/>
                        <a:tabLst>
                          <a:tab pos="551815" algn="l"/>
                          <a:tab pos="552450" algn="l"/>
                        </a:tabLst>
                      </a:pPr>
                      <a:r>
                        <a:rPr lang="en-GB" sz="1800" b="0" spc="-5" dirty="0">
                          <a:solidFill>
                            <a:srgbClr val="245473"/>
                          </a:solidFill>
                          <a:latin typeface="+mj-lt"/>
                          <a:cs typeface="Arial"/>
                        </a:rPr>
                        <a:t>Se puede aumentar el volumen y/o el precio mejorando la cadena de valor y el programa de entrega y servicio, centrándose en las necesidades del cliente y mejorando el marketing y las ventas</a:t>
                      </a: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xmlns="" val="10002"/>
                  </a:ext>
                </a:extLst>
              </a:tr>
            </a:tbl>
          </a:graphicData>
        </a:graphic>
      </p:graphicFrame>
      <p:graphicFrame>
        <p:nvGraphicFramePr>
          <p:cNvPr id="55" name="object 2">
            <a:extLst>
              <a:ext uri="{FF2B5EF4-FFF2-40B4-BE49-F238E27FC236}">
                <a16:creationId xmlns:a16="http://schemas.microsoft.com/office/drawing/2014/main" xmlns="" id="{FC56DE70-C637-41E8-9F67-B98577AF8118}"/>
              </a:ext>
            </a:extLst>
          </p:cNvPr>
          <p:cNvGraphicFramePr>
            <a:graphicFrameLocks noGrp="1"/>
          </p:cNvGraphicFramePr>
          <p:nvPr>
            <p:extLst>
              <p:ext uri="{D42A27DB-BD31-4B8C-83A1-F6EECF244321}">
                <p14:modId xmlns:p14="http://schemas.microsoft.com/office/powerpoint/2010/main" val="3886210662"/>
              </p:ext>
            </p:extLst>
          </p:nvPr>
        </p:nvGraphicFramePr>
        <p:xfrm>
          <a:off x="8058924" y="1752048"/>
          <a:ext cx="3927625" cy="5007085"/>
        </p:xfrm>
        <a:graphic>
          <a:graphicData uri="http://schemas.openxmlformats.org/drawingml/2006/table">
            <a:tbl>
              <a:tblPr firstRow="1" bandRow="1">
                <a:tableStyleId>{2D5ABB26-0587-4C30-8999-92F81FD0307C}</a:tableStyleId>
              </a:tblPr>
              <a:tblGrid>
                <a:gridCol w="3927625">
                  <a:extLst>
                    <a:ext uri="{9D8B030D-6E8A-4147-A177-3AD203B41FA5}">
                      <a16:colId xmlns:a16="http://schemas.microsoft.com/office/drawing/2014/main" xmlns="" val="20000"/>
                    </a:ext>
                  </a:extLst>
                </a:gridCol>
              </a:tblGrid>
              <a:tr h="562257">
                <a:tc>
                  <a:txBody>
                    <a:bodyPr/>
                    <a:lstStyle/>
                    <a:p>
                      <a:pPr marL="91440">
                        <a:lnSpc>
                          <a:spcPct val="100000"/>
                        </a:lnSpc>
                        <a:spcBef>
                          <a:spcPts val="715"/>
                        </a:spcBef>
                      </a:pPr>
                      <a:r>
                        <a:rPr lang="en-GB" sz="1800" b="1" dirty="0">
                          <a:solidFill>
                            <a:srgbClr val="FFFFFF"/>
                          </a:solidFill>
                          <a:latin typeface="+mj-lt"/>
                          <a:cs typeface="Arial"/>
                        </a:rPr>
                        <a:t>Posibles medidas</a:t>
                      </a:r>
                      <a:endParaRPr lang="en-GB" sz="1800" dirty="0">
                        <a:latin typeface="+mj-lt"/>
                        <a:cs typeface="Arial"/>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375F92"/>
                    </a:solidFill>
                  </a:tcPr>
                </a:tc>
                <a:extLst>
                  <a:ext uri="{0D108BD9-81ED-4DB2-BD59-A6C34878D82A}">
                    <a16:rowId xmlns:a16="http://schemas.microsoft.com/office/drawing/2014/main" xmlns="" val="10000"/>
                  </a:ext>
                </a:extLst>
              </a:tr>
              <a:tr h="448467">
                <a:tc>
                  <a:txBody>
                    <a:bodyPr/>
                    <a:lstStyle/>
                    <a:p>
                      <a:pPr marL="551180" indent="-285115">
                        <a:lnSpc>
                          <a:spcPct val="100000"/>
                        </a:lnSpc>
                        <a:spcBef>
                          <a:spcPts val="815"/>
                        </a:spcBef>
                        <a:buFont typeface="Wingdings"/>
                        <a:buChar char=""/>
                        <a:tabLst>
                          <a:tab pos="551180" algn="l"/>
                          <a:tab pos="551815" algn="l"/>
                        </a:tabLst>
                      </a:pPr>
                      <a:r>
                        <a:rPr lang="en-GB" sz="1800" spc="-5" dirty="0">
                          <a:solidFill>
                            <a:srgbClr val="245473"/>
                          </a:solidFill>
                          <a:latin typeface="+mj-lt"/>
                          <a:cs typeface="Arial"/>
                        </a:rPr>
                        <a:t>Reducción de los precios de compra</a:t>
                      </a:r>
                    </a:p>
                  </a:txBody>
                  <a:tcPr marL="0" marR="0" marT="10350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xmlns="" val="10001"/>
                  </a:ext>
                </a:extLst>
              </a:tr>
              <a:tr h="582338">
                <a:tc>
                  <a:txBody>
                    <a:bodyPr/>
                    <a:lstStyle/>
                    <a:p>
                      <a:pPr marL="551180" indent="-285115">
                        <a:lnSpc>
                          <a:spcPct val="100000"/>
                        </a:lnSpc>
                        <a:spcBef>
                          <a:spcPts val="820"/>
                        </a:spcBef>
                        <a:buFont typeface="Wingdings"/>
                        <a:buChar char=""/>
                        <a:tabLst>
                          <a:tab pos="551180" algn="l"/>
                          <a:tab pos="551815" algn="l"/>
                        </a:tabLst>
                      </a:pPr>
                      <a:r>
                        <a:rPr lang="en-GB" sz="1800" spc="-5" dirty="0">
                          <a:solidFill>
                            <a:srgbClr val="245473"/>
                          </a:solidFill>
                          <a:latin typeface="+mj-lt"/>
                          <a:cs typeface="Arial"/>
                        </a:rPr>
                        <a:t>Optimización de las cantidades de consumo</a:t>
                      </a:r>
                      <a:endParaRPr lang="en-GB" sz="1800" dirty="0">
                        <a:solidFill>
                          <a:srgbClr val="245473"/>
                        </a:solidFill>
                        <a:latin typeface="+mj-lt"/>
                        <a:cs typeface="Arial"/>
                      </a:endParaRPr>
                    </a:p>
                  </a:txBody>
                  <a:tcPr marL="0" marR="0" marT="1041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xmlns="" val="10002"/>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10" dirty="0">
                          <a:solidFill>
                            <a:srgbClr val="245473"/>
                          </a:solidFill>
                          <a:latin typeface="+mj-lt"/>
                          <a:cs typeface="Arial"/>
                        </a:rPr>
                        <a:t>Reducción de la tasa de desechos</a:t>
                      </a:r>
                      <a:endParaRPr lang="en-GB" sz="1800" dirty="0">
                        <a:solidFill>
                          <a:srgbClr val="245473"/>
                        </a:solidFill>
                        <a:latin typeface="+mj-lt"/>
                        <a:cs typeface="Arial"/>
                      </a:endParaRP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xmlns="" val="10003"/>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5" dirty="0">
                          <a:solidFill>
                            <a:srgbClr val="245473"/>
                          </a:solidFill>
                          <a:latin typeface="+mj-lt"/>
                          <a:cs typeface="Arial"/>
                        </a:rPr>
                        <a:t>Reducción del número de variantes</a:t>
                      </a: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xmlns="" val="10004"/>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5" dirty="0">
                          <a:solidFill>
                            <a:srgbClr val="245473"/>
                          </a:solidFill>
                          <a:latin typeface="+mj-lt"/>
                          <a:cs typeface="Arial"/>
                        </a:rPr>
                        <a:t>Reducción de los costes de almacenamiento</a:t>
                      </a: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xmlns="" val="10005"/>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5" dirty="0">
                          <a:solidFill>
                            <a:srgbClr val="245473"/>
                          </a:solidFill>
                          <a:latin typeface="+mj-lt"/>
                          <a:cs typeface="Arial"/>
                        </a:rPr>
                        <a:t>Reducción del compromiso de capital</a:t>
                      </a: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xmlns="" val="10006"/>
                  </a:ext>
                </a:extLst>
              </a:tr>
              <a:tr h="448467">
                <a:tc>
                  <a:txBody>
                    <a:bodyPr/>
                    <a:lstStyle/>
                    <a:p>
                      <a:pPr marL="551180" indent="-285115">
                        <a:lnSpc>
                          <a:spcPct val="100000"/>
                        </a:lnSpc>
                        <a:spcBef>
                          <a:spcPts val="825"/>
                        </a:spcBef>
                        <a:buFont typeface="Wingdings"/>
                        <a:buChar char=""/>
                        <a:tabLst>
                          <a:tab pos="551180" algn="l"/>
                          <a:tab pos="551815" algn="l"/>
                        </a:tabLst>
                      </a:pPr>
                      <a:r>
                        <a:rPr lang="en-GB" sz="1800" spc="-5" dirty="0">
                          <a:solidFill>
                            <a:srgbClr val="245473"/>
                          </a:solidFill>
                          <a:latin typeface="+mj-lt"/>
                          <a:cs typeface="Arial"/>
                        </a:rPr>
                        <a:t>Medidas de personal</a:t>
                      </a:r>
                      <a:endParaRPr lang="en-GB" sz="1800" dirty="0">
                        <a:solidFill>
                          <a:srgbClr val="245473"/>
                        </a:solidFill>
                        <a:latin typeface="+mj-lt"/>
                        <a:cs typeface="Arial"/>
                      </a:endParaRPr>
                    </a:p>
                  </a:txBody>
                  <a:tcPr marL="0" marR="0" marT="1047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xmlns="" val="10007"/>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5" dirty="0">
                          <a:solidFill>
                            <a:srgbClr val="245473"/>
                          </a:solidFill>
                          <a:latin typeface="+mj-lt"/>
                          <a:cs typeface="Arial"/>
                        </a:rPr>
                        <a:t>Reducción/flexibilización de los costes fijos</a:t>
                      </a:r>
                      <a:endParaRPr lang="en-GB" sz="1800" dirty="0">
                        <a:solidFill>
                          <a:srgbClr val="245473"/>
                        </a:solidFill>
                        <a:latin typeface="+mj-lt"/>
                        <a:cs typeface="Arial"/>
                      </a:endParaRP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xmlns="" val="10008"/>
                  </a:ext>
                </a:extLst>
              </a:tr>
              <a:tr h="448467">
                <a:tc>
                  <a:txBody>
                    <a:bodyPr/>
                    <a:lstStyle/>
                    <a:p>
                      <a:pPr marL="551180" indent="-285115">
                        <a:lnSpc>
                          <a:spcPct val="100000"/>
                        </a:lnSpc>
                        <a:spcBef>
                          <a:spcPts val="825"/>
                        </a:spcBef>
                        <a:buFont typeface="Wingdings"/>
                        <a:buChar char=""/>
                        <a:tabLst>
                          <a:tab pos="551180" algn="l"/>
                          <a:tab pos="551815" algn="l"/>
                        </a:tabLst>
                      </a:pPr>
                      <a:r>
                        <a:rPr lang="en-GB" sz="1800" spc="-10" dirty="0">
                          <a:solidFill>
                            <a:srgbClr val="245473"/>
                          </a:solidFill>
                          <a:latin typeface="+mj-lt"/>
                          <a:cs typeface="Arial"/>
                        </a:rPr>
                        <a:t>Mejora de la utilización de la capacidad</a:t>
                      </a:r>
                    </a:p>
                  </a:txBody>
                  <a:tcPr marL="0" marR="0" marT="1047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xmlns="" val="10009"/>
                  </a:ext>
                </a:extLst>
              </a:tr>
            </a:tbl>
          </a:graphicData>
        </a:graphic>
      </p:graphicFrame>
      <p:sp>
        <p:nvSpPr>
          <p:cNvPr id="5" name="Gleichschenkliges Dreieck 4">
            <a:extLst>
              <a:ext uri="{FF2B5EF4-FFF2-40B4-BE49-F238E27FC236}">
                <a16:creationId xmlns:a16="http://schemas.microsoft.com/office/drawing/2014/main" xmlns="" id="{E0DFE09A-343C-4754-88E6-409F141394F4}"/>
              </a:ext>
            </a:extLst>
          </p:cNvPr>
          <p:cNvSpPr/>
          <p:nvPr/>
        </p:nvSpPr>
        <p:spPr>
          <a:xfrm rot="5400000">
            <a:off x="6703200" y="4057184"/>
            <a:ext cx="2260121" cy="396815"/>
          </a:xfrm>
          <a:prstGeom prst="triangle">
            <a:avLst/>
          </a:prstGeom>
          <a:solidFill>
            <a:srgbClr val="E532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288157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1607" y="742273"/>
            <a:ext cx="8852375" cy="697353"/>
          </a:xfrm>
        </p:spPr>
        <p:txBody>
          <a:bodyPr>
            <a:normAutofit/>
          </a:bodyPr>
          <a:lstStyle/>
          <a:p>
            <a:r>
              <a:rPr lang="en-GB" dirty="0"/>
              <a:t>Reducción del coste de los material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269846" cy="279081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introducción o aplicación de una gestión sistemática de las compras puede reducir considerablemente el coste de los materiales.</a:t>
            </a:r>
            <a:endParaRPr lang="en-US" dirty="0">
              <a:solidFill>
                <a:srgbClr val="245473"/>
              </a:solidFill>
            </a:endParaRPr>
          </a:p>
        </p:txBody>
      </p:sp>
      <p:sp>
        <p:nvSpPr>
          <p:cNvPr id="8" name="Chevron 5">
            <a:extLst>
              <a:ext uri="{FF2B5EF4-FFF2-40B4-BE49-F238E27FC236}">
                <a16:creationId xmlns:a16="http://schemas.microsoft.com/office/drawing/2014/main" xmlns="" id="{CA355C14-CA35-4EF3-A1D2-58F203B6880D}"/>
              </a:ext>
            </a:extLst>
          </p:cNvPr>
          <p:cNvSpPr/>
          <p:nvPr/>
        </p:nvSpPr>
        <p:spPr>
          <a:xfrm>
            <a:off x="4596363" y="2761072"/>
            <a:ext cx="2220837" cy="1132034"/>
          </a:xfrm>
          <a:prstGeom prst="chevron">
            <a:avLst>
              <a:gd name="adj" fmla="val 1808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9" name="Chevron 6">
            <a:extLst>
              <a:ext uri="{FF2B5EF4-FFF2-40B4-BE49-F238E27FC236}">
                <a16:creationId xmlns:a16="http://schemas.microsoft.com/office/drawing/2014/main" xmlns="" id="{09A40833-9F07-40EE-BDB3-BFB02B265A3A}"/>
              </a:ext>
            </a:extLst>
          </p:cNvPr>
          <p:cNvSpPr/>
          <p:nvPr/>
        </p:nvSpPr>
        <p:spPr>
          <a:xfrm>
            <a:off x="6610085" y="2761072"/>
            <a:ext cx="2220837" cy="1132034"/>
          </a:xfrm>
          <a:prstGeom prst="chevron">
            <a:avLst>
              <a:gd name="adj" fmla="val 1808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0" name="Chevron 7">
            <a:extLst>
              <a:ext uri="{FF2B5EF4-FFF2-40B4-BE49-F238E27FC236}">
                <a16:creationId xmlns:a16="http://schemas.microsoft.com/office/drawing/2014/main" xmlns="" id="{297C2258-5D02-444A-AE3B-199B77967C08}"/>
              </a:ext>
            </a:extLst>
          </p:cNvPr>
          <p:cNvSpPr/>
          <p:nvPr/>
        </p:nvSpPr>
        <p:spPr>
          <a:xfrm>
            <a:off x="8703370" y="2761072"/>
            <a:ext cx="2220837" cy="1132034"/>
          </a:xfrm>
          <a:prstGeom prst="chevron">
            <a:avLst>
              <a:gd name="adj" fmla="val 1808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1" name="Subtitle 2">
            <a:extLst>
              <a:ext uri="{FF2B5EF4-FFF2-40B4-BE49-F238E27FC236}">
                <a16:creationId xmlns:a16="http://schemas.microsoft.com/office/drawing/2014/main" xmlns="" id="{ACF18B8D-8725-470B-82D8-108713D211F1}"/>
              </a:ext>
            </a:extLst>
          </p:cNvPr>
          <p:cNvSpPr txBox="1">
            <a:spLocks/>
          </p:cNvSpPr>
          <p:nvPr/>
        </p:nvSpPr>
        <p:spPr>
          <a:xfrm>
            <a:off x="4446594" y="3994576"/>
            <a:ext cx="1941433" cy="191822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Acerca de</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Volúmenes</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veedores</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ductos / Servicios</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edidos</a:t>
            </a:r>
          </a:p>
        </p:txBody>
      </p:sp>
      <p:sp>
        <p:nvSpPr>
          <p:cNvPr id="12" name="Subtitle 2">
            <a:extLst>
              <a:ext uri="{FF2B5EF4-FFF2-40B4-BE49-F238E27FC236}">
                <a16:creationId xmlns:a16="http://schemas.microsoft.com/office/drawing/2014/main" xmlns="" id="{A2798216-4869-4647-93DD-3541C0A720C4}"/>
              </a:ext>
            </a:extLst>
          </p:cNvPr>
          <p:cNvSpPr txBox="1">
            <a:spLocks/>
          </p:cNvSpPr>
          <p:nvPr/>
        </p:nvSpPr>
        <p:spPr>
          <a:xfrm>
            <a:off x="9170670" y="3994576"/>
            <a:ext cx="2830956" cy="213982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etalle de las medidas de ahorro</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ctualización de la aplicación de las medidas</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Informes de acción</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Informes de ahorro</a:t>
            </a:r>
          </a:p>
        </p:txBody>
      </p:sp>
      <p:sp>
        <p:nvSpPr>
          <p:cNvPr id="13" name="Subtitle 2">
            <a:extLst>
              <a:ext uri="{FF2B5EF4-FFF2-40B4-BE49-F238E27FC236}">
                <a16:creationId xmlns:a16="http://schemas.microsoft.com/office/drawing/2014/main" xmlns="" id="{8E442F5C-CE9D-48DD-A7B0-DBA1E44F8373}"/>
              </a:ext>
            </a:extLst>
          </p:cNvPr>
          <p:cNvSpPr txBox="1">
            <a:spLocks/>
          </p:cNvSpPr>
          <p:nvPr/>
        </p:nvSpPr>
        <p:spPr>
          <a:xfrm>
            <a:off x="6354424" y="3938989"/>
            <a:ext cx="2732157" cy="2598412"/>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700" dirty="0">
                <a:solidFill>
                  <a:srgbClr val="245473"/>
                </a:solidFill>
                <a:latin typeface="+mj-lt"/>
                <a:ea typeface="Lato Light" panose="020F0502020204030203" pitchFamily="34" charset="0"/>
                <a:cs typeface="Mukta ExtraLight" panose="020B0000000000000000" pitchFamily="34" charset="77"/>
              </a:rPr>
              <a:t>Reducción de los precios de compra</a:t>
            </a:r>
          </a:p>
          <a:p>
            <a:pPr marL="171450" indent="-171450" algn="l">
              <a:lnSpc>
                <a:spcPct val="100000"/>
              </a:lnSpc>
              <a:buFont typeface="Arial" panose="020B0604020202020204" pitchFamily="34" charset="0"/>
              <a:buChar char="•"/>
            </a:pPr>
            <a:r>
              <a:rPr lang="en-GB" sz="1700" dirty="0">
                <a:solidFill>
                  <a:srgbClr val="245473"/>
                </a:solidFill>
                <a:latin typeface="+mj-lt"/>
                <a:ea typeface="Lato Light" panose="020F0502020204030203" pitchFamily="34" charset="0"/>
                <a:cs typeface="Mukta ExtraLight" panose="020B0000000000000000" pitchFamily="34" charset="77"/>
              </a:rPr>
              <a:t>Optimización de las cantidades de consumo</a:t>
            </a:r>
          </a:p>
          <a:p>
            <a:pPr marL="171450" indent="-171450" algn="l">
              <a:lnSpc>
                <a:spcPct val="100000"/>
              </a:lnSpc>
              <a:buFont typeface="Arial" panose="020B0604020202020204" pitchFamily="34" charset="0"/>
              <a:buChar char="•"/>
            </a:pPr>
            <a:r>
              <a:rPr lang="en-GB" sz="1700" dirty="0">
                <a:solidFill>
                  <a:srgbClr val="245473"/>
                </a:solidFill>
                <a:latin typeface="+mj-lt"/>
                <a:ea typeface="Lato Light" panose="020F0502020204030203" pitchFamily="34" charset="0"/>
                <a:cs typeface="Mukta ExtraLight" panose="020B0000000000000000" pitchFamily="34" charset="77"/>
              </a:rPr>
              <a:t>Reducción de la tasa de rechazo</a:t>
            </a:r>
          </a:p>
          <a:p>
            <a:pPr marL="171450" indent="-171450" algn="l">
              <a:lnSpc>
                <a:spcPct val="100000"/>
              </a:lnSpc>
              <a:buFont typeface="Arial" panose="020B0604020202020204" pitchFamily="34" charset="0"/>
              <a:buChar char="•"/>
            </a:pPr>
            <a:r>
              <a:rPr lang="en-GB" sz="1700" dirty="0">
                <a:solidFill>
                  <a:srgbClr val="245473"/>
                </a:solidFill>
                <a:latin typeface="+mj-lt"/>
                <a:ea typeface="Lato Light" panose="020F0502020204030203" pitchFamily="34" charset="0"/>
                <a:cs typeface="Mukta ExtraLight" panose="020B0000000000000000" pitchFamily="34" charset="77"/>
              </a:rPr>
              <a:t>Optimización de la gestión de compras</a:t>
            </a:r>
          </a:p>
          <a:p>
            <a:pPr marL="171450" indent="-171450" algn="l">
              <a:lnSpc>
                <a:spcPct val="100000"/>
              </a:lnSpc>
              <a:buFont typeface="Arial" panose="020B0604020202020204" pitchFamily="34" charset="0"/>
              <a:buChar char="•"/>
            </a:pPr>
            <a:r>
              <a:rPr lang="en-GB" sz="1700" dirty="0">
                <a:solidFill>
                  <a:srgbClr val="245473"/>
                </a:solidFill>
                <a:latin typeface="+mj-lt"/>
                <a:ea typeface="Lato Light" panose="020F0502020204030203" pitchFamily="34" charset="0"/>
                <a:cs typeface="Mukta ExtraLight" panose="020B0000000000000000" pitchFamily="34" charset="77"/>
              </a:rPr>
              <a:t>Optimización de la gestión de proveedores</a:t>
            </a:r>
          </a:p>
        </p:txBody>
      </p:sp>
      <p:sp>
        <p:nvSpPr>
          <p:cNvPr id="14" name="TextBox 17">
            <a:extLst>
              <a:ext uri="{FF2B5EF4-FFF2-40B4-BE49-F238E27FC236}">
                <a16:creationId xmlns:a16="http://schemas.microsoft.com/office/drawing/2014/main" xmlns="" id="{2DCB4C89-C352-4260-9CAB-6089A30A64F9}"/>
              </a:ext>
            </a:extLst>
          </p:cNvPr>
          <p:cNvSpPr txBox="1"/>
          <p:nvPr/>
        </p:nvSpPr>
        <p:spPr>
          <a:xfrm>
            <a:off x="4797860" y="3006172"/>
            <a:ext cx="1715560" cy="707886"/>
          </a:xfrm>
          <a:prstGeom prst="rect">
            <a:avLst/>
          </a:prstGeom>
          <a:noFill/>
        </p:spPr>
        <p:txBody>
          <a:bodyPr wrap="square" rtlCol="0" anchor="ctr" anchorCtr="0">
            <a:spAutoFit/>
          </a:bodyPr>
          <a:lstStyle/>
          <a:p>
            <a:pPr algn="ctr"/>
            <a:r>
              <a:rPr lang="en-GB" sz="2000" dirty="0">
                <a:solidFill>
                  <a:schemeClr val="bg1"/>
                </a:solidFill>
                <a:latin typeface="+mj-lt"/>
                <a:ea typeface="League Spartan" charset="0"/>
                <a:cs typeface="Poppins" pitchFamily="2" charset="77"/>
              </a:rPr>
              <a:t>Crear transparencia</a:t>
            </a:r>
          </a:p>
        </p:txBody>
      </p:sp>
      <p:sp>
        <p:nvSpPr>
          <p:cNvPr id="15" name="TextBox 18">
            <a:extLst>
              <a:ext uri="{FF2B5EF4-FFF2-40B4-BE49-F238E27FC236}">
                <a16:creationId xmlns:a16="http://schemas.microsoft.com/office/drawing/2014/main" xmlns="" id="{378E589C-9F23-4B5B-A92F-468EF0D23D9B}"/>
              </a:ext>
            </a:extLst>
          </p:cNvPr>
          <p:cNvSpPr txBox="1"/>
          <p:nvPr/>
        </p:nvSpPr>
        <p:spPr>
          <a:xfrm>
            <a:off x="7148292" y="2980049"/>
            <a:ext cx="1217350" cy="707886"/>
          </a:xfrm>
          <a:prstGeom prst="rect">
            <a:avLst/>
          </a:prstGeom>
          <a:noFill/>
        </p:spPr>
        <p:txBody>
          <a:bodyPr wrap="square" rtlCol="0" anchor="ctr" anchorCtr="0">
            <a:spAutoFit/>
          </a:bodyPr>
          <a:lstStyle/>
          <a:p>
            <a:pPr algn="ctr"/>
            <a:r>
              <a:rPr lang="en-GB" sz="2000" dirty="0">
                <a:solidFill>
                  <a:schemeClr val="bg1"/>
                </a:solidFill>
                <a:latin typeface="+mj-lt"/>
                <a:ea typeface="League Spartan" charset="0"/>
                <a:cs typeface="Poppins" pitchFamily="2" charset="77"/>
              </a:rPr>
              <a:t>Definir las medidas</a:t>
            </a:r>
          </a:p>
        </p:txBody>
      </p:sp>
      <p:sp>
        <p:nvSpPr>
          <p:cNvPr id="16" name="TextBox 19">
            <a:extLst>
              <a:ext uri="{FF2B5EF4-FFF2-40B4-BE49-F238E27FC236}">
                <a16:creationId xmlns:a16="http://schemas.microsoft.com/office/drawing/2014/main" xmlns="" id="{83D4BEAA-4708-4B03-8112-03E1AB9D8B4F}"/>
              </a:ext>
            </a:extLst>
          </p:cNvPr>
          <p:cNvSpPr txBox="1"/>
          <p:nvPr/>
        </p:nvSpPr>
        <p:spPr>
          <a:xfrm>
            <a:off x="8927587" y="2777231"/>
            <a:ext cx="1658561" cy="1015663"/>
          </a:xfrm>
          <a:prstGeom prst="rect">
            <a:avLst/>
          </a:prstGeom>
          <a:noFill/>
        </p:spPr>
        <p:txBody>
          <a:bodyPr wrap="square" rtlCol="0" anchor="ctr" anchorCtr="0">
            <a:spAutoFit/>
          </a:bodyPr>
          <a:lstStyle/>
          <a:p>
            <a:pPr algn="ctr"/>
            <a:r>
              <a:rPr lang="en-GB" sz="2000" dirty="0">
                <a:solidFill>
                  <a:schemeClr val="bg1"/>
                </a:solidFill>
                <a:latin typeface="+mj-lt"/>
                <a:ea typeface="League Spartan" charset="0"/>
                <a:cs typeface="Poppins" pitchFamily="2" charset="77"/>
              </a:rPr>
              <a:t>Medidas Gestión / control</a:t>
            </a:r>
          </a:p>
        </p:txBody>
      </p:sp>
      <p:sp>
        <p:nvSpPr>
          <p:cNvPr id="17" name="Oval 22">
            <a:extLst>
              <a:ext uri="{FF2B5EF4-FFF2-40B4-BE49-F238E27FC236}">
                <a16:creationId xmlns:a16="http://schemas.microsoft.com/office/drawing/2014/main" xmlns="" id="{077C37F3-76FA-4916-896F-BA2EDA2245F5}"/>
              </a:ext>
            </a:extLst>
          </p:cNvPr>
          <p:cNvSpPr/>
          <p:nvPr/>
        </p:nvSpPr>
        <p:spPr>
          <a:xfrm>
            <a:off x="5295850" y="1944824"/>
            <a:ext cx="719581" cy="71958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8" name="Oval 23">
            <a:extLst>
              <a:ext uri="{FF2B5EF4-FFF2-40B4-BE49-F238E27FC236}">
                <a16:creationId xmlns:a16="http://schemas.microsoft.com/office/drawing/2014/main" xmlns="" id="{EB834B57-E58E-4CEA-BBDE-7EE2498A3358}"/>
              </a:ext>
            </a:extLst>
          </p:cNvPr>
          <p:cNvSpPr/>
          <p:nvPr/>
        </p:nvSpPr>
        <p:spPr>
          <a:xfrm>
            <a:off x="7307122" y="1944824"/>
            <a:ext cx="719581" cy="71958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Oval 24">
            <a:extLst>
              <a:ext uri="{FF2B5EF4-FFF2-40B4-BE49-F238E27FC236}">
                <a16:creationId xmlns:a16="http://schemas.microsoft.com/office/drawing/2014/main" xmlns="" id="{A4FE6C57-C7D2-4D03-9B88-89FC492132AD}"/>
              </a:ext>
            </a:extLst>
          </p:cNvPr>
          <p:cNvSpPr/>
          <p:nvPr/>
        </p:nvSpPr>
        <p:spPr>
          <a:xfrm>
            <a:off x="9500780" y="1944824"/>
            <a:ext cx="719581" cy="71958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17">
            <a:extLst>
              <a:ext uri="{FF2B5EF4-FFF2-40B4-BE49-F238E27FC236}">
                <a16:creationId xmlns:a16="http://schemas.microsoft.com/office/drawing/2014/main" xmlns="" id="{4B5F459C-511A-4835-837F-059C73BA8AB5}"/>
              </a:ext>
            </a:extLst>
          </p:cNvPr>
          <p:cNvSpPr txBox="1"/>
          <p:nvPr/>
        </p:nvSpPr>
        <p:spPr>
          <a:xfrm>
            <a:off x="5025753" y="2135336"/>
            <a:ext cx="1260209" cy="338554"/>
          </a:xfrm>
          <a:prstGeom prst="rect">
            <a:avLst/>
          </a:prstGeom>
          <a:noFill/>
        </p:spPr>
        <p:txBody>
          <a:bodyPr wrap="square" rtlCol="0" anchor="ctr" anchorCtr="0">
            <a:spAutoFit/>
          </a:bodyPr>
          <a:lstStyle/>
          <a:p>
            <a:pPr algn="ctr"/>
            <a:r>
              <a:rPr lang="en-GB" sz="1600" b="1">
                <a:solidFill>
                  <a:schemeClr val="bg1"/>
                </a:solidFill>
                <a:latin typeface="+mj-lt"/>
                <a:ea typeface="League Spartan" charset="0"/>
                <a:cs typeface="Poppins" pitchFamily="2" charset="77"/>
              </a:rPr>
              <a:t>1</a:t>
            </a:r>
            <a:endParaRPr lang="en-GB" sz="1600" b="1" dirty="0">
              <a:solidFill>
                <a:schemeClr val="bg1"/>
              </a:solidFill>
              <a:latin typeface="+mj-lt"/>
              <a:ea typeface="League Spartan" charset="0"/>
              <a:cs typeface="Poppins" pitchFamily="2" charset="77"/>
            </a:endParaRPr>
          </a:p>
        </p:txBody>
      </p:sp>
      <p:sp>
        <p:nvSpPr>
          <p:cNvPr id="26" name="TextBox 17">
            <a:extLst>
              <a:ext uri="{FF2B5EF4-FFF2-40B4-BE49-F238E27FC236}">
                <a16:creationId xmlns:a16="http://schemas.microsoft.com/office/drawing/2014/main" xmlns="" id="{CAA4807B-31E3-4621-8C09-69C12DE2C0C2}"/>
              </a:ext>
            </a:extLst>
          </p:cNvPr>
          <p:cNvSpPr txBox="1"/>
          <p:nvPr/>
        </p:nvSpPr>
        <p:spPr>
          <a:xfrm>
            <a:off x="7036591" y="2125079"/>
            <a:ext cx="1260209" cy="338554"/>
          </a:xfrm>
          <a:prstGeom prst="rect">
            <a:avLst/>
          </a:prstGeom>
          <a:noFill/>
        </p:spPr>
        <p:txBody>
          <a:bodyPr wrap="square" rtlCol="0" anchor="ctr" anchorCtr="0">
            <a:spAutoFit/>
          </a:bodyPr>
          <a:lstStyle/>
          <a:p>
            <a:pPr algn="ctr"/>
            <a:r>
              <a:rPr lang="en-GB" sz="1600" b="1">
                <a:solidFill>
                  <a:schemeClr val="bg1"/>
                </a:solidFill>
                <a:latin typeface="+mj-lt"/>
                <a:ea typeface="League Spartan" charset="0"/>
                <a:cs typeface="Poppins" pitchFamily="2" charset="77"/>
              </a:rPr>
              <a:t>2</a:t>
            </a:r>
            <a:endParaRPr lang="en-GB" sz="1600" b="1" dirty="0">
              <a:solidFill>
                <a:schemeClr val="bg1"/>
              </a:solidFill>
              <a:latin typeface="+mj-lt"/>
              <a:ea typeface="League Spartan" charset="0"/>
              <a:cs typeface="Poppins" pitchFamily="2" charset="77"/>
            </a:endParaRPr>
          </a:p>
        </p:txBody>
      </p:sp>
      <p:sp>
        <p:nvSpPr>
          <p:cNvPr id="27" name="TextBox 17">
            <a:extLst>
              <a:ext uri="{FF2B5EF4-FFF2-40B4-BE49-F238E27FC236}">
                <a16:creationId xmlns:a16="http://schemas.microsoft.com/office/drawing/2014/main" xmlns="" id="{654490A2-119E-4A9A-9383-3A37B8A01623}"/>
              </a:ext>
            </a:extLst>
          </p:cNvPr>
          <p:cNvSpPr txBox="1"/>
          <p:nvPr/>
        </p:nvSpPr>
        <p:spPr>
          <a:xfrm>
            <a:off x="9228187" y="2132894"/>
            <a:ext cx="1260209" cy="338554"/>
          </a:xfrm>
          <a:prstGeom prst="rect">
            <a:avLst/>
          </a:prstGeom>
          <a:noFill/>
        </p:spPr>
        <p:txBody>
          <a:bodyPr wrap="square" rtlCol="0" anchor="ctr" anchorCtr="0">
            <a:spAutoFit/>
          </a:bodyPr>
          <a:lstStyle/>
          <a:p>
            <a:pPr algn="ctr"/>
            <a:r>
              <a:rPr lang="en-GB" sz="1600" b="1">
                <a:solidFill>
                  <a:schemeClr val="bg1"/>
                </a:solidFill>
                <a:latin typeface="+mj-lt"/>
                <a:ea typeface="League Spartan" charset="0"/>
                <a:cs typeface="Poppins" pitchFamily="2" charset="77"/>
              </a:rPr>
              <a:t>3</a:t>
            </a:r>
            <a:endParaRPr lang="en-GB" sz="1600" b="1"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171296559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7285" y="469713"/>
            <a:ext cx="9501715" cy="1123594"/>
          </a:xfrm>
        </p:spPr>
        <p:txBody>
          <a:bodyPr>
            <a:normAutofit/>
          </a:bodyPr>
          <a:lstStyle/>
          <a:p>
            <a:r>
              <a:rPr lang="en-GB" sz="3600" dirty="0">
                <a:solidFill>
                  <a:schemeClr val="tx2"/>
                </a:solidFill>
                <a:ea typeface="League Spartan" charset="0"/>
                <a:cs typeface="Poppins" pitchFamily="2" charset="77"/>
              </a:rPr>
              <a:t>Reducción de los costes de personal, 3 enfoqu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98814" y="1899976"/>
            <a:ext cx="2652287" cy="463747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l primer paso para reducir el dimensionamiento actual de los empleados es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llevar a cabo una exhaustiva evaluación comparativa (externa/interna):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dicador clave de rendimiento: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Valor añadido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por empleado</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9" name="TextBox 44">
            <a:extLst>
              <a:ext uri="{FF2B5EF4-FFF2-40B4-BE49-F238E27FC236}">
                <a16:creationId xmlns:a16="http://schemas.microsoft.com/office/drawing/2014/main" xmlns="" id="{96F0992B-EAD8-4CE7-831B-443389EABB34}"/>
              </a:ext>
            </a:extLst>
          </p:cNvPr>
          <p:cNvSpPr txBox="1"/>
          <p:nvPr/>
        </p:nvSpPr>
        <p:spPr>
          <a:xfrm>
            <a:off x="3342123" y="2219569"/>
            <a:ext cx="2205284" cy="369332"/>
          </a:xfrm>
          <a:prstGeom prst="rect">
            <a:avLst/>
          </a:prstGeom>
          <a:noFill/>
        </p:spPr>
        <p:txBody>
          <a:bodyPr wrap="none" rtlCol="0" anchor="b" anchorCtr="0">
            <a:spAutoFit/>
          </a:bodyPr>
          <a:lstStyle/>
          <a:p>
            <a:pPr algn="r"/>
            <a:r>
              <a:rPr lang="en-GB" b="1" dirty="0">
                <a:solidFill>
                  <a:srgbClr val="F95C2C"/>
                </a:solidFill>
                <a:latin typeface="+mj-lt"/>
                <a:ea typeface="League Spartan" charset="0"/>
                <a:cs typeface="Poppins" pitchFamily="2" charset="77"/>
              </a:rPr>
              <a:t>Número de empleados</a:t>
            </a:r>
          </a:p>
        </p:txBody>
      </p:sp>
      <p:sp>
        <p:nvSpPr>
          <p:cNvPr id="30" name="Subtitle 2">
            <a:extLst>
              <a:ext uri="{FF2B5EF4-FFF2-40B4-BE49-F238E27FC236}">
                <a16:creationId xmlns:a16="http://schemas.microsoft.com/office/drawing/2014/main" xmlns="" id="{530F8013-333E-4780-8316-12D9CA305298}"/>
              </a:ext>
            </a:extLst>
          </p:cNvPr>
          <p:cNvSpPr txBox="1">
            <a:spLocks/>
          </p:cNvSpPr>
          <p:nvPr/>
        </p:nvSpPr>
        <p:spPr>
          <a:xfrm>
            <a:off x="3391972" y="2616410"/>
            <a:ext cx="1956642" cy="197362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err="1">
                <a:solidFill>
                  <a:srgbClr val="245473"/>
                </a:solidFill>
                <a:latin typeface="+mj-lt"/>
                <a:ea typeface="Lato Light" panose="020F0502020204030203" pitchFamily="34" charset="0"/>
                <a:cs typeface="Mukta ExtraLight" panose="020B0000000000000000" pitchFamily="34" charset="77"/>
              </a:rPr>
              <a:t>Analizar </a:t>
            </a:r>
            <a:r>
              <a:rPr lang="en-GB" sz="1800" dirty="0">
                <a:solidFill>
                  <a:srgbClr val="245473"/>
                </a:solidFill>
                <a:latin typeface="+mj-lt"/>
                <a:ea typeface="Lato Light" panose="020F0502020204030203" pitchFamily="34" charset="0"/>
                <a:cs typeface="Mukta ExtraLight" panose="020B0000000000000000" pitchFamily="34" charset="77"/>
              </a:rPr>
              <a:t>la cantidad de empleados necesarios para </a:t>
            </a:r>
            <a:r>
              <a:rPr lang="en-GB" sz="1800" dirty="0" err="1">
                <a:solidFill>
                  <a:srgbClr val="245473"/>
                </a:solidFill>
                <a:latin typeface="+mj-lt"/>
                <a:ea typeface="Lato Light" panose="020F0502020204030203" pitchFamily="34" charset="0"/>
                <a:cs typeface="Mukta ExtraLight" panose="020B0000000000000000" pitchFamily="34" charset="77"/>
              </a:rPr>
              <a:t>cumplir con </a:t>
            </a:r>
            <a:r>
              <a:rPr lang="en-GB" sz="1800" dirty="0">
                <a:solidFill>
                  <a:srgbClr val="245473"/>
                </a:solidFill>
                <a:latin typeface="+mj-lt"/>
                <a:ea typeface="Lato Light" panose="020F0502020204030203" pitchFamily="34" charset="0"/>
                <a:cs typeface="Mukta ExtraLight" panose="020B0000000000000000" pitchFamily="34" charset="77"/>
              </a:rPr>
              <a:t>las tareas necesarias: congelación de la contratación / fluctuación natural / despidos masivos, etc</a:t>
            </a:r>
            <a:r>
              <a:rPr lang="en-GB" sz="1600" dirty="0">
                <a:solidFill>
                  <a:schemeClr val="tx1"/>
                </a:solidFill>
                <a:latin typeface="+mj-lt"/>
                <a:ea typeface="Lato Light" panose="020F0502020204030203" pitchFamily="34" charset="0"/>
                <a:cs typeface="Mukta ExtraLight" panose="020B0000000000000000" pitchFamily="34" charset="77"/>
              </a:rPr>
              <a:t>. </a:t>
            </a:r>
          </a:p>
        </p:txBody>
      </p:sp>
      <p:sp>
        <p:nvSpPr>
          <p:cNvPr id="31" name="TextBox 46">
            <a:extLst>
              <a:ext uri="{FF2B5EF4-FFF2-40B4-BE49-F238E27FC236}">
                <a16:creationId xmlns:a16="http://schemas.microsoft.com/office/drawing/2014/main" xmlns="" id="{07055CE9-EF3A-44C5-8B9D-F79FD5F68122}"/>
              </a:ext>
            </a:extLst>
          </p:cNvPr>
          <p:cNvSpPr txBox="1"/>
          <p:nvPr/>
        </p:nvSpPr>
        <p:spPr>
          <a:xfrm>
            <a:off x="4370293" y="4835216"/>
            <a:ext cx="1030860" cy="369332"/>
          </a:xfrm>
          <a:prstGeom prst="rect">
            <a:avLst/>
          </a:prstGeom>
          <a:noFill/>
        </p:spPr>
        <p:txBody>
          <a:bodyPr wrap="none" rtlCol="0" anchor="b" anchorCtr="0">
            <a:spAutoFit/>
          </a:bodyPr>
          <a:lstStyle/>
          <a:p>
            <a:pPr algn="r"/>
            <a:r>
              <a:rPr lang="en-GB" b="1" dirty="0">
                <a:solidFill>
                  <a:srgbClr val="0070C0"/>
                </a:solidFill>
                <a:latin typeface="+mj-lt"/>
                <a:ea typeface="League Spartan" charset="0"/>
                <a:cs typeface="Poppins" pitchFamily="2" charset="77"/>
              </a:rPr>
              <a:t>Estructura</a:t>
            </a:r>
          </a:p>
        </p:txBody>
      </p:sp>
      <p:sp>
        <p:nvSpPr>
          <p:cNvPr id="32" name="Subtitle 2">
            <a:extLst>
              <a:ext uri="{FF2B5EF4-FFF2-40B4-BE49-F238E27FC236}">
                <a16:creationId xmlns:a16="http://schemas.microsoft.com/office/drawing/2014/main" xmlns="" id="{E2F98401-1BC1-46E0-BA36-DE6B266B49CA}"/>
              </a:ext>
            </a:extLst>
          </p:cNvPr>
          <p:cNvSpPr txBox="1">
            <a:spLocks/>
          </p:cNvSpPr>
          <p:nvPr/>
        </p:nvSpPr>
        <p:spPr>
          <a:xfrm>
            <a:off x="3565643" y="5229021"/>
            <a:ext cx="1956642"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Subcontratación de funciones no esenciales. </a:t>
            </a:r>
          </a:p>
        </p:txBody>
      </p:sp>
      <p:sp>
        <p:nvSpPr>
          <p:cNvPr id="33" name="TextBox 48">
            <a:extLst>
              <a:ext uri="{FF2B5EF4-FFF2-40B4-BE49-F238E27FC236}">
                <a16:creationId xmlns:a16="http://schemas.microsoft.com/office/drawing/2014/main" xmlns="" id="{933DCDBF-68E4-48A7-B0F3-906E30EF367C}"/>
              </a:ext>
            </a:extLst>
          </p:cNvPr>
          <p:cNvSpPr txBox="1"/>
          <p:nvPr/>
        </p:nvSpPr>
        <p:spPr>
          <a:xfrm>
            <a:off x="9789090" y="2320774"/>
            <a:ext cx="977575"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Pago</a:t>
            </a:r>
          </a:p>
        </p:txBody>
      </p:sp>
      <p:sp>
        <p:nvSpPr>
          <p:cNvPr id="34" name="Subtitle 2">
            <a:extLst>
              <a:ext uri="{FF2B5EF4-FFF2-40B4-BE49-F238E27FC236}">
                <a16:creationId xmlns:a16="http://schemas.microsoft.com/office/drawing/2014/main" xmlns="" id="{81549C8A-573D-4AA0-A1B8-4D43EBC048BA}"/>
              </a:ext>
            </a:extLst>
          </p:cNvPr>
          <p:cNvSpPr txBox="1">
            <a:spLocks/>
          </p:cNvSpPr>
          <p:nvPr/>
        </p:nvSpPr>
        <p:spPr>
          <a:xfrm>
            <a:off x="10003886" y="2727259"/>
            <a:ext cx="1956642" cy="197362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educción (temporal) de la remuneración (si es legalmente posible). Renuncia a los complementos y a las primas</a:t>
            </a:r>
          </a:p>
        </p:txBody>
      </p:sp>
      <p:grpSp>
        <p:nvGrpSpPr>
          <p:cNvPr id="5" name="Gruppieren 4">
            <a:extLst>
              <a:ext uri="{FF2B5EF4-FFF2-40B4-BE49-F238E27FC236}">
                <a16:creationId xmlns:a16="http://schemas.microsoft.com/office/drawing/2014/main" xmlns="" id="{6E5DD4BE-5A64-473F-AA17-2DE914EA3F56}"/>
              </a:ext>
            </a:extLst>
          </p:cNvPr>
          <p:cNvGrpSpPr>
            <a:grpSpLocks noChangeAspect="1"/>
          </p:cNvGrpSpPr>
          <p:nvPr/>
        </p:nvGrpSpPr>
        <p:grpSpPr>
          <a:xfrm>
            <a:off x="5247202" y="1899976"/>
            <a:ext cx="4663028" cy="4387664"/>
            <a:chOff x="5661682" y="2213621"/>
            <a:chExt cx="3647682" cy="3432274"/>
          </a:xfrm>
        </p:grpSpPr>
        <p:sp>
          <p:nvSpPr>
            <p:cNvPr id="20" name="Freeform 34">
              <a:extLst>
                <a:ext uri="{FF2B5EF4-FFF2-40B4-BE49-F238E27FC236}">
                  <a16:creationId xmlns:a16="http://schemas.microsoft.com/office/drawing/2014/main" xmlns="" id="{77224D6B-2035-4FB4-9A4A-0B4113882CF7}"/>
                </a:ext>
              </a:extLst>
            </p:cNvPr>
            <p:cNvSpPr/>
            <p:nvPr/>
          </p:nvSpPr>
          <p:spPr>
            <a:xfrm>
              <a:off x="5884938" y="2213621"/>
              <a:ext cx="2783922" cy="1588283"/>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700" dirty="0">
                <a:solidFill>
                  <a:schemeClr val="tx1"/>
                </a:solidFill>
                <a:latin typeface="+mj-lt"/>
              </a:endParaRPr>
            </a:p>
          </p:txBody>
        </p:sp>
        <p:sp>
          <p:nvSpPr>
            <p:cNvPr id="21" name="Freeform 36">
              <a:extLst>
                <a:ext uri="{FF2B5EF4-FFF2-40B4-BE49-F238E27FC236}">
                  <a16:creationId xmlns:a16="http://schemas.microsoft.com/office/drawing/2014/main" xmlns="" id="{16D6A14C-0846-4B58-8DCE-B252FB0B6973}"/>
                </a:ext>
              </a:extLst>
            </p:cNvPr>
            <p:cNvSpPr/>
            <p:nvPr/>
          </p:nvSpPr>
          <p:spPr>
            <a:xfrm>
              <a:off x="7673006" y="2511643"/>
              <a:ext cx="1636358" cy="3054156"/>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700" dirty="0">
                <a:solidFill>
                  <a:schemeClr val="tx1"/>
                </a:solidFill>
                <a:latin typeface="+mj-lt"/>
              </a:endParaRPr>
            </a:p>
          </p:txBody>
        </p:sp>
        <p:sp>
          <p:nvSpPr>
            <p:cNvPr id="22" name="Freeform 35">
              <a:extLst>
                <a:ext uri="{FF2B5EF4-FFF2-40B4-BE49-F238E27FC236}">
                  <a16:creationId xmlns:a16="http://schemas.microsoft.com/office/drawing/2014/main" xmlns="" id="{ED31974D-0223-4DD1-815D-05CCF7BBD8B3}"/>
                </a:ext>
              </a:extLst>
            </p:cNvPr>
            <p:cNvSpPr/>
            <p:nvPr/>
          </p:nvSpPr>
          <p:spPr>
            <a:xfrm>
              <a:off x="5661682" y="3349163"/>
              <a:ext cx="2684248" cy="229673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700" dirty="0">
                <a:solidFill>
                  <a:schemeClr val="tx1"/>
                </a:solidFill>
                <a:latin typeface="+mj-lt"/>
              </a:endParaRPr>
            </a:p>
          </p:txBody>
        </p:sp>
        <p:sp>
          <p:nvSpPr>
            <p:cNvPr id="24" name="TextBox 37">
              <a:extLst>
                <a:ext uri="{FF2B5EF4-FFF2-40B4-BE49-F238E27FC236}">
                  <a16:creationId xmlns:a16="http://schemas.microsoft.com/office/drawing/2014/main" xmlns="" id="{E9D1A7E1-25CF-44F3-9F4B-0FFFCF7F3624}"/>
                </a:ext>
              </a:extLst>
            </p:cNvPr>
            <p:cNvSpPr txBox="1"/>
            <p:nvPr/>
          </p:nvSpPr>
          <p:spPr>
            <a:xfrm>
              <a:off x="6229812" y="3524984"/>
              <a:ext cx="385217" cy="361140"/>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01</a:t>
              </a:r>
              <a:endParaRPr lang="en-GB" sz="2400" b="1" dirty="0">
                <a:solidFill>
                  <a:schemeClr val="bg1"/>
                </a:solidFill>
                <a:latin typeface="+mj-lt"/>
                <a:ea typeface="League Spartan" charset="0"/>
                <a:cs typeface="Poppins" pitchFamily="2" charset="77"/>
              </a:endParaRPr>
            </a:p>
          </p:txBody>
        </p:sp>
        <p:sp>
          <p:nvSpPr>
            <p:cNvPr id="25" name="TextBox 38">
              <a:extLst>
                <a:ext uri="{FF2B5EF4-FFF2-40B4-BE49-F238E27FC236}">
                  <a16:creationId xmlns:a16="http://schemas.microsoft.com/office/drawing/2014/main" xmlns="" id="{9FF5C258-CD73-431D-AA96-810C2661A637}"/>
                </a:ext>
              </a:extLst>
            </p:cNvPr>
            <p:cNvSpPr txBox="1"/>
            <p:nvPr/>
          </p:nvSpPr>
          <p:spPr>
            <a:xfrm>
              <a:off x="8177991" y="2912177"/>
              <a:ext cx="385217" cy="361140"/>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02</a:t>
              </a:r>
              <a:endParaRPr lang="en-GB" sz="2400" b="1" dirty="0">
                <a:solidFill>
                  <a:schemeClr val="bg1"/>
                </a:solidFill>
                <a:latin typeface="+mj-lt"/>
                <a:ea typeface="League Spartan" charset="0"/>
                <a:cs typeface="Poppins" pitchFamily="2" charset="77"/>
              </a:endParaRPr>
            </a:p>
          </p:txBody>
        </p:sp>
        <p:sp>
          <p:nvSpPr>
            <p:cNvPr id="28" name="TextBox 40">
              <a:extLst>
                <a:ext uri="{FF2B5EF4-FFF2-40B4-BE49-F238E27FC236}">
                  <a16:creationId xmlns:a16="http://schemas.microsoft.com/office/drawing/2014/main" xmlns="" id="{FACBEECE-2EF6-442B-8955-5959FEDCF865}"/>
                </a:ext>
              </a:extLst>
            </p:cNvPr>
            <p:cNvSpPr txBox="1"/>
            <p:nvPr/>
          </p:nvSpPr>
          <p:spPr>
            <a:xfrm>
              <a:off x="7761828" y="4910660"/>
              <a:ext cx="385217" cy="361140"/>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03</a:t>
              </a:r>
              <a:endParaRPr lang="en-GB" sz="2400" b="1" dirty="0">
                <a:solidFill>
                  <a:schemeClr val="bg1"/>
                </a:solidFill>
                <a:latin typeface="+mj-lt"/>
                <a:ea typeface="League Spartan" charset="0"/>
                <a:cs typeface="Poppins" pitchFamily="2" charset="77"/>
              </a:endParaRPr>
            </a:p>
          </p:txBody>
        </p:sp>
        <p:sp>
          <p:nvSpPr>
            <p:cNvPr id="35" name="TextBox 44">
              <a:extLst>
                <a:ext uri="{FF2B5EF4-FFF2-40B4-BE49-F238E27FC236}">
                  <a16:creationId xmlns:a16="http://schemas.microsoft.com/office/drawing/2014/main" xmlns="" id="{1A13044F-6AEB-428D-9C65-6232F3090444}"/>
                </a:ext>
              </a:extLst>
            </p:cNvPr>
            <p:cNvSpPr txBox="1"/>
            <p:nvPr/>
          </p:nvSpPr>
          <p:spPr>
            <a:xfrm>
              <a:off x="7073527" y="3411303"/>
              <a:ext cx="1009488" cy="1035267"/>
            </a:xfrm>
            <a:prstGeom prst="rect">
              <a:avLst/>
            </a:prstGeom>
            <a:no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Tres enfoques para reducir los costes de personal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costes de personal</a:t>
              </a:r>
            </a:p>
          </p:txBody>
        </p:sp>
      </p:grpSp>
    </p:spTree>
    <p:extLst>
      <p:ext uri="{BB962C8B-B14F-4D97-AF65-F5344CB8AC3E}">
        <p14:creationId xmlns:p14="http://schemas.microsoft.com/office/powerpoint/2010/main" val="11907275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4470" y="518316"/>
            <a:ext cx="8852375" cy="697353"/>
          </a:xfrm>
        </p:spPr>
        <p:txBody>
          <a:bodyPr>
            <a:normAutofit/>
          </a:bodyPr>
          <a:lstStyle/>
          <a:p>
            <a:r>
              <a:rPr lang="en-GB" dirty="0"/>
              <a:t>Reducción de los costes de personal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1834" y="1932813"/>
            <a:ext cx="2950721"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a reducción de los costes de personal es difícil (también emocionalmente) y está legítimamente restringida por la ley.</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in embargo, para recuperar la competitividad sostenible, a menudo es inevitable un ajuste de la estructura de personal.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a liberación del personal protege simultáneamente los puestos de trabajo de los empleados restantes.</a:t>
            </a:r>
          </a:p>
          <a:p>
            <a:pPr marL="285750" indent="-285750" algn="l">
              <a:lnSpc>
                <a:spcPct val="100000"/>
              </a:lnSpc>
              <a:spcBef>
                <a:spcPts val="600"/>
              </a:spcBef>
              <a:buFont typeface="Wingdings" panose="05000000000000000000" pitchFamily="2" charset="2"/>
              <a:buChar char="à"/>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19" name="Chevron 1">
            <a:extLst>
              <a:ext uri="{FF2B5EF4-FFF2-40B4-BE49-F238E27FC236}">
                <a16:creationId xmlns:a16="http://schemas.microsoft.com/office/drawing/2014/main" xmlns="" id="{FC79A5AD-A1C5-4C54-8B66-DFC112E058A8}"/>
              </a:ext>
            </a:extLst>
          </p:cNvPr>
          <p:cNvSpPr/>
          <p:nvPr/>
        </p:nvSpPr>
        <p:spPr>
          <a:xfrm>
            <a:off x="3519696" y="2215414"/>
            <a:ext cx="1717744" cy="611121"/>
          </a:xfrm>
          <a:prstGeom prst="chevron">
            <a:avLst>
              <a:gd name="adj" fmla="val 301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3" name="Chevron 2">
            <a:extLst>
              <a:ext uri="{FF2B5EF4-FFF2-40B4-BE49-F238E27FC236}">
                <a16:creationId xmlns:a16="http://schemas.microsoft.com/office/drawing/2014/main" xmlns="" id="{5DB4A469-BD32-49CA-85AD-0BE6EDBD03A9}"/>
              </a:ext>
            </a:extLst>
          </p:cNvPr>
          <p:cNvSpPr/>
          <p:nvPr/>
        </p:nvSpPr>
        <p:spPr>
          <a:xfrm>
            <a:off x="5139096" y="2215414"/>
            <a:ext cx="1717743" cy="611121"/>
          </a:xfrm>
          <a:prstGeom prst="chevron">
            <a:avLst>
              <a:gd name="adj" fmla="val 3015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6" name="Chevron 3">
            <a:extLst>
              <a:ext uri="{FF2B5EF4-FFF2-40B4-BE49-F238E27FC236}">
                <a16:creationId xmlns:a16="http://schemas.microsoft.com/office/drawing/2014/main" xmlns="" id="{B6274F5F-B287-44AC-9C32-5D1553E80BCA}"/>
              </a:ext>
            </a:extLst>
          </p:cNvPr>
          <p:cNvSpPr/>
          <p:nvPr/>
        </p:nvSpPr>
        <p:spPr>
          <a:xfrm>
            <a:off x="6758495" y="2215414"/>
            <a:ext cx="1719933" cy="611121"/>
          </a:xfrm>
          <a:prstGeom prst="chevron">
            <a:avLst>
              <a:gd name="adj" fmla="val 3015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7" name="Chevron 4">
            <a:extLst>
              <a:ext uri="{FF2B5EF4-FFF2-40B4-BE49-F238E27FC236}">
                <a16:creationId xmlns:a16="http://schemas.microsoft.com/office/drawing/2014/main" xmlns="" id="{23AA4662-1E50-4968-B353-7C977F8980FA}"/>
              </a:ext>
            </a:extLst>
          </p:cNvPr>
          <p:cNvSpPr/>
          <p:nvPr/>
        </p:nvSpPr>
        <p:spPr>
          <a:xfrm>
            <a:off x="8379798" y="2215414"/>
            <a:ext cx="1686091" cy="611121"/>
          </a:xfrm>
          <a:prstGeom prst="chevron">
            <a:avLst>
              <a:gd name="adj" fmla="val 3015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36" name="Chevron 5">
            <a:extLst>
              <a:ext uri="{FF2B5EF4-FFF2-40B4-BE49-F238E27FC236}">
                <a16:creationId xmlns:a16="http://schemas.microsoft.com/office/drawing/2014/main" xmlns="" id="{C5CBE19A-8EC4-4E17-8F7A-836B7E91852B}"/>
              </a:ext>
            </a:extLst>
          </p:cNvPr>
          <p:cNvSpPr/>
          <p:nvPr/>
        </p:nvSpPr>
        <p:spPr>
          <a:xfrm>
            <a:off x="9999197" y="2215414"/>
            <a:ext cx="1724374" cy="611121"/>
          </a:xfrm>
          <a:prstGeom prst="chevron">
            <a:avLst>
              <a:gd name="adj" fmla="val 30153"/>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37" name="TextBox 8">
            <a:extLst>
              <a:ext uri="{FF2B5EF4-FFF2-40B4-BE49-F238E27FC236}">
                <a16:creationId xmlns:a16="http://schemas.microsoft.com/office/drawing/2014/main" xmlns="" id="{457B3B6B-CEF0-486A-AEA4-1708549C2BE3}"/>
              </a:ext>
            </a:extLst>
          </p:cNvPr>
          <p:cNvSpPr txBox="1"/>
          <p:nvPr/>
        </p:nvSpPr>
        <p:spPr>
          <a:xfrm>
            <a:off x="3716046"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1. Etapa</a:t>
            </a:r>
          </a:p>
        </p:txBody>
      </p:sp>
      <p:sp>
        <p:nvSpPr>
          <p:cNvPr id="38" name="TextBox 9">
            <a:extLst>
              <a:ext uri="{FF2B5EF4-FFF2-40B4-BE49-F238E27FC236}">
                <a16:creationId xmlns:a16="http://schemas.microsoft.com/office/drawing/2014/main" xmlns="" id="{5EAE4798-EE94-4C69-8120-75FCE9B3EF0B}"/>
              </a:ext>
            </a:extLst>
          </p:cNvPr>
          <p:cNvSpPr txBox="1"/>
          <p:nvPr/>
        </p:nvSpPr>
        <p:spPr>
          <a:xfrm>
            <a:off x="5303507"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2. </a:t>
            </a:r>
            <a:r>
              <a:rPr lang="en-GB" b="1" dirty="0">
                <a:solidFill>
                  <a:schemeClr val="bg1"/>
                </a:solidFill>
                <a:cs typeface="Poppins" pitchFamily="2" charset="77"/>
              </a:rPr>
              <a:t>Etapa</a:t>
            </a:r>
            <a:endParaRPr lang="en-GB" b="1" dirty="0">
              <a:solidFill>
                <a:schemeClr val="bg1"/>
              </a:solidFill>
              <a:latin typeface="+mj-lt"/>
              <a:cs typeface="Poppins" pitchFamily="2" charset="77"/>
            </a:endParaRPr>
          </a:p>
        </p:txBody>
      </p:sp>
      <p:sp>
        <p:nvSpPr>
          <p:cNvPr id="39" name="TextBox 10">
            <a:extLst>
              <a:ext uri="{FF2B5EF4-FFF2-40B4-BE49-F238E27FC236}">
                <a16:creationId xmlns:a16="http://schemas.microsoft.com/office/drawing/2014/main" xmlns="" id="{BF1202B6-C208-4DB2-952D-9B42E96BA44E}"/>
              </a:ext>
            </a:extLst>
          </p:cNvPr>
          <p:cNvSpPr txBox="1"/>
          <p:nvPr/>
        </p:nvSpPr>
        <p:spPr>
          <a:xfrm>
            <a:off x="6890968"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3. </a:t>
            </a:r>
            <a:r>
              <a:rPr lang="en-GB" b="1" dirty="0">
                <a:solidFill>
                  <a:schemeClr val="bg1"/>
                </a:solidFill>
                <a:cs typeface="Poppins" pitchFamily="2" charset="77"/>
              </a:rPr>
              <a:t>Etapa</a:t>
            </a:r>
            <a:endParaRPr lang="en-GB" b="1" dirty="0">
              <a:solidFill>
                <a:schemeClr val="bg1"/>
              </a:solidFill>
              <a:latin typeface="+mj-lt"/>
              <a:cs typeface="Poppins" pitchFamily="2" charset="77"/>
            </a:endParaRPr>
          </a:p>
        </p:txBody>
      </p:sp>
      <p:sp>
        <p:nvSpPr>
          <p:cNvPr id="40" name="TextBox 11">
            <a:extLst>
              <a:ext uri="{FF2B5EF4-FFF2-40B4-BE49-F238E27FC236}">
                <a16:creationId xmlns:a16="http://schemas.microsoft.com/office/drawing/2014/main" xmlns="" id="{044AA074-D4F0-4D0B-9F16-A8E8F1BFC26C}"/>
              </a:ext>
            </a:extLst>
          </p:cNvPr>
          <p:cNvSpPr txBox="1"/>
          <p:nvPr/>
        </p:nvSpPr>
        <p:spPr>
          <a:xfrm>
            <a:off x="8478429"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4. </a:t>
            </a:r>
            <a:r>
              <a:rPr lang="en-GB" b="1" dirty="0">
                <a:solidFill>
                  <a:schemeClr val="bg1"/>
                </a:solidFill>
                <a:cs typeface="Poppins" pitchFamily="2" charset="77"/>
              </a:rPr>
              <a:t>Etapa</a:t>
            </a:r>
            <a:endParaRPr lang="en-GB" b="1" dirty="0">
              <a:solidFill>
                <a:schemeClr val="bg1"/>
              </a:solidFill>
              <a:latin typeface="+mj-lt"/>
              <a:cs typeface="Poppins" pitchFamily="2" charset="77"/>
            </a:endParaRPr>
          </a:p>
        </p:txBody>
      </p:sp>
      <p:sp>
        <p:nvSpPr>
          <p:cNvPr id="41" name="TextBox 12">
            <a:extLst>
              <a:ext uri="{FF2B5EF4-FFF2-40B4-BE49-F238E27FC236}">
                <a16:creationId xmlns:a16="http://schemas.microsoft.com/office/drawing/2014/main" xmlns="" id="{4B033314-8376-4B93-BDD0-EB65A3B48C1E}"/>
              </a:ext>
            </a:extLst>
          </p:cNvPr>
          <p:cNvSpPr txBox="1"/>
          <p:nvPr/>
        </p:nvSpPr>
        <p:spPr>
          <a:xfrm>
            <a:off x="10065890"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5. </a:t>
            </a:r>
            <a:r>
              <a:rPr lang="en-GB" b="1" dirty="0">
                <a:solidFill>
                  <a:schemeClr val="bg1"/>
                </a:solidFill>
                <a:cs typeface="Poppins" pitchFamily="2" charset="77"/>
              </a:rPr>
              <a:t>Etapa</a:t>
            </a:r>
            <a:endParaRPr lang="en-GB" b="1" dirty="0">
              <a:solidFill>
                <a:schemeClr val="bg1"/>
              </a:solidFill>
              <a:latin typeface="+mj-lt"/>
              <a:cs typeface="Poppins" pitchFamily="2" charset="77"/>
            </a:endParaRPr>
          </a:p>
        </p:txBody>
      </p:sp>
      <p:sp>
        <p:nvSpPr>
          <p:cNvPr id="42" name="Rectangle 13">
            <a:extLst>
              <a:ext uri="{FF2B5EF4-FFF2-40B4-BE49-F238E27FC236}">
                <a16:creationId xmlns:a16="http://schemas.microsoft.com/office/drawing/2014/main" xmlns="" id="{809D22EB-2609-4D39-8E92-51A2829B82FB}"/>
              </a:ext>
            </a:extLst>
          </p:cNvPr>
          <p:cNvSpPr/>
          <p:nvPr/>
        </p:nvSpPr>
        <p:spPr>
          <a:xfrm>
            <a:off x="3509469" y="2905712"/>
            <a:ext cx="1523583" cy="24155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3" name="Rectangle 14">
            <a:extLst>
              <a:ext uri="{FF2B5EF4-FFF2-40B4-BE49-F238E27FC236}">
                <a16:creationId xmlns:a16="http://schemas.microsoft.com/office/drawing/2014/main" xmlns="" id="{C6AC052F-2891-4D83-AA23-0639B87900C9}"/>
              </a:ext>
            </a:extLst>
          </p:cNvPr>
          <p:cNvSpPr/>
          <p:nvPr/>
        </p:nvSpPr>
        <p:spPr>
          <a:xfrm>
            <a:off x="6748269" y="2905712"/>
            <a:ext cx="1523583" cy="24155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4" name="Rectangle 15">
            <a:extLst>
              <a:ext uri="{FF2B5EF4-FFF2-40B4-BE49-F238E27FC236}">
                <a16:creationId xmlns:a16="http://schemas.microsoft.com/office/drawing/2014/main" xmlns="" id="{20019679-2364-4AAE-A7AB-2563DF8A219E}"/>
              </a:ext>
            </a:extLst>
          </p:cNvPr>
          <p:cNvSpPr/>
          <p:nvPr/>
        </p:nvSpPr>
        <p:spPr>
          <a:xfrm>
            <a:off x="5128869" y="2905712"/>
            <a:ext cx="1523583" cy="24155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5" name="Rectangle 16">
            <a:extLst>
              <a:ext uri="{FF2B5EF4-FFF2-40B4-BE49-F238E27FC236}">
                <a16:creationId xmlns:a16="http://schemas.microsoft.com/office/drawing/2014/main" xmlns="" id="{D4725715-5810-4881-B49E-63B497BCEBD0}"/>
              </a:ext>
            </a:extLst>
          </p:cNvPr>
          <p:cNvSpPr/>
          <p:nvPr/>
        </p:nvSpPr>
        <p:spPr>
          <a:xfrm>
            <a:off x="8379799" y="2905712"/>
            <a:ext cx="1523583" cy="24155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6" name="Rectangle 17">
            <a:extLst>
              <a:ext uri="{FF2B5EF4-FFF2-40B4-BE49-F238E27FC236}">
                <a16:creationId xmlns:a16="http://schemas.microsoft.com/office/drawing/2014/main" xmlns="" id="{6B9D1117-6531-41AE-AD6D-61C33944E9AC}"/>
              </a:ext>
            </a:extLst>
          </p:cNvPr>
          <p:cNvSpPr/>
          <p:nvPr/>
        </p:nvSpPr>
        <p:spPr>
          <a:xfrm>
            <a:off x="9988970" y="2905712"/>
            <a:ext cx="1523583" cy="2415561"/>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7" name="Subtitle 2">
            <a:extLst>
              <a:ext uri="{FF2B5EF4-FFF2-40B4-BE49-F238E27FC236}">
                <a16:creationId xmlns:a16="http://schemas.microsoft.com/office/drawing/2014/main" xmlns="" id="{58002E68-1605-4679-93AD-FDD87D44C559}"/>
              </a:ext>
            </a:extLst>
          </p:cNvPr>
          <p:cNvSpPr txBox="1">
            <a:spLocks/>
          </p:cNvSpPr>
          <p:nvPr/>
        </p:nvSpPr>
        <p:spPr>
          <a:xfrm>
            <a:off x="3618040" y="3000401"/>
            <a:ext cx="1402882" cy="216470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Trabajo de corta duración</a:t>
            </a:r>
          </a:p>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Fluctuación</a:t>
            </a:r>
          </a:p>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Jubilación parcial</a:t>
            </a:r>
          </a:p>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No renovación de contratos de duración determinada</a:t>
            </a:r>
          </a:p>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Transferencia</a:t>
            </a:r>
          </a:p>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Ajuste de la parada</a:t>
            </a:r>
          </a:p>
        </p:txBody>
      </p:sp>
      <p:sp>
        <p:nvSpPr>
          <p:cNvPr id="48" name="Subtitle 2">
            <a:extLst>
              <a:ext uri="{FF2B5EF4-FFF2-40B4-BE49-F238E27FC236}">
                <a16:creationId xmlns:a16="http://schemas.microsoft.com/office/drawing/2014/main" xmlns="" id="{82F4E0FE-FF93-4FFE-8281-76F4FA9644D8}"/>
              </a:ext>
            </a:extLst>
          </p:cNvPr>
          <p:cNvSpPr txBox="1">
            <a:spLocks/>
          </p:cNvSpPr>
          <p:nvPr/>
        </p:nvSpPr>
        <p:spPr>
          <a:xfrm>
            <a:off x="5128867" y="3011798"/>
            <a:ext cx="1435179" cy="38729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Acuerdos de rescisión</a:t>
            </a:r>
          </a:p>
        </p:txBody>
      </p:sp>
      <p:sp>
        <p:nvSpPr>
          <p:cNvPr id="49" name="Subtitle 2">
            <a:extLst>
              <a:ext uri="{FF2B5EF4-FFF2-40B4-BE49-F238E27FC236}">
                <a16:creationId xmlns:a16="http://schemas.microsoft.com/office/drawing/2014/main" xmlns="" id="{BC0C98EB-08A4-4FFC-941E-C0EF3DDD1B14}"/>
              </a:ext>
            </a:extLst>
          </p:cNvPr>
          <p:cNvSpPr txBox="1">
            <a:spLocks/>
          </p:cNvSpPr>
          <p:nvPr/>
        </p:nvSpPr>
        <p:spPr>
          <a:xfrm>
            <a:off x="6856840" y="3000401"/>
            <a:ext cx="1415012" cy="8874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Subcontratación interna en una empresa independiente</a:t>
            </a:r>
          </a:p>
        </p:txBody>
      </p:sp>
      <p:sp>
        <p:nvSpPr>
          <p:cNvPr id="50" name="Subtitle 2">
            <a:extLst>
              <a:ext uri="{FF2B5EF4-FFF2-40B4-BE49-F238E27FC236}">
                <a16:creationId xmlns:a16="http://schemas.microsoft.com/office/drawing/2014/main" xmlns="" id="{4A1354B9-89E6-4F0B-B3A6-319C42EBB6A1}"/>
              </a:ext>
            </a:extLst>
          </p:cNvPr>
          <p:cNvSpPr txBox="1">
            <a:spLocks/>
          </p:cNvSpPr>
          <p:nvPr/>
        </p:nvSpPr>
        <p:spPr>
          <a:xfrm>
            <a:off x="8396581" y="3029002"/>
            <a:ext cx="1447311" cy="38729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Subcontratación externa</a:t>
            </a:r>
          </a:p>
        </p:txBody>
      </p:sp>
      <p:sp>
        <p:nvSpPr>
          <p:cNvPr id="51" name="Subtitle 2">
            <a:extLst>
              <a:ext uri="{FF2B5EF4-FFF2-40B4-BE49-F238E27FC236}">
                <a16:creationId xmlns:a16="http://schemas.microsoft.com/office/drawing/2014/main" xmlns="" id="{336E0557-6EE0-4DDA-B7DC-8D91D2BDF181}"/>
              </a:ext>
            </a:extLst>
          </p:cNvPr>
          <p:cNvSpPr txBox="1">
            <a:spLocks/>
          </p:cNvSpPr>
          <p:nvPr/>
        </p:nvSpPr>
        <p:spPr>
          <a:xfrm>
            <a:off x="10011328" y="3000401"/>
            <a:ext cx="1501223" cy="16966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Despido por razones operativas (despido </a:t>
            </a:r>
            <a:r>
              <a:rPr lang="en-GB" sz="1800" dirty="0" err="1">
                <a:solidFill>
                  <a:schemeClr val="bg1"/>
                </a:solidFill>
                <a:latin typeface="+mj-lt"/>
                <a:ea typeface="Lato Light" panose="020F0502020204030203" pitchFamily="34" charset="0"/>
                <a:cs typeface="Mukta ExtraLight" panose="020B0000000000000000" pitchFamily="34" charset="77"/>
              </a:rPr>
              <a:t>masivo</a:t>
            </a:r>
            <a:r>
              <a:rPr lang="en-GB" sz="1800" dirty="0">
                <a:solidFill>
                  <a:schemeClr val="bg1"/>
                </a:solidFill>
                <a:latin typeface="+mj-lt"/>
                <a:ea typeface="Lato Light" panose="020F0502020204030203" pitchFamily="34" charset="0"/>
                <a:cs typeface="Mukta ExtraLight" panose="020B0000000000000000" pitchFamily="34" charset="77"/>
              </a:rPr>
              <a:t>)</a:t>
            </a:r>
          </a:p>
        </p:txBody>
      </p:sp>
      <p:sp>
        <p:nvSpPr>
          <p:cNvPr id="52" name="Rectangle 25">
            <a:extLst>
              <a:ext uri="{FF2B5EF4-FFF2-40B4-BE49-F238E27FC236}">
                <a16:creationId xmlns:a16="http://schemas.microsoft.com/office/drawing/2014/main" xmlns="" id="{5C9DC143-1563-4C18-8CB0-6115BD5315AF}"/>
              </a:ext>
            </a:extLst>
          </p:cNvPr>
          <p:cNvSpPr/>
          <p:nvPr/>
        </p:nvSpPr>
        <p:spPr>
          <a:xfrm>
            <a:off x="3514582" y="5462629"/>
            <a:ext cx="1518469" cy="9179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3" name="Rectangle 26">
            <a:extLst>
              <a:ext uri="{FF2B5EF4-FFF2-40B4-BE49-F238E27FC236}">
                <a16:creationId xmlns:a16="http://schemas.microsoft.com/office/drawing/2014/main" xmlns="" id="{40EFA63A-28BC-4C9F-BEE5-1157C0B799A8}"/>
              </a:ext>
            </a:extLst>
          </p:cNvPr>
          <p:cNvSpPr/>
          <p:nvPr/>
        </p:nvSpPr>
        <p:spPr>
          <a:xfrm>
            <a:off x="6748268" y="5452401"/>
            <a:ext cx="1523583" cy="9179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4" name="Rectangle 27">
            <a:extLst>
              <a:ext uri="{FF2B5EF4-FFF2-40B4-BE49-F238E27FC236}">
                <a16:creationId xmlns:a16="http://schemas.microsoft.com/office/drawing/2014/main" xmlns="" id="{5AD556B5-6A21-48E8-A4BE-7BD7FC1B3160}"/>
              </a:ext>
            </a:extLst>
          </p:cNvPr>
          <p:cNvSpPr/>
          <p:nvPr/>
        </p:nvSpPr>
        <p:spPr>
          <a:xfrm>
            <a:off x="5128868" y="5452401"/>
            <a:ext cx="1523583" cy="9179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5" name="Rectangle 28">
            <a:extLst>
              <a:ext uri="{FF2B5EF4-FFF2-40B4-BE49-F238E27FC236}">
                <a16:creationId xmlns:a16="http://schemas.microsoft.com/office/drawing/2014/main" xmlns="" id="{6968D882-E68D-4279-AD9C-BCB05B95F811}"/>
              </a:ext>
            </a:extLst>
          </p:cNvPr>
          <p:cNvSpPr/>
          <p:nvPr/>
        </p:nvSpPr>
        <p:spPr>
          <a:xfrm>
            <a:off x="8354228" y="5457515"/>
            <a:ext cx="1523583" cy="9179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6" name="Rectangle 29">
            <a:extLst>
              <a:ext uri="{FF2B5EF4-FFF2-40B4-BE49-F238E27FC236}">
                <a16:creationId xmlns:a16="http://schemas.microsoft.com/office/drawing/2014/main" xmlns="" id="{AFC0CFB4-B923-4EBF-8A68-962DF7181CD2}"/>
              </a:ext>
            </a:extLst>
          </p:cNvPr>
          <p:cNvSpPr/>
          <p:nvPr/>
        </p:nvSpPr>
        <p:spPr>
          <a:xfrm>
            <a:off x="9988969" y="5457515"/>
            <a:ext cx="1523583" cy="917965"/>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7" name="TextBox 30">
            <a:extLst>
              <a:ext uri="{FF2B5EF4-FFF2-40B4-BE49-F238E27FC236}">
                <a16:creationId xmlns:a16="http://schemas.microsoft.com/office/drawing/2014/main" xmlns="" id="{68DE1A07-F497-4CC7-9AE1-73A441BAF648}"/>
              </a:ext>
            </a:extLst>
          </p:cNvPr>
          <p:cNvSpPr txBox="1"/>
          <p:nvPr/>
        </p:nvSpPr>
        <p:spPr>
          <a:xfrm>
            <a:off x="3509468" y="5449671"/>
            <a:ext cx="1521681" cy="954107"/>
          </a:xfrm>
          <a:prstGeom prst="rect">
            <a:avLst/>
          </a:prstGeom>
          <a:noFill/>
        </p:spPr>
        <p:txBody>
          <a:bodyPr wrap="square" lIns="91440" tIns="45720" rIns="91440" bIns="45720" rtlCol="0" anchor="ctr">
            <a:spAutoFit/>
          </a:bodyPr>
          <a:lstStyle/>
          <a:p>
            <a:pPr algn="ctr"/>
            <a:r>
              <a:rPr lang="en-GB" sz="1400" b="1">
                <a:solidFill>
                  <a:schemeClr val="bg1"/>
                </a:solidFill>
                <a:latin typeface="+mj-lt"/>
                <a:cs typeface="Poppins" pitchFamily="2" charset="77"/>
              </a:rPr>
              <a:t>Reducción de los costes de personal sin grandes conflictos</a:t>
            </a:r>
          </a:p>
        </p:txBody>
      </p:sp>
      <p:sp>
        <p:nvSpPr>
          <p:cNvPr id="58" name="TextBox 31">
            <a:extLst>
              <a:ext uri="{FF2B5EF4-FFF2-40B4-BE49-F238E27FC236}">
                <a16:creationId xmlns:a16="http://schemas.microsoft.com/office/drawing/2014/main" xmlns="" id="{89519318-20D5-41D1-808F-E77833BD7490}"/>
              </a:ext>
            </a:extLst>
          </p:cNvPr>
          <p:cNvSpPr txBox="1"/>
          <p:nvPr/>
        </p:nvSpPr>
        <p:spPr>
          <a:xfrm>
            <a:off x="5361924" y="5460087"/>
            <a:ext cx="1057469" cy="830997"/>
          </a:xfrm>
          <a:prstGeom prst="rect">
            <a:avLst/>
          </a:prstGeom>
          <a:noFill/>
        </p:spPr>
        <p:txBody>
          <a:bodyPr wrap="none" lIns="91440" tIns="45720" rIns="91440" bIns="45720" rtlCol="0" anchor="ctr">
            <a:spAutoFit/>
          </a:bodyPr>
          <a:lstStyle/>
          <a:p>
            <a:pPr algn="ctr"/>
            <a:r>
              <a:rPr lang="en-GB" sz="1600" b="1">
                <a:solidFill>
                  <a:schemeClr val="bg1"/>
                </a:solidFill>
                <a:latin typeface="+mj-lt"/>
                <a:cs typeface="Poppins" pitchFamily="2" charset="77"/>
              </a:rPr>
              <a:t>Socialmente </a:t>
            </a:r>
            <a:r>
              <a:rPr lang="en-GB" sz="1600" b="1" dirty="0">
                <a:latin typeface="+mj-lt"/>
                <a:cs typeface="Poppins" pitchFamily="2" charset="77"/>
              </a:rPr>
              <a:t/>
            </a:r>
            <a:br>
              <a:rPr lang="en-GB" sz="1600" b="1" dirty="0">
                <a:latin typeface="+mj-lt"/>
                <a:cs typeface="Poppins" pitchFamily="2" charset="77"/>
              </a:rPr>
            </a:br>
            <a:r>
              <a:rPr lang="en-GB" sz="1600" b="1">
                <a:solidFill>
                  <a:schemeClr val="bg1"/>
                </a:solidFill>
                <a:latin typeface="+mj-lt"/>
                <a:cs typeface="Poppins" pitchFamily="2" charset="77"/>
              </a:rPr>
              <a:t>aceptable</a:t>
            </a:r>
            <a:r>
              <a:rPr lang="en-GB" sz="1600" b="1" dirty="0">
                <a:solidFill>
                  <a:schemeClr val="bg1"/>
                </a:solidFill>
                <a:latin typeface="+mj-lt"/>
                <a:cs typeface="Poppins" pitchFamily="2" charset="77"/>
              </a:rPr>
              <a:t/>
            </a:r>
            <a:br>
              <a:rPr lang="en-GB" sz="1600" b="1" dirty="0">
                <a:solidFill>
                  <a:schemeClr val="bg1"/>
                </a:solidFill>
                <a:latin typeface="+mj-lt"/>
                <a:cs typeface="Poppins" pitchFamily="2" charset="77"/>
              </a:rPr>
            </a:br>
            <a:r>
              <a:rPr lang="en-GB" sz="1600" b="1">
                <a:solidFill>
                  <a:schemeClr val="bg1"/>
                </a:solidFill>
                <a:latin typeface="+mj-lt"/>
                <a:cs typeface="Poppins" pitchFamily="2" charset="77"/>
              </a:rPr>
              <a:t> solución</a:t>
            </a:r>
            <a:endParaRPr lang="en-GB" sz="1600" b="1" dirty="0">
              <a:solidFill>
                <a:schemeClr val="bg1"/>
              </a:solidFill>
              <a:latin typeface="+mj-lt"/>
              <a:cs typeface="Poppins" pitchFamily="2" charset="77"/>
            </a:endParaRPr>
          </a:p>
        </p:txBody>
      </p:sp>
      <p:sp>
        <p:nvSpPr>
          <p:cNvPr id="59" name="TextBox 32">
            <a:extLst>
              <a:ext uri="{FF2B5EF4-FFF2-40B4-BE49-F238E27FC236}">
                <a16:creationId xmlns:a16="http://schemas.microsoft.com/office/drawing/2014/main" xmlns="" id="{A9872E48-DD7B-41D2-AC9F-9CF961963C0D}"/>
              </a:ext>
            </a:extLst>
          </p:cNvPr>
          <p:cNvSpPr txBox="1"/>
          <p:nvPr/>
        </p:nvSpPr>
        <p:spPr>
          <a:xfrm>
            <a:off x="6507907" y="5406529"/>
            <a:ext cx="2029877" cy="954107"/>
          </a:xfrm>
          <a:prstGeom prst="rect">
            <a:avLst/>
          </a:prstGeom>
          <a:noFill/>
        </p:spPr>
        <p:txBody>
          <a:bodyPr wrap="square" lIns="91440" tIns="45720" rIns="91440" bIns="45720" rtlCol="0" anchor="ctr">
            <a:spAutoFit/>
          </a:bodyPr>
          <a:lstStyle/>
          <a:p>
            <a:pPr algn="ctr"/>
            <a:r>
              <a:rPr lang="en-GB" sz="1400" b="1">
                <a:solidFill>
                  <a:schemeClr val="bg1"/>
                </a:solidFill>
                <a:latin typeface="+mj-lt"/>
                <a:cs typeface="Poppins" pitchFamily="2" charset="77"/>
              </a:rPr>
              <a:t>Reducción de </a:t>
            </a:r>
            <a:r>
              <a:rPr lang="en-GB" sz="1400" b="1" dirty="0">
                <a:latin typeface="+mj-lt"/>
                <a:cs typeface="Poppins" pitchFamily="2" charset="77"/>
              </a:rPr>
              <a:t/>
            </a:r>
            <a:br>
              <a:rPr lang="en-GB" sz="1400" b="1" dirty="0">
                <a:latin typeface="+mj-lt"/>
                <a:cs typeface="Poppins" pitchFamily="2" charset="77"/>
              </a:rPr>
            </a:br>
            <a:r>
              <a:rPr lang="en-GB" sz="1400" b="1">
                <a:solidFill>
                  <a:schemeClr val="bg1"/>
                </a:solidFill>
                <a:latin typeface="+mj-lt"/>
                <a:cs typeface="Poppins" pitchFamily="2" charset="77"/>
              </a:rPr>
              <a:t>personal </a:t>
            </a:r>
            <a:r>
              <a:rPr lang="en-GB" sz="1400" b="1" dirty="0">
                <a:latin typeface="+mj-lt"/>
                <a:cs typeface="Poppins" pitchFamily="2" charset="77"/>
              </a:rPr>
              <a:t/>
            </a:r>
            <a:br>
              <a:rPr lang="en-GB" sz="1400" b="1" dirty="0">
                <a:latin typeface="+mj-lt"/>
                <a:cs typeface="Poppins" pitchFamily="2" charset="77"/>
              </a:rPr>
            </a:br>
            <a:r>
              <a:rPr lang="en-GB" sz="1400" b="1">
                <a:solidFill>
                  <a:schemeClr val="bg1"/>
                </a:solidFill>
                <a:latin typeface="+mj-lt"/>
                <a:cs typeface="Poppins" pitchFamily="2" charset="77"/>
              </a:rPr>
              <a:t>de personal sin </a:t>
            </a:r>
            <a:r>
              <a:rPr lang="en-GB" sz="1400" b="1" dirty="0">
                <a:latin typeface="+mj-lt"/>
                <a:cs typeface="Poppins" pitchFamily="2" charset="77"/>
              </a:rPr>
              <a:t/>
            </a:r>
            <a:br>
              <a:rPr lang="en-GB" sz="1400" b="1" dirty="0">
                <a:latin typeface="+mj-lt"/>
                <a:cs typeface="Poppins" pitchFamily="2" charset="77"/>
              </a:rPr>
            </a:br>
            <a:r>
              <a:rPr lang="en-GB" sz="1400" b="1">
                <a:solidFill>
                  <a:schemeClr val="bg1"/>
                </a:solidFill>
                <a:latin typeface="+mj-lt"/>
                <a:cs typeface="Poppins" pitchFamily="2" charset="77"/>
              </a:rPr>
              <a:t>reducción de la plantilla</a:t>
            </a:r>
          </a:p>
        </p:txBody>
      </p:sp>
      <p:sp>
        <p:nvSpPr>
          <p:cNvPr id="60" name="TextBox 33">
            <a:extLst>
              <a:ext uri="{FF2B5EF4-FFF2-40B4-BE49-F238E27FC236}">
                <a16:creationId xmlns:a16="http://schemas.microsoft.com/office/drawing/2014/main" xmlns="" id="{3B2151AB-36A9-41ED-A6E4-AF8C0940FD83}"/>
              </a:ext>
            </a:extLst>
          </p:cNvPr>
          <p:cNvSpPr txBox="1"/>
          <p:nvPr/>
        </p:nvSpPr>
        <p:spPr>
          <a:xfrm>
            <a:off x="8379801" y="5470316"/>
            <a:ext cx="1523582" cy="830997"/>
          </a:xfrm>
          <a:prstGeom prst="rect">
            <a:avLst/>
          </a:prstGeom>
          <a:noFill/>
        </p:spPr>
        <p:txBody>
          <a:bodyPr wrap="square" lIns="91440" tIns="45720" rIns="91440" bIns="45720" rtlCol="0" anchor="ctr">
            <a:spAutoFit/>
          </a:bodyPr>
          <a:lstStyle/>
          <a:p>
            <a:pPr algn="ctr"/>
            <a:r>
              <a:rPr lang="en-GB" sz="1200" b="1" dirty="0">
                <a:solidFill>
                  <a:schemeClr val="bg1"/>
                </a:solidFill>
                <a:latin typeface="+mj-lt"/>
                <a:cs typeface="Poppins" pitchFamily="2" charset="77"/>
              </a:rPr>
              <a:t>Reducción de los costes de personal y conversión </a:t>
            </a:r>
            <a:r>
              <a:rPr lang="en-GB" sz="1200" b="1">
                <a:solidFill>
                  <a:schemeClr val="bg1"/>
                </a:solidFill>
                <a:latin typeface="+mj-lt"/>
                <a:cs typeface="Poppins" pitchFamily="2" charset="77"/>
              </a:rPr>
              <a:t>en otros </a:t>
            </a:r>
            <a:r>
              <a:rPr lang="en-GB" sz="1200" b="1" dirty="0">
                <a:solidFill>
                  <a:schemeClr val="bg1"/>
                </a:solidFill>
                <a:latin typeface="+mj-lt"/>
                <a:cs typeface="Poppins" pitchFamily="2" charset="77"/>
              </a:rPr>
              <a:t>gastos de funcionamiento</a:t>
            </a:r>
          </a:p>
        </p:txBody>
      </p:sp>
      <p:sp>
        <p:nvSpPr>
          <p:cNvPr id="61" name="TextBox 34">
            <a:extLst>
              <a:ext uri="{FF2B5EF4-FFF2-40B4-BE49-F238E27FC236}">
                <a16:creationId xmlns:a16="http://schemas.microsoft.com/office/drawing/2014/main" xmlns="" id="{EE49686B-080D-4532-98CD-06CCDF9BC683}"/>
              </a:ext>
            </a:extLst>
          </p:cNvPr>
          <p:cNvSpPr txBox="1"/>
          <p:nvPr/>
        </p:nvSpPr>
        <p:spPr>
          <a:xfrm>
            <a:off x="10062117" y="5716536"/>
            <a:ext cx="1182953"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Relación Ultima</a:t>
            </a:r>
            <a:endParaRPr lang="en-GB" sz="1600" b="1" dirty="0">
              <a:solidFill>
                <a:schemeClr val="bg1"/>
              </a:solidFill>
              <a:latin typeface="+mj-lt"/>
              <a:cs typeface="Poppins" pitchFamily="2" charset="77"/>
            </a:endParaRPr>
          </a:p>
        </p:txBody>
      </p:sp>
    </p:spTree>
    <p:extLst>
      <p:ext uri="{BB962C8B-B14F-4D97-AF65-F5344CB8AC3E}">
        <p14:creationId xmlns:p14="http://schemas.microsoft.com/office/powerpoint/2010/main" val="377045036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24626"/>
            <a:ext cx="8852375" cy="697353"/>
          </a:xfrm>
        </p:spPr>
        <p:txBody>
          <a:bodyPr>
            <a:normAutofit/>
          </a:bodyPr>
          <a:lstStyle/>
          <a:p>
            <a:r>
              <a:rPr lang="en-GB" dirty="0"/>
              <a:t>Reducción de los costes de personal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95123" y="1902129"/>
            <a:ext cx="2582764" cy="242147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Si tiene que reducir los costes de personal, debe </a:t>
            </a:r>
            <a:r>
              <a:rPr lang="en-GB" sz="1900" dirty="0" err="1">
                <a:solidFill>
                  <a:srgbClr val="245473"/>
                </a:solidFill>
                <a:latin typeface="+mj-lt"/>
                <a:ea typeface="Open Sans Light" panose="020B0306030504020204" pitchFamily="34" charset="0"/>
                <a:cs typeface="Open Sans Light" panose="020B0306030504020204" pitchFamily="34" charset="0"/>
              </a:rPr>
              <a:t>analizar </a:t>
            </a:r>
            <a:r>
              <a:rPr lang="en-GB" sz="1900" dirty="0">
                <a:solidFill>
                  <a:srgbClr val="245473"/>
                </a:solidFill>
                <a:latin typeface="+mj-lt"/>
                <a:ea typeface="Open Sans Light" panose="020B0306030504020204" pitchFamily="34" charset="0"/>
                <a:cs typeface="Open Sans Light" panose="020B0306030504020204" pitchFamily="34" charset="0"/>
              </a:rPr>
              <a:t>sistemáticamente todas las áreas de la empresa. En particular, el objetivo debe ser no influir en la productividad. </a:t>
            </a:r>
            <a:endParaRPr lang="en-US" sz="1900" dirty="0">
              <a:solidFill>
                <a:srgbClr val="245473"/>
              </a:solidFill>
            </a:endParaRPr>
          </a:p>
        </p:txBody>
      </p:sp>
      <p:graphicFrame>
        <p:nvGraphicFramePr>
          <p:cNvPr id="5" name="Tabelle 5">
            <a:extLst>
              <a:ext uri="{FF2B5EF4-FFF2-40B4-BE49-F238E27FC236}">
                <a16:creationId xmlns:a16="http://schemas.microsoft.com/office/drawing/2014/main" xmlns="" id="{97EE422A-12B2-476F-90D7-963701CC40F9}"/>
              </a:ext>
            </a:extLst>
          </p:cNvPr>
          <p:cNvGraphicFramePr>
            <a:graphicFrameLocks noGrp="1"/>
          </p:cNvGraphicFramePr>
          <p:nvPr>
            <p:extLst>
              <p:ext uri="{D42A27DB-BD31-4B8C-83A1-F6EECF244321}">
                <p14:modId xmlns:p14="http://schemas.microsoft.com/office/powerpoint/2010/main" val="2413843097"/>
              </p:ext>
            </p:extLst>
          </p:nvPr>
        </p:nvGraphicFramePr>
        <p:xfrm>
          <a:off x="3217905" y="1758130"/>
          <a:ext cx="8849430" cy="4575244"/>
        </p:xfrm>
        <a:graphic>
          <a:graphicData uri="http://schemas.openxmlformats.org/drawingml/2006/table">
            <a:tbl>
              <a:tblPr firstRow="1" bandRow="1">
                <a:tableStyleId>{5C22544A-7EE6-4342-B048-85BDC9FD1C3A}</a:tableStyleId>
              </a:tblPr>
              <a:tblGrid>
                <a:gridCol w="8849430">
                  <a:extLst>
                    <a:ext uri="{9D8B030D-6E8A-4147-A177-3AD203B41FA5}">
                      <a16:colId xmlns:a16="http://schemas.microsoft.com/office/drawing/2014/main" xmlns="" val="1842484077"/>
                    </a:ext>
                  </a:extLst>
                </a:gridCol>
              </a:tblGrid>
              <a:tr h="452713">
                <a:tc>
                  <a:txBody>
                    <a:bodyPr/>
                    <a:lstStyle/>
                    <a:p>
                      <a:r>
                        <a:rPr lang="en-GB" sz="2000" noProof="0" dirty="0">
                          <a:latin typeface="+mj-lt"/>
                        </a:rPr>
                        <a:t>Posibles medidas</a:t>
                      </a:r>
                    </a:p>
                  </a:txBody>
                  <a:tcPr/>
                </a:tc>
                <a:extLst>
                  <a:ext uri="{0D108BD9-81ED-4DB2-BD59-A6C34878D82A}">
                    <a16:rowId xmlns:a16="http://schemas.microsoft.com/office/drawing/2014/main" xmlns="" val="4235210894"/>
                  </a:ext>
                </a:extLst>
              </a:tr>
              <a:tr h="423611">
                <a:tc>
                  <a:txBody>
                    <a:bodyPr/>
                    <a:lstStyle/>
                    <a:p>
                      <a:pPr marL="0" indent="0">
                        <a:buFont typeface="Arial" panose="020B0604020202020204" pitchFamily="34" charset="0"/>
                        <a:buNone/>
                      </a:pPr>
                      <a:r>
                        <a:rPr lang="en-GB" sz="2000" dirty="0">
                          <a:solidFill>
                            <a:srgbClr val="245473"/>
                          </a:solidFill>
                          <a:latin typeface="+mj-lt"/>
                        </a:rPr>
                        <a:t>Respaldar el potencial de ahorro de forma ascendente con medidas</a:t>
                      </a:r>
                    </a:p>
                  </a:txBody>
                  <a:tcPr/>
                </a:tc>
                <a:extLst>
                  <a:ext uri="{0D108BD9-81ED-4DB2-BD59-A6C34878D82A}">
                    <a16:rowId xmlns:a16="http://schemas.microsoft.com/office/drawing/2014/main" xmlns="" val="911317443"/>
                  </a:ext>
                </a:extLst>
              </a:tr>
              <a:tr h="1161609">
                <a:tc>
                  <a:txBody>
                    <a:bodyPr/>
                    <a:lstStyle/>
                    <a:p>
                      <a:pPr marL="285750" indent="-285750">
                        <a:buFont typeface="Arial" panose="020B0604020202020204" pitchFamily="34" charset="0"/>
                        <a:buChar char="•"/>
                      </a:pPr>
                      <a:r>
                        <a:rPr lang="en-GB" sz="2000" dirty="0">
                          <a:solidFill>
                            <a:srgbClr val="245473"/>
                          </a:solidFill>
                          <a:latin typeface="+mj-lt"/>
                        </a:rPr>
                        <a:t>Aborda la racionalización de toda la organización y el aumento de la eficiencia en toda la cadena de valor</a:t>
                      </a:r>
                    </a:p>
                    <a:p>
                      <a:pPr marL="285750" indent="-285750">
                        <a:buFont typeface="Arial" panose="020B0604020202020204" pitchFamily="34" charset="0"/>
                        <a:buChar char="•"/>
                      </a:pPr>
                      <a:r>
                        <a:rPr lang="en-GB" sz="2000" dirty="0">
                          <a:solidFill>
                            <a:srgbClr val="245473"/>
                          </a:solidFill>
                          <a:latin typeface="+mj-lt"/>
                        </a:rPr>
                        <a:t>Dimensionamiento de las áreas de gestión y ajuste de la estructura de personal</a:t>
                      </a:r>
                    </a:p>
                    <a:p>
                      <a:pPr marL="285750" indent="-285750">
                        <a:buFont typeface="Arial" panose="020B0604020202020204" pitchFamily="34" charset="0"/>
                        <a:buChar char="•"/>
                      </a:pPr>
                      <a:r>
                        <a:rPr lang="en-GB" sz="2000" dirty="0">
                          <a:solidFill>
                            <a:srgbClr val="245473"/>
                          </a:solidFill>
                          <a:latin typeface="+mj-lt"/>
                        </a:rPr>
                        <a:t>&gt; 3-4 niveles jerárquicos en un grupo de empresas de tamaño medio son signos de mejora potencial</a:t>
                      </a:r>
                    </a:p>
                  </a:txBody>
                  <a:tcPr/>
                </a:tc>
                <a:extLst>
                  <a:ext uri="{0D108BD9-81ED-4DB2-BD59-A6C34878D82A}">
                    <a16:rowId xmlns:a16="http://schemas.microsoft.com/office/drawing/2014/main" xmlns="" val="3623807917"/>
                  </a:ext>
                </a:extLst>
              </a:tr>
              <a:tr h="1077640">
                <a:tc>
                  <a:txBody>
                    <a:bodyPr/>
                    <a:lstStyle/>
                    <a:p>
                      <a:pPr marL="0" indent="0">
                        <a:buFont typeface="Arial" panose="020B0604020202020204" pitchFamily="34" charset="0"/>
                        <a:buNone/>
                      </a:pPr>
                      <a:r>
                        <a:rPr lang="en-GB" sz="2000" dirty="0">
                          <a:solidFill>
                            <a:srgbClr val="245473"/>
                          </a:solidFill>
                          <a:latin typeface="+mj-lt"/>
                        </a:rPr>
                        <a:t>La redimensión incluye medidas que a corto y medio plazo conducen a cambios operativos o estructurales en otros lugares e influyen en la estrategia futura</a:t>
                      </a:r>
                    </a:p>
                  </a:txBody>
                  <a:tcPr/>
                </a:tc>
                <a:extLst>
                  <a:ext uri="{0D108BD9-81ED-4DB2-BD59-A6C34878D82A}">
                    <a16:rowId xmlns:a16="http://schemas.microsoft.com/office/drawing/2014/main" xmlns="" val="3325463996"/>
                  </a:ext>
                </a:extLst>
              </a:tr>
              <a:tr h="558379">
                <a:tc>
                  <a:txBody>
                    <a:bodyPr/>
                    <a:lstStyle/>
                    <a:p>
                      <a:pPr marL="0" indent="0">
                        <a:buFont typeface="Arial" panose="020B0604020202020204" pitchFamily="34" charset="0"/>
                        <a:buNone/>
                      </a:pPr>
                      <a:r>
                        <a:rPr lang="en-GB" sz="2000" dirty="0">
                          <a:solidFill>
                            <a:srgbClr val="245473"/>
                          </a:solidFill>
                          <a:latin typeface="+mj-lt"/>
                        </a:rPr>
                        <a:t>La reducción de personal debería hacer que la productividad de la empresa en crisis vuelva a ser competitiva a medio plazo</a:t>
                      </a:r>
                    </a:p>
                  </a:txBody>
                  <a:tcPr/>
                </a:tc>
                <a:extLst>
                  <a:ext uri="{0D108BD9-81ED-4DB2-BD59-A6C34878D82A}">
                    <a16:rowId xmlns:a16="http://schemas.microsoft.com/office/drawing/2014/main" xmlns="" val="3361713585"/>
                  </a:ext>
                </a:extLst>
              </a:tr>
            </a:tbl>
          </a:graphicData>
        </a:graphic>
      </p:graphicFrame>
    </p:spTree>
    <p:extLst>
      <p:ext uri="{BB962C8B-B14F-4D97-AF65-F5344CB8AC3E}">
        <p14:creationId xmlns:p14="http://schemas.microsoft.com/office/powerpoint/2010/main" val="1828066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3135614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183296" y="470451"/>
            <a:ext cx="8852375" cy="697353"/>
          </a:xfrm>
        </p:spPr>
        <p:txBody>
          <a:bodyPr>
            <a:normAutofit/>
          </a:bodyPr>
          <a:lstStyle/>
          <a:p>
            <a:r>
              <a:rPr lang="en-GB" dirty="0"/>
              <a:t>Opciones estratégicas en la crisis: Liquidac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351949"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 la reestructuración fracasa, la única opción que queda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es liquidar</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la empresa. </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 name="Trapezoid 11">
            <a:extLst>
              <a:ext uri="{FF2B5EF4-FFF2-40B4-BE49-F238E27FC236}">
                <a16:creationId xmlns:a16="http://schemas.microsoft.com/office/drawing/2014/main" xmlns="" id="{94900445-C24F-4DB3-9F60-AC03B625799C}"/>
              </a:ext>
            </a:extLst>
          </p:cNvPr>
          <p:cNvSpPr/>
          <p:nvPr/>
        </p:nvSpPr>
        <p:spPr>
          <a:xfrm rot="5400000">
            <a:off x="10108943" y="2888798"/>
            <a:ext cx="645700" cy="2274556"/>
          </a:xfrm>
          <a:prstGeom prst="trapezoid">
            <a:avLst>
              <a:gd name="adj"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8980644"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ció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8" name="Subtitle 2">
            <a:extLst>
              <a:ext uri="{FF2B5EF4-FFF2-40B4-BE49-F238E27FC236}">
                <a16:creationId xmlns:a16="http://schemas.microsoft.com/office/drawing/2014/main" xmlns="" id="{FEB53C4F-2ED9-49C0-A45C-AA24AED145F8}"/>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Opciones estratégicas</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69831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24626"/>
            <a:ext cx="8852375" cy="697353"/>
          </a:xfrm>
        </p:spPr>
        <p:txBody>
          <a:bodyPr>
            <a:normAutofit/>
          </a:bodyPr>
          <a:lstStyle/>
          <a:p>
            <a:r>
              <a:rPr lang="en-GB" dirty="0"/>
              <a:t>Reducción de los costes de personal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5273" y="1902129"/>
            <a:ext cx="3029078"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demás, los efectos suelen producirse con retraso debido a los plazos de preaviso. Esta es otra razón para </a:t>
            </a:r>
            <a:r>
              <a:rPr lang="en-GB" sz="2200" dirty="0" err="1">
                <a:solidFill>
                  <a:srgbClr val="245473"/>
                </a:solidFill>
                <a:latin typeface="+mj-lt"/>
                <a:ea typeface="Open Sans Light" panose="020B0306030504020204" pitchFamily="34" charset="0"/>
                <a:cs typeface="Open Sans Light" panose="020B0306030504020204" pitchFamily="34" charset="0"/>
              </a:rPr>
              <a:t>analizar </a:t>
            </a:r>
            <a:r>
              <a:rPr lang="en-GB" sz="2200" dirty="0">
                <a:solidFill>
                  <a:srgbClr val="245473"/>
                </a:solidFill>
                <a:latin typeface="+mj-lt"/>
                <a:ea typeface="Open Sans Light" panose="020B0306030504020204" pitchFamily="34" charset="0"/>
                <a:cs typeface="Open Sans Light" panose="020B0306030504020204" pitchFamily="34" charset="0"/>
              </a:rPr>
              <a:t>este importante ámbito con antelación y no retrasar los ceses necesarios. Lamentablemente, cuanto más tarde se reaccione, más drásticas deben ser a menudo las medidas</a:t>
            </a:r>
            <a:r>
              <a:rPr lang="en-GB" sz="2200" dirty="0">
                <a:solidFill>
                  <a:schemeClr val="tx1"/>
                </a:solidFill>
                <a:latin typeface="+mj-lt"/>
                <a:ea typeface="Open Sans Light" panose="020B0306030504020204" pitchFamily="34" charset="0"/>
                <a:cs typeface="Open Sans Light" panose="020B0306030504020204" pitchFamily="34" charset="0"/>
              </a:rPr>
              <a:t>.</a:t>
            </a:r>
          </a:p>
        </p:txBody>
      </p:sp>
      <p:graphicFrame>
        <p:nvGraphicFramePr>
          <p:cNvPr id="5" name="Tabelle 5">
            <a:extLst>
              <a:ext uri="{FF2B5EF4-FFF2-40B4-BE49-F238E27FC236}">
                <a16:creationId xmlns:a16="http://schemas.microsoft.com/office/drawing/2014/main" xmlns="" id="{97EE422A-12B2-476F-90D7-963701CC40F9}"/>
              </a:ext>
            </a:extLst>
          </p:cNvPr>
          <p:cNvGraphicFramePr>
            <a:graphicFrameLocks noGrp="1"/>
          </p:cNvGraphicFramePr>
          <p:nvPr>
            <p:extLst>
              <p:ext uri="{D42A27DB-BD31-4B8C-83A1-F6EECF244321}">
                <p14:modId xmlns:p14="http://schemas.microsoft.com/office/powerpoint/2010/main" val="1461944723"/>
              </p:ext>
            </p:extLst>
          </p:nvPr>
        </p:nvGraphicFramePr>
        <p:xfrm>
          <a:off x="3367191" y="2102988"/>
          <a:ext cx="8487351" cy="3960309"/>
        </p:xfrm>
        <a:graphic>
          <a:graphicData uri="http://schemas.openxmlformats.org/drawingml/2006/table">
            <a:tbl>
              <a:tblPr firstRow="1" bandRow="1">
                <a:tableStyleId>{5C22544A-7EE6-4342-B048-85BDC9FD1C3A}</a:tableStyleId>
              </a:tblPr>
              <a:tblGrid>
                <a:gridCol w="8487351">
                  <a:extLst>
                    <a:ext uri="{9D8B030D-6E8A-4147-A177-3AD203B41FA5}">
                      <a16:colId xmlns:a16="http://schemas.microsoft.com/office/drawing/2014/main" xmlns="" val="4164545613"/>
                    </a:ext>
                  </a:extLst>
                </a:gridCol>
              </a:tblGrid>
              <a:tr h="379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latin typeface="+mj-lt"/>
                        </a:rPr>
                        <a:t>Posibles </a:t>
                      </a:r>
                      <a:r>
                        <a:rPr lang="en-GB" sz="2000" noProof="0" dirty="0">
                          <a:latin typeface="+mj-lt"/>
                        </a:rPr>
                        <a:t>medidas</a:t>
                      </a:r>
                    </a:p>
                  </a:txBody>
                  <a:tcPr/>
                </a:tc>
                <a:extLst>
                  <a:ext uri="{0D108BD9-81ED-4DB2-BD59-A6C34878D82A}">
                    <a16:rowId xmlns:a16="http://schemas.microsoft.com/office/drawing/2014/main" xmlns="" val="4235210894"/>
                  </a:ext>
                </a:extLst>
              </a:tr>
              <a:tr h="829545">
                <a:tc>
                  <a:txBody>
                    <a:bodyPr/>
                    <a:lstStyle/>
                    <a:p>
                      <a:pPr marL="0" indent="0">
                        <a:buFont typeface="Arial" panose="020B0604020202020204" pitchFamily="34" charset="0"/>
                        <a:buNone/>
                      </a:pPr>
                      <a:r>
                        <a:rPr lang="en-GB" sz="2000" dirty="0">
                          <a:solidFill>
                            <a:srgbClr val="245473"/>
                          </a:solidFill>
                          <a:latin typeface="+mj-lt"/>
                        </a:rPr>
                        <a:t>Liberación de considerables cantidades financieras mediante reducciones de personal en niveles salariales elevados, teniendo en cuenta también las posibles indemnizaciones por despido</a:t>
                      </a:r>
                    </a:p>
                  </a:txBody>
                  <a:tcPr/>
                </a:tc>
                <a:extLst>
                  <a:ext uri="{0D108BD9-81ED-4DB2-BD59-A6C34878D82A}">
                    <a16:rowId xmlns:a16="http://schemas.microsoft.com/office/drawing/2014/main" xmlns="" val="911317443"/>
                  </a:ext>
                </a:extLst>
              </a:tr>
              <a:tr h="1656884">
                <a:tc>
                  <a:txBody>
                    <a:bodyPr/>
                    <a:lstStyle/>
                    <a:p>
                      <a:pPr marL="285750" indent="-285750">
                        <a:buFont typeface="Arial" panose="020B0604020202020204" pitchFamily="34" charset="0"/>
                        <a:buChar char="•"/>
                      </a:pPr>
                      <a:r>
                        <a:rPr lang="en-GB" sz="2000" dirty="0">
                          <a:solidFill>
                            <a:srgbClr val="245473"/>
                          </a:solidFill>
                          <a:latin typeface="+mj-lt"/>
                        </a:rPr>
                        <a:t>Reducción de los gastos de personal por empleado</a:t>
                      </a:r>
                    </a:p>
                    <a:p>
                      <a:pPr marL="448945" lvl="1" indent="-172720">
                        <a:buFont typeface="Arial" panose="020B0604020202020204" pitchFamily="34" charset="0"/>
                        <a:buChar char="•"/>
                      </a:pPr>
                      <a:r>
                        <a:rPr lang="en-GB" sz="2000" dirty="0">
                          <a:solidFill>
                            <a:srgbClr val="245473"/>
                          </a:solidFill>
                          <a:latin typeface="+mj-lt"/>
                        </a:rPr>
                        <a:t>Reducción de las horas extraordinarias / introducción de cuentas de tiempo de trabajo</a:t>
                      </a:r>
                    </a:p>
                    <a:p>
                      <a:pPr marL="448945" lvl="1" indent="-172720">
                        <a:buFont typeface="Arial" panose="020B0604020202020204" pitchFamily="34" charset="0"/>
                        <a:buChar char="•"/>
                      </a:pPr>
                      <a:r>
                        <a:rPr lang="en-GB" sz="2000" dirty="0">
                          <a:solidFill>
                            <a:srgbClr val="245473"/>
                          </a:solidFill>
                          <a:latin typeface="+mj-lt"/>
                        </a:rPr>
                        <a:t>Introducción de la jornada reducida</a:t>
                      </a:r>
                    </a:p>
                    <a:p>
                      <a:pPr marL="448945" lvl="1" indent="-172720">
                        <a:buFont typeface="Arial" panose="020B0604020202020204" pitchFamily="34" charset="0"/>
                        <a:buChar char="•"/>
                      </a:pPr>
                      <a:r>
                        <a:rPr lang="en-GB" sz="2000" dirty="0">
                          <a:solidFill>
                            <a:srgbClr val="245473"/>
                          </a:solidFill>
                          <a:latin typeface="+mj-lt"/>
                        </a:rPr>
                        <a:t>Reducción/anulación de las prestaciones sociales voluntarias</a:t>
                      </a:r>
                    </a:p>
                    <a:p>
                      <a:pPr marL="448945" lvl="1" indent="-172720">
                        <a:buFont typeface="Arial" panose="020B0604020202020204" pitchFamily="34" charset="0"/>
                        <a:buChar char="•"/>
                      </a:pPr>
                      <a:r>
                        <a:rPr lang="en-GB" sz="2000" dirty="0">
                          <a:solidFill>
                            <a:srgbClr val="245473"/>
                          </a:solidFill>
                          <a:latin typeface="+mj-lt"/>
                        </a:rPr>
                        <a:t>Posible renuncia salarial voluntaria</a:t>
                      </a:r>
                    </a:p>
                  </a:txBody>
                  <a:tcPr/>
                </a:tc>
                <a:extLst>
                  <a:ext uri="{0D108BD9-81ED-4DB2-BD59-A6C34878D82A}">
                    <a16:rowId xmlns:a16="http://schemas.microsoft.com/office/drawing/2014/main" xmlns="" val="3623807917"/>
                  </a:ext>
                </a:extLst>
              </a:tr>
              <a:tr h="1077640">
                <a:tc>
                  <a:txBody>
                    <a:bodyPr/>
                    <a:lstStyle/>
                    <a:p>
                      <a:pPr marL="0" indent="0">
                        <a:buFont typeface="Arial" panose="020B0604020202020204" pitchFamily="34" charset="0"/>
                        <a:buNone/>
                      </a:pPr>
                      <a:r>
                        <a:rPr lang="en-GB" sz="2000" dirty="0">
                          <a:solidFill>
                            <a:srgbClr val="245473"/>
                          </a:solidFill>
                          <a:latin typeface="+mj-lt"/>
                        </a:rPr>
                        <a:t>Sin recortes estructurales drásticos (por ejemplo, abandono de divisiones/productos/localizaciones deficitarias o cambios en la profundidad del valor añadido), rara vez se pueden lograr aumentos de productividad significativos de más del 10-15%.</a:t>
                      </a:r>
                    </a:p>
                  </a:txBody>
                  <a:tcPr/>
                </a:tc>
                <a:extLst>
                  <a:ext uri="{0D108BD9-81ED-4DB2-BD59-A6C34878D82A}">
                    <a16:rowId xmlns:a16="http://schemas.microsoft.com/office/drawing/2014/main" xmlns="" val="3325463996"/>
                  </a:ext>
                </a:extLst>
              </a:tr>
            </a:tbl>
          </a:graphicData>
        </a:graphic>
      </p:graphicFrame>
    </p:spTree>
    <p:extLst>
      <p:ext uri="{BB962C8B-B14F-4D97-AF65-F5344CB8AC3E}">
        <p14:creationId xmlns:p14="http://schemas.microsoft.com/office/powerpoint/2010/main" val="423885672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78374" y="509250"/>
            <a:ext cx="8852375" cy="697353"/>
          </a:xfrm>
        </p:spPr>
        <p:txBody>
          <a:bodyPr>
            <a:normAutofit fontScale="92500"/>
          </a:bodyPr>
          <a:lstStyle/>
          <a:p>
            <a:r>
              <a:rPr lang="en-GB" dirty="0"/>
              <a:t>4 vías más de ahorro potencial en la empresa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35155" y="2225601"/>
            <a:ext cx="2682374"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s llamadas ganancias rápidas, es decir, el potencial de ahorro que surte efecto rápidamente, pueden encontrarse en todos los ámbitos de la empresa. He aquí algunos ejemplos más.</a:t>
            </a:r>
          </a:p>
        </p:txBody>
      </p:sp>
      <p:sp>
        <p:nvSpPr>
          <p:cNvPr id="7" name="Freeform 39">
            <a:extLst>
              <a:ext uri="{FF2B5EF4-FFF2-40B4-BE49-F238E27FC236}">
                <a16:creationId xmlns:a16="http://schemas.microsoft.com/office/drawing/2014/main" xmlns="" id="{D9990D1C-6908-4833-9D62-721B52558E41}"/>
              </a:ext>
            </a:extLst>
          </p:cNvPr>
          <p:cNvSpPr>
            <a:spLocks/>
          </p:cNvSpPr>
          <p:nvPr/>
        </p:nvSpPr>
        <p:spPr bwMode="auto">
          <a:xfrm>
            <a:off x="3706422" y="2063311"/>
            <a:ext cx="3790996" cy="1748306"/>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Roboto Bold" charset="0"/>
            </a:endParaRPr>
          </a:p>
        </p:txBody>
      </p:sp>
      <p:sp>
        <p:nvSpPr>
          <p:cNvPr id="8" name="Freeform 13">
            <a:extLst>
              <a:ext uri="{FF2B5EF4-FFF2-40B4-BE49-F238E27FC236}">
                <a16:creationId xmlns:a16="http://schemas.microsoft.com/office/drawing/2014/main" xmlns="" id="{C923110C-A421-4F7E-8F3B-8052EA6163B2}"/>
              </a:ext>
            </a:extLst>
          </p:cNvPr>
          <p:cNvSpPr>
            <a:spLocks/>
          </p:cNvSpPr>
          <p:nvPr/>
        </p:nvSpPr>
        <p:spPr bwMode="auto">
          <a:xfrm>
            <a:off x="4063602" y="2063313"/>
            <a:ext cx="364771" cy="1741244"/>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 name="Freeform 37">
            <a:extLst>
              <a:ext uri="{FF2B5EF4-FFF2-40B4-BE49-F238E27FC236}">
                <a16:creationId xmlns:a16="http://schemas.microsoft.com/office/drawing/2014/main" xmlns="" id="{6FF20836-3C82-4ABA-BABB-743C37979052}"/>
              </a:ext>
            </a:extLst>
          </p:cNvPr>
          <p:cNvSpPr>
            <a:spLocks/>
          </p:cNvSpPr>
          <p:nvPr/>
        </p:nvSpPr>
        <p:spPr bwMode="auto">
          <a:xfrm>
            <a:off x="8038504" y="2053736"/>
            <a:ext cx="3915918" cy="1748306"/>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0" name="Freeform 15">
            <a:extLst>
              <a:ext uri="{FF2B5EF4-FFF2-40B4-BE49-F238E27FC236}">
                <a16:creationId xmlns:a16="http://schemas.microsoft.com/office/drawing/2014/main" xmlns="" id="{FCDD1FA8-93C4-4A37-BD9F-4C76B00CE4D8}"/>
              </a:ext>
            </a:extLst>
          </p:cNvPr>
          <p:cNvSpPr>
            <a:spLocks/>
          </p:cNvSpPr>
          <p:nvPr/>
        </p:nvSpPr>
        <p:spPr bwMode="auto">
          <a:xfrm>
            <a:off x="8324945" y="2380726"/>
            <a:ext cx="706067" cy="1414759"/>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 name="Freeform 35">
            <a:extLst>
              <a:ext uri="{FF2B5EF4-FFF2-40B4-BE49-F238E27FC236}">
                <a16:creationId xmlns:a16="http://schemas.microsoft.com/office/drawing/2014/main" xmlns="" id="{D8E1D7E0-4C0B-4443-837D-A6D1BCE73E31}"/>
              </a:ext>
            </a:extLst>
          </p:cNvPr>
          <p:cNvSpPr>
            <a:spLocks/>
          </p:cNvSpPr>
          <p:nvPr/>
        </p:nvSpPr>
        <p:spPr bwMode="auto">
          <a:xfrm>
            <a:off x="3598146" y="4091118"/>
            <a:ext cx="3904788" cy="1850588"/>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Roboto Bold" charset="0"/>
            </a:endParaRPr>
          </a:p>
        </p:txBody>
      </p:sp>
      <p:sp>
        <p:nvSpPr>
          <p:cNvPr id="12" name="Freeform 16">
            <a:extLst>
              <a:ext uri="{FF2B5EF4-FFF2-40B4-BE49-F238E27FC236}">
                <a16:creationId xmlns:a16="http://schemas.microsoft.com/office/drawing/2014/main" xmlns="" id="{B79E3188-FAC4-4D75-AABE-934EE293AD1C}"/>
              </a:ext>
            </a:extLst>
          </p:cNvPr>
          <p:cNvSpPr>
            <a:spLocks/>
          </p:cNvSpPr>
          <p:nvPr/>
        </p:nvSpPr>
        <p:spPr bwMode="auto">
          <a:xfrm>
            <a:off x="3953143" y="4563221"/>
            <a:ext cx="637448" cy="1378483"/>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3" name="Freeform 16">
            <a:extLst>
              <a:ext uri="{FF2B5EF4-FFF2-40B4-BE49-F238E27FC236}">
                <a16:creationId xmlns:a16="http://schemas.microsoft.com/office/drawing/2014/main" xmlns="" id="{54E9B391-EFF3-4591-8C18-D21B0684391A}"/>
              </a:ext>
            </a:extLst>
          </p:cNvPr>
          <p:cNvSpPr>
            <a:spLocks noEditPoints="1"/>
          </p:cNvSpPr>
          <p:nvPr/>
        </p:nvSpPr>
        <p:spPr bwMode="auto">
          <a:xfrm>
            <a:off x="8013023" y="4091118"/>
            <a:ext cx="3942060" cy="1850587"/>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4" name="Freeform 5">
            <a:extLst>
              <a:ext uri="{FF2B5EF4-FFF2-40B4-BE49-F238E27FC236}">
                <a16:creationId xmlns:a16="http://schemas.microsoft.com/office/drawing/2014/main" xmlns="" id="{F43D6D0F-A6CB-4078-AADA-3AE3AB4C5A74}"/>
              </a:ext>
            </a:extLst>
          </p:cNvPr>
          <p:cNvSpPr>
            <a:spLocks/>
          </p:cNvSpPr>
          <p:nvPr/>
        </p:nvSpPr>
        <p:spPr bwMode="auto">
          <a:xfrm>
            <a:off x="8674166" y="4193400"/>
            <a:ext cx="377503" cy="1748306"/>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5" name="TextBox 27">
            <a:extLst>
              <a:ext uri="{FF2B5EF4-FFF2-40B4-BE49-F238E27FC236}">
                <a16:creationId xmlns:a16="http://schemas.microsoft.com/office/drawing/2014/main" xmlns="" id="{C359E422-F1F8-4DC0-B890-DDDE45FCD6B1}"/>
              </a:ext>
            </a:extLst>
          </p:cNvPr>
          <p:cNvSpPr txBox="1"/>
          <p:nvPr/>
        </p:nvSpPr>
        <p:spPr>
          <a:xfrm>
            <a:off x="8863329" y="4457973"/>
            <a:ext cx="3133847" cy="957250"/>
          </a:xfrm>
          <a:prstGeom prst="rect">
            <a:avLst/>
          </a:prstGeom>
          <a:noFill/>
        </p:spPr>
        <p:txBody>
          <a:bodyPr wrap="square" numCol="2" rtlCol="0">
            <a:spAutoFit/>
          </a:bodyPr>
          <a:lstStyle/>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Tasas /</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Contribuciones</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Costes legales/de consultoría</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Donaciones</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Leasing EDP</a:t>
            </a:r>
          </a:p>
        </p:txBody>
      </p:sp>
      <p:sp>
        <p:nvSpPr>
          <p:cNvPr id="16" name="TextBox 28">
            <a:extLst>
              <a:ext uri="{FF2B5EF4-FFF2-40B4-BE49-F238E27FC236}">
                <a16:creationId xmlns:a16="http://schemas.microsoft.com/office/drawing/2014/main" xmlns="" id="{B71359A3-FE36-4087-9FA3-48B87AADC6D2}"/>
              </a:ext>
            </a:extLst>
          </p:cNvPr>
          <p:cNvSpPr txBox="1"/>
          <p:nvPr/>
        </p:nvSpPr>
        <p:spPr>
          <a:xfrm>
            <a:off x="8863330" y="4111726"/>
            <a:ext cx="868956" cy="400110"/>
          </a:xfrm>
          <a:prstGeom prst="rect">
            <a:avLst/>
          </a:prstGeom>
          <a:noFill/>
        </p:spPr>
        <p:txBody>
          <a:bodyPr wrap="none" rtlCol="0">
            <a:spAutoFit/>
          </a:bodyPr>
          <a:lstStyle/>
          <a:p>
            <a:r>
              <a:rPr lang="en-GB" sz="2000" b="1" dirty="0">
                <a:solidFill>
                  <a:schemeClr val="bg1"/>
                </a:solidFill>
                <a:latin typeface="+mj-lt"/>
                <a:ea typeface="Roboto" charset="0"/>
                <a:cs typeface="Roboto" charset="0"/>
              </a:rPr>
              <a:t>Otros</a:t>
            </a:r>
          </a:p>
        </p:txBody>
      </p:sp>
      <p:sp>
        <p:nvSpPr>
          <p:cNvPr id="17" name="TextBox 29">
            <a:extLst>
              <a:ext uri="{FF2B5EF4-FFF2-40B4-BE49-F238E27FC236}">
                <a16:creationId xmlns:a16="http://schemas.microsoft.com/office/drawing/2014/main" xmlns="" id="{995B47BD-0CD2-40B3-A042-6C26851CEAB0}"/>
              </a:ext>
            </a:extLst>
          </p:cNvPr>
          <p:cNvSpPr txBox="1"/>
          <p:nvPr/>
        </p:nvSpPr>
        <p:spPr>
          <a:xfrm>
            <a:off x="4363570" y="4480290"/>
            <a:ext cx="3420235" cy="2272417"/>
          </a:xfrm>
          <a:prstGeom prst="rect">
            <a:avLst/>
          </a:prstGeom>
          <a:noFill/>
        </p:spPr>
        <p:txBody>
          <a:bodyPr wrap="square" lIns="91440" tIns="45720" rIns="91440" bIns="45720" numCol="2" rtlCol="0" anchor="t">
            <a:spAutoFit/>
          </a:bodyPr>
          <a:lstStyle/>
          <a:p>
            <a:pPr marL="88900" indent="-88900">
              <a:lnSpc>
                <a:spcPts val="1665"/>
              </a:lnSpc>
              <a:buFont typeface="Arial,Sans-Serif" panose="020B0604020202020204" pitchFamily="34" charset="0"/>
              <a:buChar char="•"/>
            </a:pPr>
            <a:r>
              <a:rPr lang="en-GB" dirty="0">
                <a:solidFill>
                  <a:schemeClr val="bg1"/>
                </a:solidFill>
                <a:latin typeface="Calibri Light"/>
                <a:ea typeface="+mn-lt"/>
                <a:cs typeface="+mn-lt"/>
              </a:rPr>
              <a:t>Catering</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literatura</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Material de oficina</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Teléfono</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Regalos</a:t>
            </a: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Continuación de </a:t>
            </a:r>
            <a:endParaRPr lang="en-US" dirty="0">
              <a:solidFill>
                <a:schemeClr val="bg1"/>
              </a:solidFill>
              <a:latin typeface="Calibri Light"/>
              <a:ea typeface="+mn-lt"/>
              <a:cs typeface="+mn-lt"/>
            </a:endParaRPr>
          </a:p>
          <a:p>
            <a:pPr>
              <a:lnSpc>
                <a:spcPts val="1664"/>
              </a:lnSpc>
            </a:pPr>
            <a:r>
              <a:rPr lang="en-GB" dirty="0">
                <a:solidFill>
                  <a:schemeClr val="bg1"/>
                </a:solidFill>
                <a:latin typeface="Calibri Light"/>
                <a:ea typeface="+mn-lt"/>
                <a:cs typeface="+mn-lt"/>
              </a:rPr>
              <a:t>Educación y formación</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Comedor</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Vehículo de motor</a:t>
            </a:r>
            <a:endParaRPr lang="en-US" dirty="0">
              <a:solidFill>
                <a:schemeClr val="bg1"/>
              </a:solidFill>
              <a:latin typeface="Calibri Light"/>
              <a:ea typeface="+mn-lt"/>
              <a:cs typeface="+mn-lt"/>
            </a:endParaRPr>
          </a:p>
          <a:p>
            <a:pPr>
              <a:lnSpc>
                <a:spcPts val="1664"/>
              </a:lnSpc>
            </a:pPr>
            <a:endParaRPr lang="en-GB" dirty="0">
              <a:solidFill>
                <a:schemeClr val="bg1"/>
              </a:solidFill>
              <a:latin typeface="Calibri Light"/>
              <a:ea typeface="+mn-lt"/>
              <a:cs typeface="+mn-lt"/>
            </a:endParaRPr>
          </a:p>
          <a:p>
            <a:pPr marL="88900" indent="-88900">
              <a:lnSpc>
                <a:spcPts val="1664"/>
              </a:lnSpc>
              <a:buFont typeface="Arial" panose="020B0604020202020204" pitchFamily="34" charset="0"/>
              <a:buChar char="•"/>
            </a:pPr>
            <a:r>
              <a:rPr lang="en-GB" sz="1600" dirty="0">
                <a:solidFill>
                  <a:schemeClr val="bg1"/>
                </a:solidFill>
                <a:latin typeface="+mj-lt"/>
                <a:ea typeface="Lato Light" charset="0"/>
                <a:cs typeface="Lato Light" charset="0"/>
              </a:rPr>
              <a:t>                 </a:t>
            </a:r>
          </a:p>
        </p:txBody>
      </p:sp>
      <p:sp>
        <p:nvSpPr>
          <p:cNvPr id="18" name="TextBox 30">
            <a:extLst>
              <a:ext uri="{FF2B5EF4-FFF2-40B4-BE49-F238E27FC236}">
                <a16:creationId xmlns:a16="http://schemas.microsoft.com/office/drawing/2014/main" xmlns="" id="{218F2331-A941-484C-BE86-AD3844780665}"/>
              </a:ext>
            </a:extLst>
          </p:cNvPr>
          <p:cNvSpPr txBox="1"/>
          <p:nvPr/>
        </p:nvSpPr>
        <p:spPr>
          <a:xfrm>
            <a:off x="4363571" y="4111726"/>
            <a:ext cx="1383777" cy="461665"/>
          </a:xfrm>
          <a:prstGeom prst="rect">
            <a:avLst/>
          </a:prstGeom>
          <a:noFill/>
        </p:spPr>
        <p:txBody>
          <a:bodyPr wrap="none" rtlCol="0">
            <a:spAutoFit/>
          </a:bodyPr>
          <a:lstStyle/>
          <a:p>
            <a:r>
              <a:rPr lang="en-GB" sz="2400" b="1" dirty="0">
                <a:solidFill>
                  <a:schemeClr val="bg1"/>
                </a:solidFill>
                <a:latin typeface="+mj-lt"/>
                <a:ea typeface="Roboto" charset="0"/>
                <a:cs typeface="Roboto" charset="0"/>
              </a:rPr>
              <a:t>Personal</a:t>
            </a:r>
          </a:p>
        </p:txBody>
      </p:sp>
      <p:sp>
        <p:nvSpPr>
          <p:cNvPr id="19" name="TextBox 37">
            <a:extLst>
              <a:ext uri="{FF2B5EF4-FFF2-40B4-BE49-F238E27FC236}">
                <a16:creationId xmlns:a16="http://schemas.microsoft.com/office/drawing/2014/main" xmlns="" id="{F2A51824-B11A-4E32-9BF7-E66B7C2D3B35}"/>
              </a:ext>
            </a:extLst>
          </p:cNvPr>
          <p:cNvSpPr txBox="1"/>
          <p:nvPr/>
        </p:nvSpPr>
        <p:spPr>
          <a:xfrm>
            <a:off x="8863329" y="2409751"/>
            <a:ext cx="3133847" cy="1175258"/>
          </a:xfrm>
          <a:prstGeom prst="rect">
            <a:avLst/>
          </a:prstGeom>
          <a:noFill/>
        </p:spPr>
        <p:txBody>
          <a:bodyPr wrap="square" numCol="2" rtlCol="0">
            <a:spAutoFit/>
          </a:bodyPr>
          <a:lstStyle/>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Gestión de residuos</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Costes de explotación</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IT</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Alquilar</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Limpieza</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Reparaciones</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Seguridad</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Seguros</a:t>
            </a:r>
            <a:endParaRPr lang="en-GB" sz="1600" dirty="0">
              <a:solidFill>
                <a:schemeClr val="bg1"/>
              </a:solidFill>
              <a:latin typeface="+mj-lt"/>
              <a:ea typeface="Lato Light" charset="0"/>
              <a:cs typeface="Lato Light" charset="0"/>
            </a:endParaRPr>
          </a:p>
        </p:txBody>
      </p:sp>
      <p:sp>
        <p:nvSpPr>
          <p:cNvPr id="20" name="TextBox 38">
            <a:extLst>
              <a:ext uri="{FF2B5EF4-FFF2-40B4-BE49-F238E27FC236}">
                <a16:creationId xmlns:a16="http://schemas.microsoft.com/office/drawing/2014/main" xmlns="" id="{C539BC28-E2E7-4962-9DEC-F128F869A872}"/>
              </a:ext>
            </a:extLst>
          </p:cNvPr>
          <p:cNvSpPr txBox="1"/>
          <p:nvPr/>
        </p:nvSpPr>
        <p:spPr>
          <a:xfrm>
            <a:off x="8863330" y="2063504"/>
            <a:ext cx="1577291" cy="400110"/>
          </a:xfrm>
          <a:prstGeom prst="rect">
            <a:avLst/>
          </a:prstGeom>
          <a:noFill/>
        </p:spPr>
        <p:txBody>
          <a:bodyPr wrap="none" rtlCol="0">
            <a:spAutoFit/>
          </a:bodyPr>
          <a:lstStyle/>
          <a:p>
            <a:r>
              <a:rPr lang="en-GB" sz="2000" b="1" dirty="0">
                <a:solidFill>
                  <a:schemeClr val="bg1"/>
                </a:solidFill>
                <a:latin typeface="+mj-lt"/>
                <a:ea typeface="Roboto" charset="0"/>
                <a:cs typeface="Roboto" charset="0"/>
              </a:rPr>
              <a:t>Infraestructura</a:t>
            </a:r>
          </a:p>
        </p:txBody>
      </p:sp>
      <p:sp>
        <p:nvSpPr>
          <p:cNvPr id="21" name="TextBox 39">
            <a:extLst>
              <a:ext uri="{FF2B5EF4-FFF2-40B4-BE49-F238E27FC236}">
                <a16:creationId xmlns:a16="http://schemas.microsoft.com/office/drawing/2014/main" xmlns="" id="{CB4BC806-EF56-4D77-94C0-98A9C8BA5E7C}"/>
              </a:ext>
            </a:extLst>
          </p:cNvPr>
          <p:cNvSpPr txBox="1"/>
          <p:nvPr/>
        </p:nvSpPr>
        <p:spPr>
          <a:xfrm>
            <a:off x="4363570" y="2409751"/>
            <a:ext cx="3133847" cy="1188787"/>
          </a:xfrm>
          <a:prstGeom prst="rect">
            <a:avLst/>
          </a:prstGeom>
          <a:noFill/>
        </p:spPr>
        <p:txBody>
          <a:bodyPr wrap="square" lIns="91440" tIns="45720" rIns="91440" bIns="45720" numCol="2" rtlCol="0" anchor="t">
            <a:spAutoFit/>
          </a:bodyPr>
          <a:lstStyle/>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Catering</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Servicios externos</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Exposiciones</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Gastos de viaje</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Publicidad</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Transporte/</a:t>
            </a:r>
            <a:br>
              <a:rPr lang="en-GB" dirty="0">
                <a:solidFill>
                  <a:schemeClr val="bg1"/>
                </a:solidFill>
                <a:latin typeface="+mj-lt"/>
                <a:ea typeface="Lato Light" charset="0"/>
                <a:cs typeface="Lato Light" charset="0"/>
              </a:rPr>
            </a:br>
            <a:r>
              <a:rPr lang="en-GB" dirty="0">
                <a:solidFill>
                  <a:schemeClr val="bg1"/>
                </a:solidFill>
                <a:latin typeface="+mj-lt"/>
                <a:ea typeface="Lato Light" charset="0"/>
                <a:cs typeface="Lato Light" charset="0"/>
              </a:rPr>
              <a:t>carga</a:t>
            </a:r>
          </a:p>
        </p:txBody>
      </p:sp>
      <p:sp>
        <p:nvSpPr>
          <p:cNvPr id="22" name="TextBox 40">
            <a:extLst>
              <a:ext uri="{FF2B5EF4-FFF2-40B4-BE49-F238E27FC236}">
                <a16:creationId xmlns:a16="http://schemas.microsoft.com/office/drawing/2014/main" xmlns="" id="{1FB369A6-3E50-4482-B849-7BE6C2E0BB20}"/>
              </a:ext>
            </a:extLst>
          </p:cNvPr>
          <p:cNvSpPr txBox="1"/>
          <p:nvPr/>
        </p:nvSpPr>
        <p:spPr>
          <a:xfrm>
            <a:off x="4363571" y="2063504"/>
            <a:ext cx="995850" cy="369332"/>
          </a:xfrm>
          <a:prstGeom prst="rect">
            <a:avLst/>
          </a:prstGeom>
          <a:noFill/>
        </p:spPr>
        <p:txBody>
          <a:bodyPr wrap="none" rtlCol="0">
            <a:spAutoFit/>
          </a:bodyPr>
          <a:lstStyle/>
          <a:p>
            <a:r>
              <a:rPr lang="en-GB" b="1" dirty="0">
                <a:solidFill>
                  <a:schemeClr val="bg1"/>
                </a:solidFill>
                <a:latin typeface="+mj-lt"/>
                <a:ea typeface="Roboto" charset="0"/>
                <a:cs typeface="Roboto" charset="0"/>
              </a:rPr>
              <a:t>Volumen de negocios</a:t>
            </a:r>
          </a:p>
        </p:txBody>
      </p:sp>
    </p:spTree>
    <p:extLst>
      <p:ext uri="{BB962C8B-B14F-4D97-AF65-F5344CB8AC3E}">
        <p14:creationId xmlns:p14="http://schemas.microsoft.com/office/powerpoint/2010/main" val="8642028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Estrategia para superar la crisis</a:t>
            </a:r>
          </a:p>
          <a:p>
            <a:endParaRPr lang="en-GB" dirty="0"/>
          </a:p>
        </p:txBody>
      </p:sp>
    </p:spTree>
    <p:extLst>
      <p:ext uri="{BB962C8B-B14F-4D97-AF65-F5344CB8AC3E}">
        <p14:creationId xmlns:p14="http://schemas.microsoft.com/office/powerpoint/2010/main" val="409973371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2811" y="433045"/>
            <a:ext cx="8852375" cy="697353"/>
          </a:xfrm>
        </p:spPr>
        <p:txBody>
          <a:bodyPr>
            <a:normAutofit/>
          </a:bodyPr>
          <a:lstStyle/>
          <a:p>
            <a:r>
              <a:rPr lang="en-GB" dirty="0"/>
              <a:t>Estrategia para superar la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7859" y="2019524"/>
            <a:ext cx="4079197" cy="451435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reajuste estratégico se basa en la misión de una empresa rentable y competitiva. </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ara evaluar si se ha alcanzado el objetivo de la reestructuración, los criterios que deben aplicarse no son sólo la liquidez positiva y las perspectivas de éxito derivadas del plan de reestructuración integrado. </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l objetivo para superar la crisis estratégica es lograr una competitividad sostenible y ventajas competitivas</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23" name="Freeform 43">
            <a:extLst>
              <a:ext uri="{FF2B5EF4-FFF2-40B4-BE49-F238E27FC236}">
                <a16:creationId xmlns:a16="http://schemas.microsoft.com/office/drawing/2014/main" xmlns="" id="{38CEBAD3-01EC-4FB8-8E56-4B6620A121BF}"/>
              </a:ext>
            </a:extLst>
          </p:cNvPr>
          <p:cNvSpPr>
            <a:spLocks/>
          </p:cNvSpPr>
          <p:nvPr/>
        </p:nvSpPr>
        <p:spPr bwMode="auto">
          <a:xfrm>
            <a:off x="4914773" y="3943668"/>
            <a:ext cx="7152809" cy="144984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24" name="Freeform 36">
            <a:extLst>
              <a:ext uri="{FF2B5EF4-FFF2-40B4-BE49-F238E27FC236}">
                <a16:creationId xmlns:a16="http://schemas.microsoft.com/office/drawing/2014/main" xmlns="" id="{06CFC4F6-74A8-4DFE-8F0F-7FCD4D96999A}"/>
              </a:ext>
            </a:extLst>
          </p:cNvPr>
          <p:cNvSpPr>
            <a:spLocks/>
          </p:cNvSpPr>
          <p:nvPr/>
        </p:nvSpPr>
        <p:spPr bwMode="auto">
          <a:xfrm>
            <a:off x="4294051" y="3943668"/>
            <a:ext cx="1494192"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25" name="Freeform 37">
            <a:extLst>
              <a:ext uri="{FF2B5EF4-FFF2-40B4-BE49-F238E27FC236}">
                <a16:creationId xmlns:a16="http://schemas.microsoft.com/office/drawing/2014/main" xmlns="" id="{B0FD7098-F76C-477A-B6DD-A166CAFF8710}"/>
              </a:ext>
            </a:extLst>
          </p:cNvPr>
          <p:cNvSpPr>
            <a:spLocks/>
          </p:cNvSpPr>
          <p:nvPr/>
        </p:nvSpPr>
        <p:spPr bwMode="auto">
          <a:xfrm>
            <a:off x="3893443" y="3551782"/>
            <a:ext cx="2599455"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27" name="Rectangle 48">
            <a:extLst>
              <a:ext uri="{FF2B5EF4-FFF2-40B4-BE49-F238E27FC236}">
                <a16:creationId xmlns:a16="http://schemas.microsoft.com/office/drawing/2014/main" xmlns="" id="{914D4433-7180-4DE8-9A0F-6C91DC9382F9}"/>
              </a:ext>
            </a:extLst>
          </p:cNvPr>
          <p:cNvSpPr>
            <a:spLocks/>
          </p:cNvSpPr>
          <p:nvPr/>
        </p:nvSpPr>
        <p:spPr bwMode="auto">
          <a:xfrm>
            <a:off x="4187056" y="3908859"/>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2</a:t>
            </a:r>
          </a:p>
        </p:txBody>
      </p:sp>
      <p:sp>
        <p:nvSpPr>
          <p:cNvPr id="28" name="TextBox 49">
            <a:extLst>
              <a:ext uri="{FF2B5EF4-FFF2-40B4-BE49-F238E27FC236}">
                <a16:creationId xmlns:a16="http://schemas.microsoft.com/office/drawing/2014/main" xmlns="" id="{503844B9-581D-43F8-AB66-B6B4644929CE}"/>
              </a:ext>
            </a:extLst>
          </p:cNvPr>
          <p:cNvSpPr txBox="1"/>
          <p:nvPr/>
        </p:nvSpPr>
        <p:spPr>
          <a:xfrm>
            <a:off x="5678710" y="3983287"/>
            <a:ext cx="6222638" cy="1477328"/>
          </a:xfrm>
          <a:prstGeom prst="rect">
            <a:avLst/>
          </a:prstGeom>
          <a:noFill/>
        </p:spPr>
        <p:txBody>
          <a:bodyPr wrap="square" rtlCol="0">
            <a:spAutoFit/>
          </a:bodyPr>
          <a:lstStyle/>
          <a:p>
            <a:r>
              <a:rPr lang="en-GB" dirty="0">
                <a:solidFill>
                  <a:schemeClr val="bg1"/>
                </a:solidFill>
                <a:latin typeface="+mj-lt"/>
                <a:ea typeface="Lato Light" charset="0"/>
                <a:cs typeface="Lato Light" charset="0"/>
              </a:rPr>
              <a:t>Por lo tanto, el desarrollo de </a:t>
            </a:r>
            <a:r>
              <a:rPr lang="en-GB" b="1" dirty="0">
                <a:solidFill>
                  <a:schemeClr val="bg1"/>
                </a:solidFill>
                <a:latin typeface="+mj-lt"/>
                <a:ea typeface="Lato Light" charset="0"/>
                <a:cs typeface="Lato Light" charset="0"/>
              </a:rPr>
              <a:t>estrategias adecuadas de producto-mercado </a:t>
            </a:r>
            <a:r>
              <a:rPr lang="en-GB" dirty="0">
                <a:solidFill>
                  <a:schemeClr val="bg1"/>
                </a:solidFill>
                <a:latin typeface="+mj-lt"/>
                <a:ea typeface="Lato Light" charset="0"/>
                <a:cs typeface="Lato Light" charset="0"/>
              </a:rPr>
              <a:t>y </a:t>
            </a:r>
            <a:r>
              <a:rPr lang="en-GB" b="1" dirty="0">
                <a:solidFill>
                  <a:schemeClr val="bg1"/>
                </a:solidFill>
                <a:latin typeface="+mj-lt"/>
                <a:ea typeface="Lato Light" charset="0"/>
                <a:cs typeface="Lato Light" charset="0"/>
              </a:rPr>
              <a:t>de recursos</a:t>
            </a:r>
            <a:r>
              <a:rPr lang="en-GB" dirty="0">
                <a:solidFill>
                  <a:schemeClr val="bg1"/>
                </a:solidFill>
                <a:latin typeface="+mj-lt"/>
                <a:ea typeface="Lato Light" charset="0"/>
                <a:cs typeface="Lato Light" charset="0"/>
              </a:rPr>
              <a:t>, que se aplican de forma independiente o mediante alianzas con los competidores o a través de fusiones o adquisiciones, es crucial para lograr un desarrollo sostenible y rentable de la empresa</a:t>
            </a:r>
          </a:p>
        </p:txBody>
      </p:sp>
      <p:sp>
        <p:nvSpPr>
          <p:cNvPr id="29" name="Freeform 43">
            <a:extLst>
              <a:ext uri="{FF2B5EF4-FFF2-40B4-BE49-F238E27FC236}">
                <a16:creationId xmlns:a16="http://schemas.microsoft.com/office/drawing/2014/main" xmlns="" id="{0B443420-F081-4BC0-A70C-B3CC8F948189}"/>
              </a:ext>
            </a:extLst>
          </p:cNvPr>
          <p:cNvSpPr>
            <a:spLocks/>
          </p:cNvSpPr>
          <p:nvPr/>
        </p:nvSpPr>
        <p:spPr bwMode="auto">
          <a:xfrm>
            <a:off x="4914773" y="5389011"/>
            <a:ext cx="7152809" cy="123505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0" name="Freeform 36">
            <a:extLst>
              <a:ext uri="{FF2B5EF4-FFF2-40B4-BE49-F238E27FC236}">
                <a16:creationId xmlns:a16="http://schemas.microsoft.com/office/drawing/2014/main" xmlns="" id="{3FD3AE5A-1BE1-4E29-8F6D-90DE7E837AE0}"/>
              </a:ext>
            </a:extLst>
          </p:cNvPr>
          <p:cNvSpPr>
            <a:spLocks/>
          </p:cNvSpPr>
          <p:nvPr/>
        </p:nvSpPr>
        <p:spPr bwMode="auto">
          <a:xfrm>
            <a:off x="4294050" y="5389011"/>
            <a:ext cx="1494193" cy="123505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31" name="Freeform 37">
            <a:extLst>
              <a:ext uri="{FF2B5EF4-FFF2-40B4-BE49-F238E27FC236}">
                <a16:creationId xmlns:a16="http://schemas.microsoft.com/office/drawing/2014/main" xmlns="" id="{9A2A44DC-0DB5-4668-B47A-C8688596BCBD}"/>
              </a:ext>
            </a:extLst>
          </p:cNvPr>
          <p:cNvSpPr>
            <a:spLocks/>
          </p:cNvSpPr>
          <p:nvPr/>
        </p:nvSpPr>
        <p:spPr bwMode="auto">
          <a:xfrm>
            <a:off x="3893443" y="4782334"/>
            <a:ext cx="2599455"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3" name="Rectangle 59">
            <a:extLst>
              <a:ext uri="{FF2B5EF4-FFF2-40B4-BE49-F238E27FC236}">
                <a16:creationId xmlns:a16="http://schemas.microsoft.com/office/drawing/2014/main" xmlns="" id="{4A26CA74-E445-4E0B-B9FE-840C8E8A4F43}"/>
              </a:ext>
            </a:extLst>
          </p:cNvPr>
          <p:cNvSpPr>
            <a:spLocks/>
          </p:cNvSpPr>
          <p:nvPr/>
        </p:nvSpPr>
        <p:spPr bwMode="auto">
          <a:xfrm>
            <a:off x="4187056" y="5139410"/>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3</a:t>
            </a:r>
          </a:p>
        </p:txBody>
      </p:sp>
      <p:sp>
        <p:nvSpPr>
          <p:cNvPr id="34" name="TextBox 80">
            <a:extLst>
              <a:ext uri="{FF2B5EF4-FFF2-40B4-BE49-F238E27FC236}">
                <a16:creationId xmlns:a16="http://schemas.microsoft.com/office/drawing/2014/main" xmlns="" id="{22AB0BEC-29BD-4F64-B782-0187ABB23EC3}"/>
              </a:ext>
            </a:extLst>
          </p:cNvPr>
          <p:cNvSpPr txBox="1"/>
          <p:nvPr/>
        </p:nvSpPr>
        <p:spPr>
          <a:xfrm>
            <a:off x="5750307" y="5573830"/>
            <a:ext cx="6222638" cy="746358"/>
          </a:xfrm>
          <a:prstGeom prst="rect">
            <a:avLst/>
          </a:prstGeom>
          <a:noFill/>
        </p:spPr>
        <p:txBody>
          <a:bodyPr wrap="square" rtlCol="0">
            <a:spAutoFit/>
          </a:bodyPr>
          <a:lstStyle/>
          <a:p>
            <a:pPr>
              <a:lnSpc>
                <a:spcPts val="1665"/>
              </a:lnSpc>
            </a:pPr>
            <a:r>
              <a:rPr lang="en-GB" dirty="0">
                <a:solidFill>
                  <a:schemeClr val="bg1"/>
                </a:solidFill>
                <a:latin typeface="+mj-lt"/>
                <a:ea typeface="Lato Light" charset="0"/>
                <a:cs typeface="Lato Light" charset="0"/>
              </a:rPr>
              <a:t>Sin embargo, en última instancia, la percepción y la </a:t>
            </a:r>
            <a:r>
              <a:rPr lang="en-GB" b="1" dirty="0">
                <a:solidFill>
                  <a:schemeClr val="bg1"/>
                </a:solidFill>
                <a:latin typeface="+mj-lt"/>
                <a:ea typeface="Lato Light" charset="0"/>
                <a:cs typeface="Lato Light" charset="0"/>
              </a:rPr>
              <a:t>visión del cliente son </a:t>
            </a:r>
            <a:r>
              <a:rPr lang="en-GB" dirty="0">
                <a:solidFill>
                  <a:schemeClr val="bg1"/>
                </a:solidFill>
                <a:latin typeface="+mj-lt"/>
                <a:ea typeface="Lato Light" charset="0"/>
                <a:cs typeface="Lato Light" charset="0"/>
              </a:rPr>
              <a:t>siempre decisivas para el éxito en el mercado y, por tanto, para la </a:t>
            </a:r>
            <a:r>
              <a:rPr lang="en-GB" b="1" dirty="0">
                <a:solidFill>
                  <a:schemeClr val="bg1"/>
                </a:solidFill>
                <a:latin typeface="+mj-lt"/>
                <a:ea typeface="Lato Light" charset="0"/>
                <a:cs typeface="Lato Light" charset="0"/>
              </a:rPr>
              <a:t>competitividad </a:t>
            </a:r>
            <a:r>
              <a:rPr lang="en-GB" dirty="0">
                <a:solidFill>
                  <a:schemeClr val="bg1"/>
                </a:solidFill>
                <a:latin typeface="+mj-lt"/>
                <a:ea typeface="Lato Light" charset="0"/>
                <a:cs typeface="Lato Light" charset="0"/>
              </a:rPr>
              <a:t>de la empresa</a:t>
            </a:r>
          </a:p>
        </p:txBody>
      </p:sp>
      <p:sp>
        <p:nvSpPr>
          <p:cNvPr id="35" name="Freeform 43">
            <a:extLst>
              <a:ext uri="{FF2B5EF4-FFF2-40B4-BE49-F238E27FC236}">
                <a16:creationId xmlns:a16="http://schemas.microsoft.com/office/drawing/2014/main" xmlns="" id="{1AE2E2D8-7FFA-4C5F-BCB6-396B14434D86}"/>
              </a:ext>
            </a:extLst>
          </p:cNvPr>
          <p:cNvSpPr>
            <a:spLocks/>
          </p:cNvSpPr>
          <p:nvPr/>
        </p:nvSpPr>
        <p:spPr bwMode="auto">
          <a:xfrm>
            <a:off x="4914773" y="2717879"/>
            <a:ext cx="7152809" cy="133577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6" name="Freeform 36">
            <a:extLst>
              <a:ext uri="{FF2B5EF4-FFF2-40B4-BE49-F238E27FC236}">
                <a16:creationId xmlns:a16="http://schemas.microsoft.com/office/drawing/2014/main" xmlns="" id="{11CD41B8-E7A0-4BC7-889B-A2AEA92A3D10}"/>
              </a:ext>
            </a:extLst>
          </p:cNvPr>
          <p:cNvSpPr>
            <a:spLocks/>
          </p:cNvSpPr>
          <p:nvPr/>
        </p:nvSpPr>
        <p:spPr bwMode="auto">
          <a:xfrm>
            <a:off x="4294052" y="2717879"/>
            <a:ext cx="1550445" cy="131176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37" name="Freeform 37">
            <a:extLst>
              <a:ext uri="{FF2B5EF4-FFF2-40B4-BE49-F238E27FC236}">
                <a16:creationId xmlns:a16="http://schemas.microsoft.com/office/drawing/2014/main" xmlns="" id="{6C69C51B-A138-4ECD-B041-3B9DF3EB887E}"/>
              </a:ext>
            </a:extLst>
          </p:cNvPr>
          <p:cNvSpPr>
            <a:spLocks/>
          </p:cNvSpPr>
          <p:nvPr/>
        </p:nvSpPr>
        <p:spPr bwMode="auto">
          <a:xfrm>
            <a:off x="4159375" y="2306458"/>
            <a:ext cx="2333523"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9" name="Rectangle 85">
            <a:extLst>
              <a:ext uri="{FF2B5EF4-FFF2-40B4-BE49-F238E27FC236}">
                <a16:creationId xmlns:a16="http://schemas.microsoft.com/office/drawing/2014/main" xmlns="" id="{2A1552D3-2090-4A15-BD98-8D3B0C1215D9}"/>
              </a:ext>
            </a:extLst>
          </p:cNvPr>
          <p:cNvSpPr>
            <a:spLocks/>
          </p:cNvSpPr>
          <p:nvPr/>
        </p:nvSpPr>
        <p:spPr bwMode="auto">
          <a:xfrm>
            <a:off x="4187056" y="2663535"/>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1</a:t>
            </a:r>
            <a:endParaRPr lang="en-GB" sz="1600" b="1" spc="113" dirty="0">
              <a:solidFill>
                <a:schemeClr val="bg1"/>
              </a:solidFill>
              <a:latin typeface="+mj-lt"/>
              <a:ea typeface="Roboto" charset="0"/>
              <a:cs typeface="Roboto" charset="0"/>
              <a:sym typeface="Bebas Neue" charset="0"/>
            </a:endParaRPr>
          </a:p>
        </p:txBody>
      </p:sp>
      <p:sp>
        <p:nvSpPr>
          <p:cNvPr id="40" name="TextBox 86">
            <a:extLst>
              <a:ext uri="{FF2B5EF4-FFF2-40B4-BE49-F238E27FC236}">
                <a16:creationId xmlns:a16="http://schemas.microsoft.com/office/drawing/2014/main" xmlns="" id="{27A142E1-D7BF-483C-98D0-BCD3911C3078}"/>
              </a:ext>
            </a:extLst>
          </p:cNvPr>
          <p:cNvSpPr txBox="1"/>
          <p:nvPr/>
        </p:nvSpPr>
        <p:spPr>
          <a:xfrm>
            <a:off x="5754388" y="2919548"/>
            <a:ext cx="6250438" cy="923330"/>
          </a:xfrm>
          <a:prstGeom prst="rect">
            <a:avLst/>
          </a:prstGeom>
          <a:noFill/>
        </p:spPr>
        <p:txBody>
          <a:bodyPr wrap="square" rtlCol="0">
            <a:spAutoFit/>
          </a:bodyPr>
          <a:lstStyle/>
          <a:p>
            <a:r>
              <a:rPr lang="en-GB" dirty="0">
                <a:solidFill>
                  <a:schemeClr val="bg1"/>
                </a:solidFill>
                <a:latin typeface="+mj-lt"/>
                <a:ea typeface="Lato Light" charset="0"/>
                <a:cs typeface="Lato Light" charset="0"/>
              </a:rPr>
              <a:t>La empresa debe </a:t>
            </a:r>
            <a:r>
              <a:rPr lang="en-GB" b="1" dirty="0">
                <a:solidFill>
                  <a:schemeClr val="bg1"/>
                </a:solidFill>
                <a:latin typeface="+mj-lt"/>
                <a:ea typeface="Lato Light" charset="0"/>
                <a:cs typeface="Lato Light" charset="0"/>
              </a:rPr>
              <a:t>coordinar sus actividades y recursos en el mercado de forma óptima y rigurosa</a:t>
            </a:r>
            <a:r>
              <a:rPr lang="en-GB" dirty="0">
                <a:solidFill>
                  <a:schemeClr val="bg1"/>
                </a:solidFill>
                <a:latin typeface="+mj-lt"/>
                <a:ea typeface="Lato Light" charset="0"/>
                <a:cs typeface="Lato Light" charset="0"/>
              </a:rPr>
              <a:t>, teniendo en cuenta las </a:t>
            </a:r>
            <a:r>
              <a:rPr lang="en-GB" b="1" dirty="0">
                <a:solidFill>
                  <a:schemeClr val="bg1"/>
                </a:solidFill>
                <a:latin typeface="+mj-lt"/>
                <a:ea typeface="Lato Light" charset="0"/>
                <a:cs typeface="Lato Light" charset="0"/>
              </a:rPr>
              <a:t>exigencias de los clientes </a:t>
            </a:r>
            <a:r>
              <a:rPr lang="en-GB" dirty="0">
                <a:solidFill>
                  <a:schemeClr val="bg1"/>
                </a:solidFill>
                <a:latin typeface="+mj-lt"/>
                <a:ea typeface="Lato Light" charset="0"/>
                <a:cs typeface="Lato Light" charset="0"/>
              </a:rPr>
              <a:t>y los </a:t>
            </a:r>
            <a:r>
              <a:rPr lang="en-GB" b="1" dirty="0">
                <a:solidFill>
                  <a:schemeClr val="bg1"/>
                </a:solidFill>
                <a:latin typeface="+mj-lt"/>
                <a:ea typeface="Lato Light" charset="0"/>
                <a:cs typeface="Lato Light" charset="0"/>
              </a:rPr>
              <a:t>procedimientos de la competencia</a:t>
            </a:r>
          </a:p>
        </p:txBody>
      </p:sp>
      <p:sp>
        <p:nvSpPr>
          <p:cNvPr id="21" name="TextBox 20">
            <a:extLst>
              <a:ext uri="{FF2B5EF4-FFF2-40B4-BE49-F238E27FC236}">
                <a16:creationId xmlns:a16="http://schemas.microsoft.com/office/drawing/2014/main" xmlns="" id="{FB2C59BD-40AD-44C5-B603-2F5D84367231}"/>
              </a:ext>
            </a:extLst>
          </p:cNvPr>
          <p:cNvSpPr txBox="1"/>
          <p:nvPr/>
        </p:nvSpPr>
        <p:spPr>
          <a:xfrm>
            <a:off x="4325314" y="1869853"/>
            <a:ext cx="7866686" cy="707886"/>
          </a:xfrm>
          <a:prstGeom prst="rect">
            <a:avLst/>
          </a:prstGeom>
          <a:noFill/>
        </p:spPr>
        <p:txBody>
          <a:bodyPr wrap="square">
            <a:spAutoFit/>
          </a:body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stos criterios son indicadores de la cuestión de si la empresa puede defender o ampliar su posición en el mercado para generar un crecimiento de las ventas</a:t>
            </a:r>
            <a:endParaRPr lang="en-GB" sz="2000" dirty="0">
              <a:solidFill>
                <a:srgbClr val="245473"/>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09572705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51056" y="554973"/>
            <a:ext cx="8852375" cy="697353"/>
          </a:xfrm>
        </p:spPr>
        <p:txBody>
          <a:bodyPr>
            <a:normAutofit/>
          </a:bodyPr>
          <a:lstStyle/>
          <a:p>
            <a:r>
              <a:rPr lang="en-GB" dirty="0"/>
              <a:t>Estrategia para superar la crisis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1606" y="1840759"/>
            <a:ext cx="3537025" cy="465285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l enfoque de la realineación estratégica se centra en la planificación del ámbito empresarial y la reasignación de recursos, así como en la formulación de la estrategia corporativa. Hay que determinar cómo se van a alcanzar los objetivos definidos en la declaración de misión de la empresa a medio y largo plazo.</a:t>
            </a:r>
          </a:p>
          <a:p>
            <a:pPr algn="l">
              <a:lnSpc>
                <a:spcPct val="100000"/>
              </a:lnSpc>
              <a:spcBef>
                <a:spcPts val="600"/>
              </a:spcBef>
            </a:pPr>
            <a:r>
              <a:rPr lang="en-GB"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entro del ámbito del reajuste estratégico, la empresa tiene que alinear sus potenciales bajo aspectos de eficacia, sostenibilidad y coherencia. Comenzar con estas tres áreas..</a:t>
            </a:r>
            <a:endParaRPr lang="en-GB" sz="1800" b="1"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17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5" name="Gruppieren 4">
            <a:extLst>
              <a:ext uri="{FF2B5EF4-FFF2-40B4-BE49-F238E27FC236}">
                <a16:creationId xmlns:a16="http://schemas.microsoft.com/office/drawing/2014/main" xmlns="" id="{37CB6D36-4C3D-45A7-A36D-042A32271E56}"/>
              </a:ext>
            </a:extLst>
          </p:cNvPr>
          <p:cNvGrpSpPr>
            <a:grpSpLocks noChangeAspect="1"/>
          </p:cNvGrpSpPr>
          <p:nvPr/>
        </p:nvGrpSpPr>
        <p:grpSpPr>
          <a:xfrm>
            <a:off x="8785347" y="2478070"/>
            <a:ext cx="3276000" cy="3276000"/>
            <a:chOff x="7510917" y="2077854"/>
            <a:chExt cx="3869722" cy="3869722"/>
          </a:xfrm>
        </p:grpSpPr>
        <p:sp>
          <p:nvSpPr>
            <p:cNvPr id="51" name="Oval 3">
              <a:extLst>
                <a:ext uri="{FF2B5EF4-FFF2-40B4-BE49-F238E27FC236}">
                  <a16:creationId xmlns:a16="http://schemas.microsoft.com/office/drawing/2014/main" xmlns="" id="{CE2A394E-11AC-40C7-A5B8-58D40AA95EE1}"/>
                </a:ext>
              </a:extLst>
            </p:cNvPr>
            <p:cNvSpPr/>
            <p:nvPr/>
          </p:nvSpPr>
          <p:spPr>
            <a:xfrm>
              <a:off x="7510917" y="2077854"/>
              <a:ext cx="3869722" cy="386972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2" name="Pie 8">
              <a:extLst>
                <a:ext uri="{FF2B5EF4-FFF2-40B4-BE49-F238E27FC236}">
                  <a16:creationId xmlns:a16="http://schemas.microsoft.com/office/drawing/2014/main" xmlns="" id="{E897233F-B7E1-4D89-B283-3CEBA2F2C365}"/>
                </a:ext>
              </a:extLst>
            </p:cNvPr>
            <p:cNvSpPr/>
            <p:nvPr/>
          </p:nvSpPr>
          <p:spPr>
            <a:xfrm>
              <a:off x="7510917" y="2077854"/>
              <a:ext cx="3869722" cy="3869722"/>
            </a:xfrm>
            <a:prstGeom prst="pie">
              <a:avLst>
                <a:gd name="adj1" fmla="val 16203509"/>
                <a:gd name="adj2" fmla="val 167963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3" name="Oval 4">
              <a:extLst>
                <a:ext uri="{FF2B5EF4-FFF2-40B4-BE49-F238E27FC236}">
                  <a16:creationId xmlns:a16="http://schemas.microsoft.com/office/drawing/2014/main" xmlns="" id="{CDD3F251-BAAB-4075-BEBF-52C9118F11DE}"/>
                </a:ext>
              </a:extLst>
            </p:cNvPr>
            <p:cNvSpPr/>
            <p:nvPr/>
          </p:nvSpPr>
          <p:spPr>
            <a:xfrm>
              <a:off x="7770371" y="2337308"/>
              <a:ext cx="3350814" cy="335081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4" name="Pie 9">
              <a:extLst>
                <a:ext uri="{FF2B5EF4-FFF2-40B4-BE49-F238E27FC236}">
                  <a16:creationId xmlns:a16="http://schemas.microsoft.com/office/drawing/2014/main" xmlns="" id="{9A2AC663-974E-43EF-905D-63060FBA2081}"/>
                </a:ext>
              </a:extLst>
            </p:cNvPr>
            <p:cNvSpPr/>
            <p:nvPr/>
          </p:nvSpPr>
          <p:spPr>
            <a:xfrm>
              <a:off x="7770371" y="2337308"/>
              <a:ext cx="3350814" cy="3350814"/>
            </a:xfrm>
            <a:prstGeom prst="pie">
              <a:avLst>
                <a:gd name="adj1" fmla="val 16200764"/>
                <a:gd name="adj2" fmla="val 87213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5" name="Oval 5">
              <a:extLst>
                <a:ext uri="{FF2B5EF4-FFF2-40B4-BE49-F238E27FC236}">
                  <a16:creationId xmlns:a16="http://schemas.microsoft.com/office/drawing/2014/main" xmlns="" id="{84FD8D44-159D-4FC8-9FAE-BBDF2F6EFECE}"/>
                </a:ext>
              </a:extLst>
            </p:cNvPr>
            <p:cNvSpPr/>
            <p:nvPr/>
          </p:nvSpPr>
          <p:spPr>
            <a:xfrm>
              <a:off x="8038275" y="2605212"/>
              <a:ext cx="2815006" cy="281500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6" name="Pie 10">
              <a:extLst>
                <a:ext uri="{FF2B5EF4-FFF2-40B4-BE49-F238E27FC236}">
                  <a16:creationId xmlns:a16="http://schemas.microsoft.com/office/drawing/2014/main" xmlns="" id="{0CFC9224-9892-40FB-8C5B-38B680FB5C13}"/>
                </a:ext>
              </a:extLst>
            </p:cNvPr>
            <p:cNvSpPr/>
            <p:nvPr/>
          </p:nvSpPr>
          <p:spPr>
            <a:xfrm>
              <a:off x="8038275" y="2605212"/>
              <a:ext cx="2815006" cy="2815006"/>
            </a:xfrm>
            <a:prstGeom prst="pie">
              <a:avLst>
                <a:gd name="adj1" fmla="val 16205589"/>
                <a:gd name="adj2" fmla="val 1308947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7" name="Oval 6">
              <a:extLst>
                <a:ext uri="{FF2B5EF4-FFF2-40B4-BE49-F238E27FC236}">
                  <a16:creationId xmlns:a16="http://schemas.microsoft.com/office/drawing/2014/main" xmlns="" id="{AAF98D97-DC49-4791-8B0C-D0A54B3E5D75}"/>
                </a:ext>
              </a:extLst>
            </p:cNvPr>
            <p:cNvSpPr/>
            <p:nvPr/>
          </p:nvSpPr>
          <p:spPr>
            <a:xfrm>
              <a:off x="8318350" y="2885287"/>
              <a:ext cx="2254857" cy="225485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8" name="Pie 11">
              <a:extLst>
                <a:ext uri="{FF2B5EF4-FFF2-40B4-BE49-F238E27FC236}">
                  <a16:creationId xmlns:a16="http://schemas.microsoft.com/office/drawing/2014/main" xmlns="" id="{AF57F6F3-DEA0-4F1E-A985-4C189267102B}"/>
                </a:ext>
              </a:extLst>
            </p:cNvPr>
            <p:cNvSpPr/>
            <p:nvPr/>
          </p:nvSpPr>
          <p:spPr>
            <a:xfrm>
              <a:off x="8318350" y="2885287"/>
              <a:ext cx="2254857" cy="2254857"/>
            </a:xfrm>
            <a:prstGeom prst="pie">
              <a:avLst>
                <a:gd name="adj1" fmla="val 16201900"/>
                <a:gd name="adj2" fmla="val 479570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9" name="Oval 7">
              <a:extLst>
                <a:ext uri="{FF2B5EF4-FFF2-40B4-BE49-F238E27FC236}">
                  <a16:creationId xmlns:a16="http://schemas.microsoft.com/office/drawing/2014/main" xmlns="" id="{BB2CD242-BE6B-43B9-8D85-FF0731F7FD60}"/>
                </a:ext>
              </a:extLst>
            </p:cNvPr>
            <p:cNvSpPr/>
            <p:nvPr/>
          </p:nvSpPr>
          <p:spPr>
            <a:xfrm>
              <a:off x="8568055" y="3134992"/>
              <a:ext cx="1755449" cy="17554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60" name="Pie 12">
              <a:extLst>
                <a:ext uri="{FF2B5EF4-FFF2-40B4-BE49-F238E27FC236}">
                  <a16:creationId xmlns:a16="http://schemas.microsoft.com/office/drawing/2014/main" xmlns="" id="{B495B48A-3B59-4788-A6F7-F2090E26F859}"/>
                </a:ext>
              </a:extLst>
            </p:cNvPr>
            <p:cNvSpPr/>
            <p:nvPr/>
          </p:nvSpPr>
          <p:spPr>
            <a:xfrm>
              <a:off x="8568055" y="3134992"/>
              <a:ext cx="1755449" cy="1755449"/>
            </a:xfrm>
            <a:prstGeom prst="pie">
              <a:avLst>
                <a:gd name="adj1" fmla="val 16194857"/>
                <a:gd name="adj2" fmla="val 654935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61" name="Oval 14">
              <a:extLst>
                <a:ext uri="{FF2B5EF4-FFF2-40B4-BE49-F238E27FC236}">
                  <a16:creationId xmlns:a16="http://schemas.microsoft.com/office/drawing/2014/main" xmlns="" id="{2C62071C-B80B-4EF8-AB20-C060FF4E1EE0}"/>
                </a:ext>
              </a:extLst>
            </p:cNvPr>
            <p:cNvSpPr/>
            <p:nvPr/>
          </p:nvSpPr>
          <p:spPr>
            <a:xfrm>
              <a:off x="8856872" y="3423809"/>
              <a:ext cx="1177815" cy="117781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grpSp>
      <p:sp>
        <p:nvSpPr>
          <p:cNvPr id="63" name="TextBox 19">
            <a:extLst>
              <a:ext uri="{FF2B5EF4-FFF2-40B4-BE49-F238E27FC236}">
                <a16:creationId xmlns:a16="http://schemas.microsoft.com/office/drawing/2014/main" xmlns="" id="{090A32C1-11C9-4E5B-8E18-7B19ECEEF201}"/>
              </a:ext>
            </a:extLst>
          </p:cNvPr>
          <p:cNvSpPr txBox="1"/>
          <p:nvPr/>
        </p:nvSpPr>
        <p:spPr>
          <a:xfrm>
            <a:off x="3855003" y="1789619"/>
            <a:ext cx="4438391" cy="384721"/>
          </a:xfrm>
          <a:prstGeom prst="rect">
            <a:avLst/>
          </a:prstGeom>
          <a:noFill/>
        </p:spPr>
        <p:txBody>
          <a:bodyPr wrap="square" lIns="91440" tIns="45720" rIns="91440" bIns="45720" rtlCol="0" anchor="b" anchorCtr="0">
            <a:spAutoFit/>
          </a:bodyPr>
          <a:lstStyle/>
          <a:p>
            <a:r>
              <a:rPr lang="en-GB" sz="1900" b="1" dirty="0">
                <a:solidFill>
                  <a:srgbClr val="F95C2C"/>
                </a:solidFill>
                <a:latin typeface="+mj-lt"/>
                <a:ea typeface="League Spartan" charset="0"/>
                <a:cs typeface="Poppins" pitchFamily="2" charset="77"/>
              </a:rPr>
              <a:t>Fortalecimiento de la actividad principal</a:t>
            </a:r>
          </a:p>
        </p:txBody>
      </p:sp>
      <p:sp>
        <p:nvSpPr>
          <p:cNvPr id="64" name="Subtitle 2">
            <a:extLst>
              <a:ext uri="{FF2B5EF4-FFF2-40B4-BE49-F238E27FC236}">
                <a16:creationId xmlns:a16="http://schemas.microsoft.com/office/drawing/2014/main" xmlns="" id="{DF9B471D-2D31-4257-87A0-9702833E1C64}"/>
              </a:ext>
            </a:extLst>
          </p:cNvPr>
          <p:cNvSpPr txBox="1">
            <a:spLocks/>
          </p:cNvSpPr>
          <p:nvPr/>
        </p:nvSpPr>
        <p:spPr>
          <a:xfrm>
            <a:off x="3966595" y="2168347"/>
            <a:ext cx="5443683"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erfilado de la marca o del producto | Definición del segmento o nicho de ocupación de la marca | Perfilado mediante la identificación y el desarrollo de los puntos fuertes y la eliminación de los puntos débiles</a:t>
            </a:r>
          </a:p>
        </p:txBody>
      </p:sp>
      <p:sp>
        <p:nvSpPr>
          <p:cNvPr id="66" name="TextBox 26">
            <a:extLst>
              <a:ext uri="{FF2B5EF4-FFF2-40B4-BE49-F238E27FC236}">
                <a16:creationId xmlns:a16="http://schemas.microsoft.com/office/drawing/2014/main" xmlns="" id="{6A9CA847-1C3D-45E5-9C4F-D5433FA6AEF5}"/>
              </a:ext>
            </a:extLst>
          </p:cNvPr>
          <p:cNvSpPr txBox="1"/>
          <p:nvPr/>
        </p:nvSpPr>
        <p:spPr>
          <a:xfrm>
            <a:off x="3918277" y="3269322"/>
            <a:ext cx="3064071" cy="369332"/>
          </a:xfrm>
          <a:prstGeom prst="rect">
            <a:avLst/>
          </a:prstGeom>
          <a:noFill/>
        </p:spPr>
        <p:txBody>
          <a:bodyPr wrap="square" rtlCol="0" anchor="b" anchorCtr="0">
            <a:spAutoFit/>
          </a:bodyPr>
          <a:lstStyle/>
          <a:p>
            <a:r>
              <a:rPr lang="en-GB" b="1" dirty="0">
                <a:solidFill>
                  <a:srgbClr val="E53292"/>
                </a:solidFill>
                <a:latin typeface="+mj-lt"/>
                <a:ea typeface="League Spartan" charset="0"/>
                <a:cs typeface="Poppins" pitchFamily="2" charset="77"/>
              </a:rPr>
              <a:t>Expansión de la actividad principal</a:t>
            </a:r>
          </a:p>
        </p:txBody>
      </p:sp>
      <p:sp>
        <p:nvSpPr>
          <p:cNvPr id="67" name="Subtitle 2">
            <a:extLst>
              <a:ext uri="{FF2B5EF4-FFF2-40B4-BE49-F238E27FC236}">
                <a16:creationId xmlns:a16="http://schemas.microsoft.com/office/drawing/2014/main" xmlns="" id="{DF46AECD-160B-43F4-BBF2-A6B450C361AB}"/>
              </a:ext>
            </a:extLst>
          </p:cNvPr>
          <p:cNvSpPr txBox="1">
            <a:spLocks/>
          </p:cNvSpPr>
          <p:nvPr/>
        </p:nvSpPr>
        <p:spPr>
          <a:xfrm>
            <a:off x="4024330" y="3658546"/>
            <a:ext cx="4622035"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Ofrecer productos y servicios complementarios | </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Ofrecer soluciones integradas más allá de los servicios </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proporcionados hasta ahora</a:t>
            </a:r>
          </a:p>
        </p:txBody>
      </p:sp>
      <p:sp>
        <p:nvSpPr>
          <p:cNvPr id="69" name="TextBox 31">
            <a:extLst>
              <a:ext uri="{FF2B5EF4-FFF2-40B4-BE49-F238E27FC236}">
                <a16:creationId xmlns:a16="http://schemas.microsoft.com/office/drawing/2014/main" xmlns="" id="{E38030BA-FEEE-4C86-85F0-81F39C8E24D7}"/>
              </a:ext>
            </a:extLst>
          </p:cNvPr>
          <p:cNvSpPr txBox="1"/>
          <p:nvPr/>
        </p:nvSpPr>
        <p:spPr>
          <a:xfrm>
            <a:off x="4019735" y="4597663"/>
            <a:ext cx="5229517" cy="584775"/>
          </a:xfrm>
          <a:prstGeom prst="rect">
            <a:avLst/>
          </a:prstGeom>
          <a:noFill/>
        </p:spPr>
        <p:txBody>
          <a:bodyPr wrap="square" lIns="91440" tIns="45720" rIns="91440" bIns="45720" rtlCol="0" anchor="b" anchorCtr="0">
            <a:spAutoFit/>
          </a:bodyPr>
          <a:lstStyle/>
          <a:p>
            <a:r>
              <a:rPr lang="en-GB" sz="1600" b="1" dirty="0">
                <a:solidFill>
                  <a:srgbClr val="245473"/>
                </a:solidFill>
                <a:latin typeface="+mj-lt"/>
                <a:ea typeface="League Spartan" charset="0"/>
                <a:cs typeface="Poppins" pitchFamily="2" charset="77"/>
              </a:rPr>
              <a:t>Otras opciones para las medidas de planificación estratégica </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a definir</a:t>
            </a:r>
          </a:p>
        </p:txBody>
      </p:sp>
      <p:sp>
        <p:nvSpPr>
          <p:cNvPr id="70" name="Subtitle 2">
            <a:extLst>
              <a:ext uri="{FF2B5EF4-FFF2-40B4-BE49-F238E27FC236}">
                <a16:creationId xmlns:a16="http://schemas.microsoft.com/office/drawing/2014/main" xmlns="" id="{89C24A82-1F5E-4E90-8368-81AE7A79BCA4}"/>
              </a:ext>
            </a:extLst>
          </p:cNvPr>
          <p:cNvSpPr txBox="1">
            <a:spLocks/>
          </p:cNvSpPr>
          <p:nvPr/>
        </p:nvSpPr>
        <p:spPr>
          <a:xfrm>
            <a:off x="4040425" y="5215164"/>
            <a:ext cx="5010788" cy="14750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ransferencia de productos, marcas, recursos, habilidades y competencias existentes a nuevos campos de aplicación: nuevos clientes, regiones, áreas de negocio.</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esarrollo de nuevos potenciales de éxito: Innovaciones de productos y procesos | Desarrollo de competencias básicas</a:t>
            </a:r>
          </a:p>
        </p:txBody>
      </p:sp>
    </p:spTree>
    <p:extLst>
      <p:ext uri="{BB962C8B-B14F-4D97-AF65-F5344CB8AC3E}">
        <p14:creationId xmlns:p14="http://schemas.microsoft.com/office/powerpoint/2010/main" val="373090622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8896" y="578436"/>
            <a:ext cx="8852375" cy="697353"/>
          </a:xfrm>
        </p:spPr>
        <p:txBody>
          <a:bodyPr>
            <a:normAutofit/>
          </a:bodyPr>
          <a:lstStyle/>
          <a:p>
            <a:r>
              <a:rPr lang="en-GB" dirty="0"/>
              <a:t>Estrategia para superar la crisis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1149" y="1820303"/>
            <a:ext cx="3802204" cy="536074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700" dirty="0">
                <a:solidFill>
                  <a:srgbClr val="245473"/>
                </a:solidFill>
                <a:latin typeface="+mj-lt"/>
                <a:ea typeface="Open Sans Light" panose="020B0306030504020204" pitchFamily="34" charset="0"/>
                <a:cs typeface="Open Sans Light" panose="020B0306030504020204" pitchFamily="34" charset="0"/>
              </a:rPr>
              <a:t>La optimización de la gama de servicios en la tensión entre la calidad, los costes y el tiempo es tan importante como la definición detallada de la composición de la cartera, la actividad principal, las capacidades básicas y la posición deseada en el mercado/ventajas competitivas, teniendo siempre en cuenta las exigencias de los clientes</a:t>
            </a: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os recursos materiales, intangibles, humanos y financieros disponibles en la empresa son decisivos para el éxito</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combinación de los recursos existentes lleva a la adquisición de habilidades especiales, como el dominio de tecnologías individuales o procesos importantes</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stas competencias pueden conducir a su vez a la consecución de un desarrollo empresarial positivo y sostenible</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7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7" name="Gruppieren 6">
            <a:extLst>
              <a:ext uri="{FF2B5EF4-FFF2-40B4-BE49-F238E27FC236}">
                <a16:creationId xmlns:a16="http://schemas.microsoft.com/office/drawing/2014/main" xmlns="" id="{3D5012A7-9541-40B7-91B7-F89B38B3DA02}"/>
              </a:ext>
            </a:extLst>
          </p:cNvPr>
          <p:cNvGrpSpPr/>
          <p:nvPr/>
        </p:nvGrpSpPr>
        <p:grpSpPr>
          <a:xfrm>
            <a:off x="4038600" y="1822692"/>
            <a:ext cx="7913914" cy="4763165"/>
            <a:chOff x="4502203" y="2080221"/>
            <a:chExt cx="6397011" cy="2657780"/>
          </a:xfrm>
        </p:grpSpPr>
        <p:sp>
          <p:nvSpPr>
            <p:cNvPr id="25" name="Freeform 31">
              <a:extLst>
                <a:ext uri="{FF2B5EF4-FFF2-40B4-BE49-F238E27FC236}">
                  <a16:creationId xmlns:a16="http://schemas.microsoft.com/office/drawing/2014/main" xmlns="" id="{C86B3ACA-8E5D-4D97-97BA-EDE33BBA4D59}"/>
                </a:ext>
              </a:extLst>
            </p:cNvPr>
            <p:cNvSpPr>
              <a:spLocks noChangeArrowheads="1"/>
            </p:cNvSpPr>
            <p:nvPr/>
          </p:nvSpPr>
          <p:spPr bwMode="auto">
            <a:xfrm>
              <a:off x="8988115" y="3942744"/>
              <a:ext cx="1504528" cy="179573"/>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2700" dirty="0">
                <a:latin typeface="Roboto" charset="0"/>
                <a:ea typeface="Roboto" charset="0"/>
                <a:cs typeface="Roboto" charset="0"/>
              </a:endParaRPr>
            </a:p>
          </p:txBody>
        </p:sp>
        <p:sp>
          <p:nvSpPr>
            <p:cNvPr id="26" name="Freeform 33">
              <a:extLst>
                <a:ext uri="{FF2B5EF4-FFF2-40B4-BE49-F238E27FC236}">
                  <a16:creationId xmlns:a16="http://schemas.microsoft.com/office/drawing/2014/main" xmlns="" id="{F54E4C35-4FB2-41FE-89FF-56001957D408}"/>
                </a:ext>
              </a:extLst>
            </p:cNvPr>
            <p:cNvSpPr>
              <a:spLocks noChangeArrowheads="1"/>
            </p:cNvSpPr>
            <p:nvPr/>
          </p:nvSpPr>
          <p:spPr bwMode="auto">
            <a:xfrm>
              <a:off x="9679384" y="4086174"/>
              <a:ext cx="772594" cy="235507"/>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2700" dirty="0">
                <a:latin typeface="Roboto" charset="0"/>
                <a:ea typeface="Roboto" charset="0"/>
                <a:cs typeface="Roboto" charset="0"/>
              </a:endParaRPr>
            </a:p>
          </p:txBody>
        </p:sp>
        <p:sp>
          <p:nvSpPr>
            <p:cNvPr id="27" name="Freeform 34">
              <a:extLst>
                <a:ext uri="{FF2B5EF4-FFF2-40B4-BE49-F238E27FC236}">
                  <a16:creationId xmlns:a16="http://schemas.microsoft.com/office/drawing/2014/main" xmlns="" id="{BBFCC594-6BF9-429F-87C2-97BB580CF53E}"/>
                </a:ext>
              </a:extLst>
            </p:cNvPr>
            <p:cNvSpPr>
              <a:spLocks noChangeArrowheads="1"/>
            </p:cNvSpPr>
            <p:nvPr/>
          </p:nvSpPr>
          <p:spPr bwMode="auto">
            <a:xfrm>
              <a:off x="8748204" y="3758204"/>
              <a:ext cx="1744437" cy="212248"/>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2700" dirty="0">
                <a:latin typeface="Roboto" charset="0"/>
                <a:ea typeface="Roboto" charset="0"/>
                <a:cs typeface="Roboto" charset="0"/>
              </a:endParaRPr>
            </a:p>
          </p:txBody>
        </p:sp>
        <p:sp>
          <p:nvSpPr>
            <p:cNvPr id="28" name="Freeform 35">
              <a:extLst>
                <a:ext uri="{FF2B5EF4-FFF2-40B4-BE49-F238E27FC236}">
                  <a16:creationId xmlns:a16="http://schemas.microsoft.com/office/drawing/2014/main" xmlns="" id="{B1FADC7E-D356-42C0-86D6-90A1402F2FAF}"/>
                </a:ext>
              </a:extLst>
            </p:cNvPr>
            <p:cNvSpPr>
              <a:spLocks noChangeArrowheads="1"/>
            </p:cNvSpPr>
            <p:nvPr/>
          </p:nvSpPr>
          <p:spPr bwMode="auto">
            <a:xfrm>
              <a:off x="8571041" y="2080221"/>
              <a:ext cx="2328173" cy="2566669"/>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2700" dirty="0">
                <a:latin typeface="Roboto" charset="0"/>
                <a:ea typeface="Roboto" charset="0"/>
                <a:cs typeface="Roboto" charset="0"/>
              </a:endParaRPr>
            </a:p>
          </p:txBody>
        </p:sp>
        <p:sp>
          <p:nvSpPr>
            <p:cNvPr id="29" name="Freeform 37">
              <a:extLst>
                <a:ext uri="{FF2B5EF4-FFF2-40B4-BE49-F238E27FC236}">
                  <a16:creationId xmlns:a16="http://schemas.microsoft.com/office/drawing/2014/main" xmlns="" id="{C68A98C7-7777-4E34-BE4D-75C0539BE924}"/>
                </a:ext>
              </a:extLst>
            </p:cNvPr>
            <p:cNvSpPr>
              <a:spLocks noChangeArrowheads="1"/>
            </p:cNvSpPr>
            <p:nvPr/>
          </p:nvSpPr>
          <p:spPr bwMode="auto">
            <a:xfrm>
              <a:off x="6546160" y="2080223"/>
              <a:ext cx="1919290" cy="195965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chemeClr val="accent2"/>
            </a:solidFill>
            <a:ln>
              <a:noFill/>
            </a:ln>
            <a:effectLst/>
          </p:spPr>
          <p:txBody>
            <a:bodyPr wrap="none" anchor="ctr"/>
            <a:lstStyle/>
            <a:p>
              <a:endParaRPr lang="en-GB" sz="2700" dirty="0">
                <a:latin typeface="Roboto" charset="0"/>
                <a:ea typeface="Roboto" charset="0"/>
                <a:cs typeface="Roboto" charset="0"/>
              </a:endParaRPr>
            </a:p>
          </p:txBody>
        </p:sp>
        <p:sp>
          <p:nvSpPr>
            <p:cNvPr id="30" name="Freeform 39">
              <a:extLst>
                <a:ext uri="{FF2B5EF4-FFF2-40B4-BE49-F238E27FC236}">
                  <a16:creationId xmlns:a16="http://schemas.microsoft.com/office/drawing/2014/main" xmlns="" id="{CEDD705A-ACE6-489F-9C44-7C9CE97C7FE1}"/>
                </a:ext>
              </a:extLst>
            </p:cNvPr>
            <p:cNvSpPr>
              <a:spLocks noChangeArrowheads="1"/>
            </p:cNvSpPr>
            <p:nvPr/>
          </p:nvSpPr>
          <p:spPr bwMode="auto">
            <a:xfrm>
              <a:off x="4502203" y="2080222"/>
              <a:ext cx="2055425" cy="2657779"/>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chemeClr val="accent1"/>
            </a:solidFill>
            <a:ln>
              <a:noFill/>
            </a:ln>
            <a:effectLst/>
          </p:spPr>
          <p:txBody>
            <a:bodyPr wrap="none" anchor="ctr"/>
            <a:lstStyle/>
            <a:p>
              <a:endParaRPr lang="en-GB" sz="2700" dirty="0">
                <a:latin typeface="Roboto" charset="0"/>
                <a:ea typeface="Roboto" charset="0"/>
                <a:cs typeface="Roboto" charset="0"/>
              </a:endParaRPr>
            </a:p>
          </p:txBody>
        </p:sp>
      </p:grpSp>
      <p:sp>
        <p:nvSpPr>
          <p:cNvPr id="68" name="Subtitle 2">
            <a:extLst>
              <a:ext uri="{FF2B5EF4-FFF2-40B4-BE49-F238E27FC236}">
                <a16:creationId xmlns:a16="http://schemas.microsoft.com/office/drawing/2014/main" xmlns="" id="{4C178A3B-186B-4F5B-A13F-89D47B3955CE}"/>
              </a:ext>
            </a:extLst>
          </p:cNvPr>
          <p:cNvSpPr txBox="1">
            <a:spLocks/>
          </p:cNvSpPr>
          <p:nvPr/>
        </p:nvSpPr>
        <p:spPr>
          <a:xfrm>
            <a:off x="4126811" y="1934356"/>
            <a:ext cx="1969189" cy="36356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Si la crisis de los grupos de interés repercute negativamente en el desarrollo de la empresa, sólo podrá superarse si los órganos de dirección o de supervisión consiguen encontrar una base común para una cooperación de confianza con todos los grupos de interés importantes</a:t>
            </a:r>
          </a:p>
        </p:txBody>
      </p:sp>
      <p:sp>
        <p:nvSpPr>
          <p:cNvPr id="71" name="Subtitle 2">
            <a:extLst>
              <a:ext uri="{FF2B5EF4-FFF2-40B4-BE49-F238E27FC236}">
                <a16:creationId xmlns:a16="http://schemas.microsoft.com/office/drawing/2014/main" xmlns="" id="{02E605D7-241B-4C88-9438-1300EB47C0F2}"/>
              </a:ext>
            </a:extLst>
          </p:cNvPr>
          <p:cNvSpPr txBox="1">
            <a:spLocks/>
          </p:cNvSpPr>
          <p:nvPr/>
        </p:nvSpPr>
        <p:spPr>
          <a:xfrm>
            <a:off x="6842250" y="1945001"/>
            <a:ext cx="1969189" cy="21890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Hay que llegar a un consenso sobre la cooperación y sobre una estructura de objetivos apoyada conjuntamente</a:t>
            </a:r>
          </a:p>
        </p:txBody>
      </p:sp>
      <p:sp>
        <p:nvSpPr>
          <p:cNvPr id="72" name="Subtitle 2">
            <a:extLst>
              <a:ext uri="{FF2B5EF4-FFF2-40B4-BE49-F238E27FC236}">
                <a16:creationId xmlns:a16="http://schemas.microsoft.com/office/drawing/2014/main" xmlns="" id="{55FF8A2F-2739-4B2B-8F20-1475B64E1D35}"/>
              </a:ext>
            </a:extLst>
          </p:cNvPr>
          <p:cNvSpPr txBox="1">
            <a:spLocks/>
          </p:cNvSpPr>
          <p:nvPr/>
        </p:nvSpPr>
        <p:spPr>
          <a:xfrm>
            <a:off x="9188712" y="1942729"/>
            <a:ext cx="2622288" cy="39126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En este contexto, debe examinarse si es necesario crear nuevas estructuras organizativas para apoyar el plan de reestructuración previsto y como medida de fomento de la confianza para guiar a la empresa a través de la crisis, por ejemplo, mediante la creación de un consejo consultivo de reestructuración, el nombramiento de nuevos órganos de gestión (responsable de reestructuración), etc.</a:t>
            </a:r>
          </a:p>
        </p:txBody>
      </p:sp>
    </p:spTree>
    <p:extLst>
      <p:ext uri="{BB962C8B-B14F-4D97-AF65-F5344CB8AC3E}">
        <p14:creationId xmlns:p14="http://schemas.microsoft.com/office/powerpoint/2010/main" val="5554670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839576" y="506899"/>
            <a:ext cx="8852375" cy="697353"/>
          </a:xfrm>
        </p:spPr>
        <p:txBody>
          <a:bodyPr>
            <a:normAutofit/>
          </a:bodyPr>
          <a:lstStyle/>
          <a:p>
            <a:r>
              <a:rPr lang="en-GB" dirty="0"/>
              <a:t>Estrategia para superar la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71027" y="2228881"/>
            <a:ext cx="2068528"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n embargo, al final, la propia dirección debe ser capaz de gestionar:</a:t>
            </a:r>
            <a:endParaRPr lang="en-US" dirty="0">
              <a:solidFill>
                <a:srgbClr val="245473"/>
              </a:solidFill>
            </a:endParaRPr>
          </a:p>
        </p:txBody>
      </p:sp>
      <p:grpSp>
        <p:nvGrpSpPr>
          <p:cNvPr id="21" name="Group 23">
            <a:extLst>
              <a:ext uri="{FF2B5EF4-FFF2-40B4-BE49-F238E27FC236}">
                <a16:creationId xmlns:a16="http://schemas.microsoft.com/office/drawing/2014/main" xmlns="" id="{08D87D39-1ADE-4332-B3D1-AE7F2A1B1D50}"/>
              </a:ext>
            </a:extLst>
          </p:cNvPr>
          <p:cNvGrpSpPr/>
          <p:nvPr/>
        </p:nvGrpSpPr>
        <p:grpSpPr>
          <a:xfrm>
            <a:off x="5545485" y="2494870"/>
            <a:ext cx="3209831" cy="3221996"/>
            <a:chOff x="7910165" y="3409753"/>
            <a:chExt cx="8557321" cy="8589752"/>
          </a:xfrm>
        </p:grpSpPr>
        <p:sp>
          <p:nvSpPr>
            <p:cNvPr id="22" name="Freeform 1">
              <a:extLst>
                <a:ext uri="{FF2B5EF4-FFF2-40B4-BE49-F238E27FC236}">
                  <a16:creationId xmlns:a16="http://schemas.microsoft.com/office/drawing/2014/main" xmlns="" id="{E4B66A95-D654-43EA-80E1-38CC105C151F}"/>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p>
          </p:txBody>
        </p:sp>
        <p:sp>
          <p:nvSpPr>
            <p:cNvPr id="35" name="Freeform 3">
              <a:extLst>
                <a:ext uri="{FF2B5EF4-FFF2-40B4-BE49-F238E27FC236}">
                  <a16:creationId xmlns:a16="http://schemas.microsoft.com/office/drawing/2014/main" xmlns="" id="{7442D6C5-DB40-45E0-9B08-31DF2805A2FF}"/>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p>
          </p:txBody>
        </p:sp>
        <p:sp>
          <p:nvSpPr>
            <p:cNvPr id="36" name="Freeform 5">
              <a:extLst>
                <a:ext uri="{FF2B5EF4-FFF2-40B4-BE49-F238E27FC236}">
                  <a16:creationId xmlns:a16="http://schemas.microsoft.com/office/drawing/2014/main" xmlns="" id="{C1BE49CB-7129-4538-ACD6-2A72AE5EC5FC}"/>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p>
          </p:txBody>
        </p:sp>
        <p:sp>
          <p:nvSpPr>
            <p:cNvPr id="37" name="Freeform 6">
              <a:extLst>
                <a:ext uri="{FF2B5EF4-FFF2-40B4-BE49-F238E27FC236}">
                  <a16:creationId xmlns:a16="http://schemas.microsoft.com/office/drawing/2014/main" xmlns="" id="{B3845CA6-FE40-468E-84EF-B544B7323DE2}"/>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p>
          </p:txBody>
        </p:sp>
        <p:sp>
          <p:nvSpPr>
            <p:cNvPr id="38" name="Freeform 9">
              <a:extLst>
                <a:ext uri="{FF2B5EF4-FFF2-40B4-BE49-F238E27FC236}">
                  <a16:creationId xmlns:a16="http://schemas.microsoft.com/office/drawing/2014/main" xmlns="" id="{158A44F4-BE30-4C85-88F1-F39BDC01810A}"/>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p>
          </p:txBody>
        </p:sp>
        <p:sp>
          <p:nvSpPr>
            <p:cNvPr id="39" name="Freeform 11">
              <a:extLst>
                <a:ext uri="{FF2B5EF4-FFF2-40B4-BE49-F238E27FC236}">
                  <a16:creationId xmlns:a16="http://schemas.microsoft.com/office/drawing/2014/main" xmlns="" id="{91485255-9400-4F1C-B104-8CF92688DF50}"/>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p>
          </p:txBody>
        </p:sp>
        <p:sp>
          <p:nvSpPr>
            <p:cNvPr id="40" name="Freeform 13">
              <a:extLst>
                <a:ext uri="{FF2B5EF4-FFF2-40B4-BE49-F238E27FC236}">
                  <a16:creationId xmlns:a16="http://schemas.microsoft.com/office/drawing/2014/main" xmlns="" id="{7703EE77-9BA1-4056-AE15-DBAEBE2071E9}"/>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p>
          </p:txBody>
        </p:sp>
        <p:sp>
          <p:nvSpPr>
            <p:cNvPr id="41" name="Freeform 15">
              <a:extLst>
                <a:ext uri="{FF2B5EF4-FFF2-40B4-BE49-F238E27FC236}">
                  <a16:creationId xmlns:a16="http://schemas.microsoft.com/office/drawing/2014/main" xmlns="" id="{507D20F4-78ED-4CFE-9978-4830087A5916}"/>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p>
          </p:txBody>
        </p:sp>
      </p:grpSp>
      <p:sp>
        <p:nvSpPr>
          <p:cNvPr id="42" name="Oval 14">
            <a:extLst>
              <a:ext uri="{FF2B5EF4-FFF2-40B4-BE49-F238E27FC236}">
                <a16:creationId xmlns:a16="http://schemas.microsoft.com/office/drawing/2014/main" xmlns="" id="{67686590-C4FF-4F64-9189-C9A9E843A6E0}"/>
              </a:ext>
            </a:extLst>
          </p:cNvPr>
          <p:cNvSpPr/>
          <p:nvPr/>
        </p:nvSpPr>
        <p:spPr>
          <a:xfrm>
            <a:off x="7521017" y="4800763"/>
            <a:ext cx="968519" cy="9685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3" name="Freeform 951">
            <a:extLst>
              <a:ext uri="{FF2B5EF4-FFF2-40B4-BE49-F238E27FC236}">
                <a16:creationId xmlns:a16="http://schemas.microsoft.com/office/drawing/2014/main" xmlns="" id="{AAD62CF3-10D6-4A44-A78A-C28D416FC7FE}"/>
              </a:ext>
            </a:extLst>
          </p:cNvPr>
          <p:cNvSpPr>
            <a:spLocks noChangeAspect="1"/>
          </p:cNvSpPr>
          <p:nvPr/>
        </p:nvSpPr>
        <p:spPr bwMode="auto">
          <a:xfrm>
            <a:off x="7801003" y="5078233"/>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GB" sz="1600" dirty="0"/>
          </a:p>
        </p:txBody>
      </p:sp>
      <p:sp>
        <p:nvSpPr>
          <p:cNvPr id="44" name="Oval 13">
            <a:extLst>
              <a:ext uri="{FF2B5EF4-FFF2-40B4-BE49-F238E27FC236}">
                <a16:creationId xmlns:a16="http://schemas.microsoft.com/office/drawing/2014/main" xmlns="" id="{61D4D171-72E0-42A9-A19D-295F8F7D2A48}"/>
              </a:ext>
            </a:extLst>
          </p:cNvPr>
          <p:cNvSpPr/>
          <p:nvPr/>
        </p:nvSpPr>
        <p:spPr>
          <a:xfrm>
            <a:off x="5811265" y="4800763"/>
            <a:ext cx="968519" cy="9685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5" name="Freeform 953">
            <a:extLst>
              <a:ext uri="{FF2B5EF4-FFF2-40B4-BE49-F238E27FC236}">
                <a16:creationId xmlns:a16="http://schemas.microsoft.com/office/drawing/2014/main" xmlns="" id="{9CAF8C97-3835-4EA6-B18D-3646BCC60F4F}"/>
              </a:ext>
            </a:extLst>
          </p:cNvPr>
          <p:cNvSpPr>
            <a:spLocks noChangeAspect="1"/>
          </p:cNvSpPr>
          <p:nvPr/>
        </p:nvSpPr>
        <p:spPr bwMode="auto">
          <a:xfrm>
            <a:off x="6107591" y="5080747"/>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endParaRPr lang="en-GB" sz="1600" dirty="0"/>
          </a:p>
        </p:txBody>
      </p:sp>
      <p:sp>
        <p:nvSpPr>
          <p:cNvPr id="46" name="Oval 16">
            <a:extLst>
              <a:ext uri="{FF2B5EF4-FFF2-40B4-BE49-F238E27FC236}">
                <a16:creationId xmlns:a16="http://schemas.microsoft.com/office/drawing/2014/main" xmlns="" id="{C44F0BA4-6F0A-4E6C-A6E8-F464941BEB25}"/>
              </a:ext>
            </a:extLst>
          </p:cNvPr>
          <p:cNvSpPr/>
          <p:nvPr/>
        </p:nvSpPr>
        <p:spPr>
          <a:xfrm>
            <a:off x="5380968" y="3267529"/>
            <a:ext cx="968519" cy="968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7" name="Freeform 952">
            <a:extLst>
              <a:ext uri="{FF2B5EF4-FFF2-40B4-BE49-F238E27FC236}">
                <a16:creationId xmlns:a16="http://schemas.microsoft.com/office/drawing/2014/main" xmlns="" id="{04F3E5A4-5FCD-4757-ADD3-B1DF04258E9E}"/>
              </a:ext>
            </a:extLst>
          </p:cNvPr>
          <p:cNvSpPr>
            <a:spLocks noChangeAspect="1"/>
          </p:cNvSpPr>
          <p:nvPr/>
        </p:nvSpPr>
        <p:spPr bwMode="auto">
          <a:xfrm>
            <a:off x="5660325" y="3547514"/>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endParaRPr lang="en-GB" sz="1600" dirty="0"/>
          </a:p>
        </p:txBody>
      </p:sp>
      <p:sp>
        <p:nvSpPr>
          <p:cNvPr id="48" name="Oval 15">
            <a:extLst>
              <a:ext uri="{FF2B5EF4-FFF2-40B4-BE49-F238E27FC236}">
                <a16:creationId xmlns:a16="http://schemas.microsoft.com/office/drawing/2014/main" xmlns="" id="{F8841DF6-E419-4E6A-A29B-98DFC9605C1F}"/>
              </a:ext>
            </a:extLst>
          </p:cNvPr>
          <p:cNvSpPr/>
          <p:nvPr/>
        </p:nvSpPr>
        <p:spPr>
          <a:xfrm>
            <a:off x="7951313" y="3267529"/>
            <a:ext cx="968519" cy="9685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9" name="Freeform 282">
            <a:extLst>
              <a:ext uri="{FF2B5EF4-FFF2-40B4-BE49-F238E27FC236}">
                <a16:creationId xmlns:a16="http://schemas.microsoft.com/office/drawing/2014/main" xmlns="" id="{50A92525-86A1-40EA-826E-8D9D1ECA95DB}"/>
              </a:ext>
            </a:extLst>
          </p:cNvPr>
          <p:cNvSpPr>
            <a:spLocks noChangeAspect="1"/>
          </p:cNvSpPr>
          <p:nvPr/>
        </p:nvSpPr>
        <p:spPr bwMode="auto">
          <a:xfrm>
            <a:off x="8231927" y="3546256"/>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endParaRPr lang="en-GB" sz="1600" dirty="0"/>
          </a:p>
        </p:txBody>
      </p:sp>
      <p:sp>
        <p:nvSpPr>
          <p:cNvPr id="50" name="Oval 11">
            <a:extLst>
              <a:ext uri="{FF2B5EF4-FFF2-40B4-BE49-F238E27FC236}">
                <a16:creationId xmlns:a16="http://schemas.microsoft.com/office/drawing/2014/main" xmlns="" id="{0E7235BF-4B45-439B-B230-26D0F9055693}"/>
              </a:ext>
            </a:extLst>
          </p:cNvPr>
          <p:cNvSpPr/>
          <p:nvPr/>
        </p:nvSpPr>
        <p:spPr>
          <a:xfrm>
            <a:off x="6666140" y="2241926"/>
            <a:ext cx="968519" cy="9685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51" name="Freeform 954">
            <a:extLst>
              <a:ext uri="{FF2B5EF4-FFF2-40B4-BE49-F238E27FC236}">
                <a16:creationId xmlns:a16="http://schemas.microsoft.com/office/drawing/2014/main" xmlns="" id="{437B0A34-5B92-4B02-AB25-5D7C3FCDEDA4}"/>
              </a:ext>
            </a:extLst>
          </p:cNvPr>
          <p:cNvSpPr>
            <a:spLocks noChangeAspect="1"/>
          </p:cNvSpPr>
          <p:nvPr/>
        </p:nvSpPr>
        <p:spPr bwMode="auto">
          <a:xfrm>
            <a:off x="6946125" y="2521911"/>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endParaRPr lang="en-GB" sz="1600" dirty="0"/>
          </a:p>
        </p:txBody>
      </p:sp>
      <p:sp>
        <p:nvSpPr>
          <p:cNvPr id="53" name="Subtitle 2">
            <a:extLst>
              <a:ext uri="{FF2B5EF4-FFF2-40B4-BE49-F238E27FC236}">
                <a16:creationId xmlns:a16="http://schemas.microsoft.com/office/drawing/2014/main" xmlns="" id="{4E79DDAA-2D4D-447E-BBAA-883C7E0D2CC9}"/>
              </a:ext>
            </a:extLst>
          </p:cNvPr>
          <p:cNvSpPr txBox="1">
            <a:spLocks/>
          </p:cNvSpPr>
          <p:nvPr/>
        </p:nvSpPr>
        <p:spPr>
          <a:xfrm>
            <a:off x="9118295" y="2974941"/>
            <a:ext cx="1940537"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erivar objetivos adecuados y fijarlos para la plantilla</a:t>
            </a:r>
          </a:p>
        </p:txBody>
      </p:sp>
      <p:sp>
        <p:nvSpPr>
          <p:cNvPr id="55" name="Subtitle 2">
            <a:extLst>
              <a:ext uri="{FF2B5EF4-FFF2-40B4-BE49-F238E27FC236}">
                <a16:creationId xmlns:a16="http://schemas.microsoft.com/office/drawing/2014/main" xmlns="" id="{1D5B14D5-CE68-4515-A196-24A70F7D6D21}"/>
              </a:ext>
            </a:extLst>
          </p:cNvPr>
          <p:cNvSpPr txBox="1">
            <a:spLocks/>
          </p:cNvSpPr>
          <p:nvPr/>
        </p:nvSpPr>
        <p:spPr>
          <a:xfrm>
            <a:off x="3159817" y="3617381"/>
            <a:ext cx="1940537"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ara hacer frente a las necesidades de cambio constante de la empresa</a:t>
            </a:r>
          </a:p>
        </p:txBody>
      </p:sp>
      <p:sp>
        <p:nvSpPr>
          <p:cNvPr id="57" name="Subtitle 2">
            <a:extLst>
              <a:ext uri="{FF2B5EF4-FFF2-40B4-BE49-F238E27FC236}">
                <a16:creationId xmlns:a16="http://schemas.microsoft.com/office/drawing/2014/main" xmlns="" id="{4D6AECCD-62E8-4EFB-94F4-3D92B0888DEE}"/>
              </a:ext>
            </a:extLst>
          </p:cNvPr>
          <p:cNvSpPr txBox="1">
            <a:spLocks/>
          </p:cNvSpPr>
          <p:nvPr/>
        </p:nvSpPr>
        <p:spPr>
          <a:xfrm>
            <a:off x="8682719" y="4951734"/>
            <a:ext cx="2856138"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ganar la confianza necesaria de sus interlocutores internos y externos</a:t>
            </a:r>
          </a:p>
        </p:txBody>
      </p:sp>
      <p:sp>
        <p:nvSpPr>
          <p:cNvPr id="59" name="Subtitle 2">
            <a:extLst>
              <a:ext uri="{FF2B5EF4-FFF2-40B4-BE49-F238E27FC236}">
                <a16:creationId xmlns:a16="http://schemas.microsoft.com/office/drawing/2014/main" xmlns="" id="{DE4507BB-C188-4784-9874-5CDBC3F09A61}"/>
              </a:ext>
            </a:extLst>
          </p:cNvPr>
          <p:cNvSpPr txBox="1">
            <a:spLocks/>
          </p:cNvSpPr>
          <p:nvPr/>
        </p:nvSpPr>
        <p:spPr>
          <a:xfrm>
            <a:off x="3638580" y="5150615"/>
            <a:ext cx="1940537"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formar una cultura empresarial sólida a través de modelos y ejemplos</a:t>
            </a: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2835378" y="1824689"/>
            <a:ext cx="2871068"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especificar y seguir desarrollando la declaración de la misión corporativa de acuerdo con los requisitos del mercado y las demandas de la competencia</a:t>
            </a:r>
          </a:p>
        </p:txBody>
      </p:sp>
    </p:spTree>
    <p:extLst>
      <p:ext uri="{BB962C8B-B14F-4D97-AF65-F5344CB8AC3E}">
        <p14:creationId xmlns:p14="http://schemas.microsoft.com/office/powerpoint/2010/main" val="41746327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18211" y="2842770"/>
            <a:ext cx="9821959" cy="1582271"/>
          </a:xfrm>
        </p:spPr>
        <p:txBody>
          <a:bodyPr/>
          <a:lstStyle/>
          <a:p>
            <a:r>
              <a:rPr lang="en-GB" dirty="0"/>
              <a:t>Reestructuración financiera</a:t>
            </a:r>
          </a:p>
        </p:txBody>
      </p:sp>
    </p:spTree>
    <p:extLst>
      <p:ext uri="{BB962C8B-B14F-4D97-AF65-F5344CB8AC3E}">
        <p14:creationId xmlns:p14="http://schemas.microsoft.com/office/powerpoint/2010/main" val="372005040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1403024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Pfeil: nach rechts 14">
            <a:extLst>
              <a:ext uri="{FF2B5EF4-FFF2-40B4-BE49-F238E27FC236}">
                <a16:creationId xmlns:a16="http://schemas.microsoft.com/office/drawing/2014/main" xmlns="" id="{526B4135-23D6-4306-8400-BB39290940B0}"/>
              </a:ext>
            </a:extLst>
          </p:cNvPr>
          <p:cNvSpPr/>
          <p:nvPr/>
        </p:nvSpPr>
        <p:spPr>
          <a:xfrm rot="17851772">
            <a:off x="5084492" y="3730887"/>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82495" y="821741"/>
            <a:ext cx="8852375" cy="697353"/>
          </a:xfrm>
        </p:spPr>
        <p:txBody>
          <a:bodyPr>
            <a:normAutofit/>
          </a:bodyPr>
          <a:lstStyle/>
          <a:p>
            <a:r>
              <a:rPr lang="en-GB" dirty="0"/>
              <a:t>Fases de la reestructuración financier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9542" y="2016146"/>
            <a:ext cx="3078924" cy="437586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reestructuración financiera se centra en dos objetivos diferentes: </a:t>
            </a:r>
          </a:p>
          <a:p>
            <a:pPr marL="457200" indent="-457200" algn="l">
              <a:lnSpc>
                <a:spcPct val="100000"/>
              </a:lnSpc>
              <a:spcBef>
                <a:spcPts val="600"/>
              </a:spcBef>
              <a:buFont typeface="+mj-lt"/>
              <a:buAutoNum type="arabicPeriod"/>
            </a:pPr>
            <a:r>
              <a:rPr lang="en-GB" sz="2200" b="1" dirty="0">
                <a:solidFill>
                  <a:srgbClr val="245473"/>
                </a:solidFill>
                <a:latin typeface="+mj-lt"/>
                <a:ea typeface="Open Sans Light" panose="020B0306030504020204" pitchFamily="34" charset="0"/>
                <a:cs typeface="Open Sans Light" panose="020B0306030504020204" pitchFamily="34" charset="0"/>
              </a:rPr>
              <a:t>Reestructuración operativa</a:t>
            </a:r>
            <a:r>
              <a:rPr lang="en-GB" sz="2200" dirty="0">
                <a:solidFill>
                  <a:srgbClr val="245473"/>
                </a:solidFill>
                <a:latin typeface="+mj-lt"/>
                <a:ea typeface="Open Sans Light" panose="020B0306030504020204" pitchFamily="34" charset="0"/>
                <a:cs typeface="Open Sans Light" panose="020B0306030504020204" pitchFamily="34" charset="0"/>
              </a:rPr>
              <a:t>: modelo de negocio viable y factible</a:t>
            </a:r>
          </a:p>
          <a:p>
            <a:pPr marL="457200" indent="-457200" algn="l">
              <a:lnSpc>
                <a:spcPct val="100000"/>
              </a:lnSpc>
              <a:spcBef>
                <a:spcPts val="600"/>
              </a:spcBef>
              <a:buFont typeface="+mj-lt"/>
              <a:buAutoNum type="arabicPeriod"/>
            </a:pPr>
            <a:r>
              <a:rPr lang="en-GB" sz="2200" b="1" dirty="0">
                <a:solidFill>
                  <a:srgbClr val="245473"/>
                </a:solidFill>
                <a:latin typeface="+mj-lt"/>
                <a:ea typeface="Open Sans Light" panose="020B0306030504020204" pitchFamily="34" charset="0"/>
                <a:cs typeface="Open Sans Light" panose="020B0306030504020204" pitchFamily="34" charset="0"/>
              </a:rPr>
              <a:t>Reestructuración financiera</a:t>
            </a:r>
            <a:r>
              <a:rPr lang="en-GB" sz="2200" dirty="0">
                <a:solidFill>
                  <a:srgbClr val="245473"/>
                </a:solidFill>
                <a:latin typeface="+mj-lt"/>
                <a:ea typeface="Open Sans Light" panose="020B0306030504020204" pitchFamily="34" charset="0"/>
                <a:cs typeface="Open Sans Light" panose="020B0306030504020204" pitchFamily="34" charset="0"/>
              </a:rPr>
              <a:t>: capacidad de rendimiento/servicio de la deuda</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29" name="Group 19">
            <a:extLst>
              <a:ext uri="{FF2B5EF4-FFF2-40B4-BE49-F238E27FC236}">
                <a16:creationId xmlns:a16="http://schemas.microsoft.com/office/drawing/2014/main" xmlns="" id="{C01314D7-E196-4616-9F38-F4BA4D314895}"/>
              </a:ext>
            </a:extLst>
          </p:cNvPr>
          <p:cNvGrpSpPr/>
          <p:nvPr/>
        </p:nvGrpSpPr>
        <p:grpSpPr>
          <a:xfrm flipH="1">
            <a:off x="4133807" y="3783804"/>
            <a:ext cx="1323408" cy="818094"/>
            <a:chOff x="9147968" y="5153471"/>
            <a:chExt cx="5935704" cy="3932801"/>
          </a:xfrm>
        </p:grpSpPr>
        <p:sp>
          <p:nvSpPr>
            <p:cNvPr id="30" name="Freeform 104">
              <a:extLst>
                <a:ext uri="{FF2B5EF4-FFF2-40B4-BE49-F238E27FC236}">
                  <a16:creationId xmlns:a16="http://schemas.microsoft.com/office/drawing/2014/main" xmlns="" id="{A88E5632-6724-4CC5-B3FB-CEE38EF09E12}"/>
                </a:ext>
              </a:extLst>
            </p:cNvPr>
            <p:cNvSpPr>
              <a:spLocks noEditPoints="1"/>
            </p:cNvSpPr>
            <p:nvPr/>
          </p:nvSpPr>
          <p:spPr bwMode="auto">
            <a:xfrm>
              <a:off x="9271762" y="5861311"/>
              <a:ext cx="1453771" cy="2625042"/>
            </a:xfrm>
            <a:custGeom>
              <a:avLst/>
              <a:gdLst>
                <a:gd name="T0" fmla="*/ 81 w 397"/>
                <a:gd name="T1" fmla="*/ 715 h 715"/>
                <a:gd name="T2" fmla="*/ 397 w 397"/>
                <a:gd name="T3" fmla="*/ 715 h 715"/>
                <a:gd name="T4" fmla="*/ 397 w 397"/>
                <a:gd name="T5" fmla="*/ 358 h 715"/>
                <a:gd name="T6" fmla="*/ 397 w 397"/>
                <a:gd name="T7" fmla="*/ 295 h 715"/>
                <a:gd name="T8" fmla="*/ 397 w 397"/>
                <a:gd name="T9" fmla="*/ 84 h 715"/>
                <a:gd name="T10" fmla="*/ 397 w 397"/>
                <a:gd name="T11" fmla="*/ 52 h 715"/>
                <a:gd name="T12" fmla="*/ 397 w 397"/>
                <a:gd name="T13" fmla="*/ 0 h 715"/>
                <a:gd name="T14" fmla="*/ 265 w 397"/>
                <a:gd name="T15" fmla="*/ 0 h 715"/>
                <a:gd name="T16" fmla="*/ 217 w 397"/>
                <a:gd name="T17" fmla="*/ 10 h 715"/>
                <a:gd name="T18" fmla="*/ 176 w 397"/>
                <a:gd name="T19" fmla="*/ 37 h 715"/>
                <a:gd name="T20" fmla="*/ 37 w 397"/>
                <a:gd name="T21" fmla="*/ 179 h 715"/>
                <a:gd name="T22" fmla="*/ 11 w 397"/>
                <a:gd name="T23" fmla="*/ 221 h 715"/>
                <a:gd name="T24" fmla="*/ 0 w 397"/>
                <a:gd name="T25" fmla="*/ 268 h 715"/>
                <a:gd name="T26" fmla="*/ 0 w 397"/>
                <a:gd name="T27" fmla="*/ 610 h 715"/>
                <a:gd name="T28" fmla="*/ 0 w 397"/>
                <a:gd name="T29" fmla="*/ 702 h 715"/>
                <a:gd name="T30" fmla="*/ 81 w 397"/>
                <a:gd name="T31" fmla="*/ 702 h 715"/>
                <a:gd name="T32" fmla="*/ 81 w 397"/>
                <a:gd name="T33" fmla="*/ 715 h 715"/>
                <a:gd name="T34" fmla="*/ 336 w 397"/>
                <a:gd name="T35" fmla="*/ 295 h 715"/>
                <a:gd name="T36" fmla="*/ 81 w 397"/>
                <a:gd name="T37" fmla="*/ 295 h 715"/>
                <a:gd name="T38" fmla="*/ 81 w 397"/>
                <a:gd name="T39" fmla="*/ 270 h 715"/>
                <a:gd name="T40" fmla="*/ 88 w 397"/>
                <a:gd name="T41" fmla="*/ 252 h 715"/>
                <a:gd name="T42" fmla="*/ 249 w 397"/>
                <a:gd name="T43" fmla="*/ 92 h 715"/>
                <a:gd name="T44" fmla="*/ 267 w 397"/>
                <a:gd name="T45" fmla="*/ 84 h 715"/>
                <a:gd name="T46" fmla="*/ 336 w 397"/>
                <a:gd name="T47" fmla="*/ 84 h 715"/>
                <a:gd name="T48" fmla="*/ 336 w 397"/>
                <a:gd name="T49" fmla="*/ 29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7" h="715">
                  <a:moveTo>
                    <a:pt x="81" y="715"/>
                  </a:moveTo>
                  <a:cubicBezTo>
                    <a:pt x="397" y="715"/>
                    <a:pt x="397" y="715"/>
                    <a:pt x="397" y="715"/>
                  </a:cubicBezTo>
                  <a:cubicBezTo>
                    <a:pt x="397" y="358"/>
                    <a:pt x="397" y="358"/>
                    <a:pt x="397" y="358"/>
                  </a:cubicBezTo>
                  <a:cubicBezTo>
                    <a:pt x="397" y="295"/>
                    <a:pt x="397" y="295"/>
                    <a:pt x="397" y="295"/>
                  </a:cubicBezTo>
                  <a:cubicBezTo>
                    <a:pt x="397" y="84"/>
                    <a:pt x="397" y="84"/>
                    <a:pt x="397" y="84"/>
                  </a:cubicBezTo>
                  <a:cubicBezTo>
                    <a:pt x="397" y="52"/>
                    <a:pt x="397" y="52"/>
                    <a:pt x="397" y="52"/>
                  </a:cubicBezTo>
                  <a:cubicBezTo>
                    <a:pt x="397" y="0"/>
                    <a:pt x="397" y="0"/>
                    <a:pt x="397" y="0"/>
                  </a:cubicBezTo>
                  <a:cubicBezTo>
                    <a:pt x="265" y="0"/>
                    <a:pt x="265" y="0"/>
                    <a:pt x="265" y="0"/>
                  </a:cubicBezTo>
                  <a:cubicBezTo>
                    <a:pt x="251" y="0"/>
                    <a:pt x="235" y="3"/>
                    <a:pt x="217" y="10"/>
                  </a:cubicBezTo>
                  <a:cubicBezTo>
                    <a:pt x="200" y="18"/>
                    <a:pt x="186" y="26"/>
                    <a:pt x="176" y="37"/>
                  </a:cubicBezTo>
                  <a:cubicBezTo>
                    <a:pt x="37" y="179"/>
                    <a:pt x="37" y="179"/>
                    <a:pt x="37" y="179"/>
                  </a:cubicBezTo>
                  <a:cubicBezTo>
                    <a:pt x="27" y="189"/>
                    <a:pt x="18" y="203"/>
                    <a:pt x="11" y="221"/>
                  </a:cubicBezTo>
                  <a:cubicBezTo>
                    <a:pt x="4" y="238"/>
                    <a:pt x="0" y="254"/>
                    <a:pt x="0" y="268"/>
                  </a:cubicBezTo>
                  <a:cubicBezTo>
                    <a:pt x="0" y="610"/>
                    <a:pt x="0" y="610"/>
                    <a:pt x="0" y="610"/>
                  </a:cubicBezTo>
                  <a:cubicBezTo>
                    <a:pt x="0" y="702"/>
                    <a:pt x="0" y="702"/>
                    <a:pt x="0" y="702"/>
                  </a:cubicBezTo>
                  <a:cubicBezTo>
                    <a:pt x="81" y="702"/>
                    <a:pt x="81" y="702"/>
                    <a:pt x="81" y="702"/>
                  </a:cubicBezTo>
                  <a:cubicBezTo>
                    <a:pt x="81" y="715"/>
                    <a:pt x="81" y="715"/>
                    <a:pt x="81" y="715"/>
                  </a:cubicBezTo>
                  <a:moveTo>
                    <a:pt x="336" y="295"/>
                  </a:moveTo>
                  <a:cubicBezTo>
                    <a:pt x="81" y="295"/>
                    <a:pt x="81" y="295"/>
                    <a:pt x="81" y="295"/>
                  </a:cubicBezTo>
                  <a:cubicBezTo>
                    <a:pt x="81" y="270"/>
                    <a:pt x="81" y="270"/>
                    <a:pt x="81" y="270"/>
                  </a:cubicBezTo>
                  <a:cubicBezTo>
                    <a:pt x="82" y="264"/>
                    <a:pt x="85" y="258"/>
                    <a:pt x="88" y="252"/>
                  </a:cubicBezTo>
                  <a:cubicBezTo>
                    <a:pt x="249" y="92"/>
                    <a:pt x="249" y="92"/>
                    <a:pt x="249" y="92"/>
                  </a:cubicBezTo>
                  <a:cubicBezTo>
                    <a:pt x="253" y="88"/>
                    <a:pt x="259" y="85"/>
                    <a:pt x="267" y="84"/>
                  </a:cubicBezTo>
                  <a:cubicBezTo>
                    <a:pt x="336" y="84"/>
                    <a:pt x="336" y="84"/>
                    <a:pt x="336" y="84"/>
                  </a:cubicBezTo>
                  <a:lnTo>
                    <a:pt x="336" y="295"/>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1" name="Freeform 105">
              <a:extLst>
                <a:ext uri="{FF2B5EF4-FFF2-40B4-BE49-F238E27FC236}">
                  <a16:creationId xmlns:a16="http://schemas.microsoft.com/office/drawing/2014/main" xmlns="" id="{531FB429-A8ED-42D6-ACF6-984197945835}"/>
                </a:ext>
              </a:extLst>
            </p:cNvPr>
            <p:cNvSpPr>
              <a:spLocks/>
            </p:cNvSpPr>
            <p:nvPr/>
          </p:nvSpPr>
          <p:spPr bwMode="auto">
            <a:xfrm>
              <a:off x="10719184" y="5153471"/>
              <a:ext cx="4240695" cy="3332882"/>
            </a:xfrm>
            <a:custGeom>
              <a:avLst/>
              <a:gdLst>
                <a:gd name="T0" fmla="*/ 1142 w 1157"/>
                <a:gd name="T1" fmla="*/ 16 h 908"/>
                <a:gd name="T2" fmla="*/ 1105 w 1157"/>
                <a:gd name="T3" fmla="*/ 0 h 908"/>
                <a:gd name="T4" fmla="*/ 53 w 1157"/>
                <a:gd name="T5" fmla="*/ 0 h 908"/>
                <a:gd name="T6" fmla="*/ 16 w 1157"/>
                <a:gd name="T7" fmla="*/ 16 h 908"/>
                <a:gd name="T8" fmla="*/ 0 w 1157"/>
                <a:gd name="T9" fmla="*/ 53 h 908"/>
                <a:gd name="T10" fmla="*/ 0 w 1157"/>
                <a:gd name="T11" fmla="*/ 149 h 908"/>
                <a:gd name="T12" fmla="*/ 0 w 1157"/>
                <a:gd name="T13" fmla="*/ 172 h 908"/>
                <a:gd name="T14" fmla="*/ 0 w 1157"/>
                <a:gd name="T15" fmla="*/ 277 h 908"/>
                <a:gd name="T16" fmla="*/ 0 w 1157"/>
                <a:gd name="T17" fmla="*/ 488 h 908"/>
                <a:gd name="T18" fmla="*/ 0 w 1157"/>
                <a:gd name="T19" fmla="*/ 908 h 908"/>
                <a:gd name="T20" fmla="*/ 106 w 1157"/>
                <a:gd name="T21" fmla="*/ 908 h 908"/>
                <a:gd name="T22" fmla="*/ 421 w 1157"/>
                <a:gd name="T23" fmla="*/ 908 h 908"/>
                <a:gd name="T24" fmla="*/ 947 w 1157"/>
                <a:gd name="T25" fmla="*/ 908 h 908"/>
                <a:gd name="T26" fmla="*/ 1105 w 1157"/>
                <a:gd name="T27" fmla="*/ 908 h 908"/>
                <a:gd name="T28" fmla="*/ 1142 w 1157"/>
                <a:gd name="T29" fmla="*/ 893 h 908"/>
                <a:gd name="T30" fmla="*/ 1157 w 1157"/>
                <a:gd name="T31" fmla="*/ 856 h 908"/>
                <a:gd name="T32" fmla="*/ 1157 w 1157"/>
                <a:gd name="T33" fmla="*/ 53 h 908"/>
                <a:gd name="T34" fmla="*/ 1142 w 1157"/>
                <a:gd name="T35" fmla="*/ 1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7" h="908">
                  <a:moveTo>
                    <a:pt x="1142" y="16"/>
                  </a:moveTo>
                  <a:cubicBezTo>
                    <a:pt x="1131" y="5"/>
                    <a:pt x="1119" y="0"/>
                    <a:pt x="1105" y="0"/>
                  </a:cubicBezTo>
                  <a:cubicBezTo>
                    <a:pt x="53" y="0"/>
                    <a:pt x="53" y="0"/>
                    <a:pt x="53" y="0"/>
                  </a:cubicBezTo>
                  <a:cubicBezTo>
                    <a:pt x="39" y="0"/>
                    <a:pt x="26" y="5"/>
                    <a:pt x="16" y="16"/>
                  </a:cubicBezTo>
                  <a:cubicBezTo>
                    <a:pt x="6" y="26"/>
                    <a:pt x="0" y="39"/>
                    <a:pt x="0" y="53"/>
                  </a:cubicBezTo>
                  <a:cubicBezTo>
                    <a:pt x="0" y="149"/>
                    <a:pt x="0" y="149"/>
                    <a:pt x="0" y="149"/>
                  </a:cubicBezTo>
                  <a:cubicBezTo>
                    <a:pt x="0" y="172"/>
                    <a:pt x="0" y="172"/>
                    <a:pt x="0" y="172"/>
                  </a:cubicBezTo>
                  <a:cubicBezTo>
                    <a:pt x="0" y="277"/>
                    <a:pt x="0" y="277"/>
                    <a:pt x="0" y="277"/>
                  </a:cubicBezTo>
                  <a:cubicBezTo>
                    <a:pt x="0" y="488"/>
                    <a:pt x="0" y="488"/>
                    <a:pt x="0" y="488"/>
                  </a:cubicBezTo>
                  <a:cubicBezTo>
                    <a:pt x="0" y="908"/>
                    <a:pt x="0" y="908"/>
                    <a:pt x="0" y="908"/>
                  </a:cubicBezTo>
                  <a:cubicBezTo>
                    <a:pt x="106" y="908"/>
                    <a:pt x="106" y="908"/>
                    <a:pt x="106" y="908"/>
                  </a:cubicBezTo>
                  <a:cubicBezTo>
                    <a:pt x="421" y="908"/>
                    <a:pt x="421" y="908"/>
                    <a:pt x="421" y="908"/>
                  </a:cubicBezTo>
                  <a:cubicBezTo>
                    <a:pt x="947" y="908"/>
                    <a:pt x="947" y="908"/>
                    <a:pt x="947" y="908"/>
                  </a:cubicBezTo>
                  <a:cubicBezTo>
                    <a:pt x="1105" y="908"/>
                    <a:pt x="1105" y="908"/>
                    <a:pt x="1105" y="908"/>
                  </a:cubicBezTo>
                  <a:cubicBezTo>
                    <a:pt x="1119" y="908"/>
                    <a:pt x="1131" y="903"/>
                    <a:pt x="1142" y="893"/>
                  </a:cubicBezTo>
                  <a:cubicBezTo>
                    <a:pt x="1152" y="882"/>
                    <a:pt x="1157" y="870"/>
                    <a:pt x="1157" y="856"/>
                  </a:cubicBezTo>
                  <a:cubicBezTo>
                    <a:pt x="1157" y="53"/>
                    <a:pt x="1157" y="53"/>
                    <a:pt x="1157" y="53"/>
                  </a:cubicBezTo>
                  <a:cubicBezTo>
                    <a:pt x="1157" y="39"/>
                    <a:pt x="1152" y="26"/>
                    <a:pt x="1142" y="1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2" name="Freeform 106">
              <a:extLst>
                <a:ext uri="{FF2B5EF4-FFF2-40B4-BE49-F238E27FC236}">
                  <a16:creationId xmlns:a16="http://schemas.microsoft.com/office/drawing/2014/main" xmlns="" id="{B443DE50-BA9B-460A-A652-D0F8510F1834}"/>
                </a:ext>
              </a:extLst>
            </p:cNvPr>
            <p:cNvSpPr>
              <a:spLocks/>
            </p:cNvSpPr>
            <p:nvPr/>
          </p:nvSpPr>
          <p:spPr bwMode="auto">
            <a:xfrm>
              <a:off x="10027215" y="7245249"/>
              <a:ext cx="491998" cy="101574"/>
            </a:xfrm>
            <a:custGeom>
              <a:avLst/>
              <a:gdLst>
                <a:gd name="T0" fmla="*/ 134 w 134"/>
                <a:gd name="T1" fmla="*/ 14 h 28"/>
                <a:gd name="T2" fmla="*/ 120 w 134"/>
                <a:gd name="T3" fmla="*/ 28 h 28"/>
                <a:gd name="T4" fmla="*/ 14 w 134"/>
                <a:gd name="T5" fmla="*/ 28 h 28"/>
                <a:gd name="T6" fmla="*/ 0 w 134"/>
                <a:gd name="T7" fmla="*/ 14 h 28"/>
                <a:gd name="T8" fmla="*/ 14 w 134"/>
                <a:gd name="T9" fmla="*/ 0 h 28"/>
                <a:gd name="T10" fmla="*/ 120 w 134"/>
                <a:gd name="T11" fmla="*/ 0 h 28"/>
                <a:gd name="T12" fmla="*/ 134 w 134"/>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134" h="28">
                  <a:moveTo>
                    <a:pt x="134" y="14"/>
                  </a:moveTo>
                  <a:cubicBezTo>
                    <a:pt x="134" y="22"/>
                    <a:pt x="127" y="28"/>
                    <a:pt x="120" y="28"/>
                  </a:cubicBezTo>
                  <a:cubicBezTo>
                    <a:pt x="14" y="28"/>
                    <a:pt x="14" y="28"/>
                    <a:pt x="14" y="28"/>
                  </a:cubicBezTo>
                  <a:cubicBezTo>
                    <a:pt x="6" y="28"/>
                    <a:pt x="0" y="22"/>
                    <a:pt x="0" y="14"/>
                  </a:cubicBezTo>
                  <a:cubicBezTo>
                    <a:pt x="0" y="6"/>
                    <a:pt x="6" y="0"/>
                    <a:pt x="14" y="0"/>
                  </a:cubicBezTo>
                  <a:cubicBezTo>
                    <a:pt x="120" y="0"/>
                    <a:pt x="120" y="0"/>
                    <a:pt x="120" y="0"/>
                  </a:cubicBezTo>
                  <a:cubicBezTo>
                    <a:pt x="127" y="0"/>
                    <a:pt x="134" y="6"/>
                    <a:pt x="134" y="14"/>
                  </a:cubicBezTo>
                  <a:close/>
                </a:path>
              </a:pathLst>
            </a:cu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3" name="Oval 107">
              <a:extLst>
                <a:ext uri="{FF2B5EF4-FFF2-40B4-BE49-F238E27FC236}">
                  <a16:creationId xmlns:a16="http://schemas.microsoft.com/office/drawing/2014/main" xmlns="" id="{50327453-A0C8-4C9C-A723-F5A62964C464}"/>
                </a:ext>
              </a:extLst>
            </p:cNvPr>
            <p:cNvSpPr>
              <a:spLocks noChangeArrowheads="1"/>
            </p:cNvSpPr>
            <p:nvPr/>
          </p:nvSpPr>
          <p:spPr bwMode="auto">
            <a:xfrm>
              <a:off x="11801576" y="5724822"/>
              <a:ext cx="1958466" cy="19648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4" name="Freeform 108">
              <a:extLst>
                <a:ext uri="{FF2B5EF4-FFF2-40B4-BE49-F238E27FC236}">
                  <a16:creationId xmlns:a16="http://schemas.microsoft.com/office/drawing/2014/main" xmlns="" id="{537DCA4C-4D2D-4D1D-AE30-09FF1596835C}"/>
                </a:ext>
              </a:extLst>
            </p:cNvPr>
            <p:cNvSpPr>
              <a:spLocks/>
            </p:cNvSpPr>
            <p:nvPr/>
          </p:nvSpPr>
          <p:spPr bwMode="auto">
            <a:xfrm>
              <a:off x="12217395" y="6143813"/>
              <a:ext cx="1126832" cy="1126832"/>
            </a:xfrm>
            <a:custGeom>
              <a:avLst/>
              <a:gdLst>
                <a:gd name="T0" fmla="*/ 294 w 307"/>
                <a:gd name="T1" fmla="*/ 107 h 307"/>
                <a:gd name="T2" fmla="*/ 201 w 307"/>
                <a:gd name="T3" fmla="*/ 107 h 307"/>
                <a:gd name="T4" fmla="*/ 201 w 307"/>
                <a:gd name="T5" fmla="*/ 13 h 307"/>
                <a:gd name="T6" fmla="*/ 187 w 307"/>
                <a:gd name="T7" fmla="*/ 0 h 307"/>
                <a:gd name="T8" fmla="*/ 120 w 307"/>
                <a:gd name="T9" fmla="*/ 0 h 307"/>
                <a:gd name="T10" fmla="*/ 107 w 307"/>
                <a:gd name="T11" fmla="*/ 13 h 307"/>
                <a:gd name="T12" fmla="*/ 107 w 307"/>
                <a:gd name="T13" fmla="*/ 107 h 307"/>
                <a:gd name="T14" fmla="*/ 14 w 307"/>
                <a:gd name="T15" fmla="*/ 107 h 307"/>
                <a:gd name="T16" fmla="*/ 0 w 307"/>
                <a:gd name="T17" fmla="*/ 120 h 307"/>
                <a:gd name="T18" fmla="*/ 0 w 307"/>
                <a:gd name="T19" fmla="*/ 187 h 307"/>
                <a:gd name="T20" fmla="*/ 14 w 307"/>
                <a:gd name="T21" fmla="*/ 200 h 307"/>
                <a:gd name="T22" fmla="*/ 107 w 307"/>
                <a:gd name="T23" fmla="*/ 200 h 307"/>
                <a:gd name="T24" fmla="*/ 107 w 307"/>
                <a:gd name="T25" fmla="*/ 294 h 307"/>
                <a:gd name="T26" fmla="*/ 120 w 307"/>
                <a:gd name="T27" fmla="*/ 307 h 307"/>
                <a:gd name="T28" fmla="*/ 187 w 307"/>
                <a:gd name="T29" fmla="*/ 307 h 307"/>
                <a:gd name="T30" fmla="*/ 201 w 307"/>
                <a:gd name="T31" fmla="*/ 294 h 307"/>
                <a:gd name="T32" fmla="*/ 201 w 307"/>
                <a:gd name="T33" fmla="*/ 200 h 307"/>
                <a:gd name="T34" fmla="*/ 294 w 307"/>
                <a:gd name="T35" fmla="*/ 200 h 307"/>
                <a:gd name="T36" fmla="*/ 307 w 307"/>
                <a:gd name="T37" fmla="*/ 187 h 307"/>
                <a:gd name="T38" fmla="*/ 307 w 307"/>
                <a:gd name="T39" fmla="*/ 120 h 307"/>
                <a:gd name="T40" fmla="*/ 294 w 307"/>
                <a:gd name="T41" fmla="*/ 1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7" h="307">
                  <a:moveTo>
                    <a:pt x="294" y="107"/>
                  </a:moveTo>
                  <a:cubicBezTo>
                    <a:pt x="201" y="107"/>
                    <a:pt x="201" y="107"/>
                    <a:pt x="201" y="107"/>
                  </a:cubicBezTo>
                  <a:cubicBezTo>
                    <a:pt x="201" y="13"/>
                    <a:pt x="201" y="13"/>
                    <a:pt x="201" y="13"/>
                  </a:cubicBezTo>
                  <a:cubicBezTo>
                    <a:pt x="201" y="6"/>
                    <a:pt x="195" y="0"/>
                    <a:pt x="187" y="0"/>
                  </a:cubicBezTo>
                  <a:cubicBezTo>
                    <a:pt x="120" y="0"/>
                    <a:pt x="120" y="0"/>
                    <a:pt x="120" y="0"/>
                  </a:cubicBezTo>
                  <a:cubicBezTo>
                    <a:pt x="113" y="0"/>
                    <a:pt x="107" y="6"/>
                    <a:pt x="107" y="13"/>
                  </a:cubicBezTo>
                  <a:cubicBezTo>
                    <a:pt x="107" y="107"/>
                    <a:pt x="107" y="107"/>
                    <a:pt x="107" y="107"/>
                  </a:cubicBezTo>
                  <a:cubicBezTo>
                    <a:pt x="14" y="107"/>
                    <a:pt x="14" y="107"/>
                    <a:pt x="14" y="107"/>
                  </a:cubicBezTo>
                  <a:cubicBezTo>
                    <a:pt x="6" y="107"/>
                    <a:pt x="0" y="113"/>
                    <a:pt x="0" y="120"/>
                  </a:cubicBezTo>
                  <a:cubicBezTo>
                    <a:pt x="0" y="187"/>
                    <a:pt x="0" y="187"/>
                    <a:pt x="0" y="187"/>
                  </a:cubicBezTo>
                  <a:cubicBezTo>
                    <a:pt x="0" y="194"/>
                    <a:pt x="6" y="200"/>
                    <a:pt x="14" y="200"/>
                  </a:cubicBezTo>
                  <a:cubicBezTo>
                    <a:pt x="107" y="200"/>
                    <a:pt x="107" y="200"/>
                    <a:pt x="107" y="200"/>
                  </a:cubicBezTo>
                  <a:cubicBezTo>
                    <a:pt x="107" y="294"/>
                    <a:pt x="107" y="294"/>
                    <a:pt x="107" y="294"/>
                  </a:cubicBezTo>
                  <a:cubicBezTo>
                    <a:pt x="107" y="301"/>
                    <a:pt x="113" y="307"/>
                    <a:pt x="120" y="307"/>
                  </a:cubicBezTo>
                  <a:cubicBezTo>
                    <a:pt x="187" y="307"/>
                    <a:pt x="187" y="307"/>
                    <a:pt x="187" y="307"/>
                  </a:cubicBezTo>
                  <a:cubicBezTo>
                    <a:pt x="195" y="307"/>
                    <a:pt x="201" y="301"/>
                    <a:pt x="201" y="294"/>
                  </a:cubicBezTo>
                  <a:cubicBezTo>
                    <a:pt x="201" y="200"/>
                    <a:pt x="201" y="200"/>
                    <a:pt x="201" y="200"/>
                  </a:cubicBezTo>
                  <a:cubicBezTo>
                    <a:pt x="294" y="200"/>
                    <a:pt x="294" y="200"/>
                    <a:pt x="294" y="200"/>
                  </a:cubicBezTo>
                  <a:cubicBezTo>
                    <a:pt x="301" y="200"/>
                    <a:pt x="307" y="194"/>
                    <a:pt x="307" y="187"/>
                  </a:cubicBezTo>
                  <a:cubicBezTo>
                    <a:pt x="307" y="120"/>
                    <a:pt x="307" y="120"/>
                    <a:pt x="307" y="120"/>
                  </a:cubicBezTo>
                  <a:cubicBezTo>
                    <a:pt x="307" y="113"/>
                    <a:pt x="301" y="107"/>
                    <a:pt x="294" y="107"/>
                  </a:cubicBez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2" name="Freeform 109">
              <a:extLst>
                <a:ext uri="{FF2B5EF4-FFF2-40B4-BE49-F238E27FC236}">
                  <a16:creationId xmlns:a16="http://schemas.microsoft.com/office/drawing/2014/main" xmlns="" id="{D21437F2-7788-475D-A847-654AFFC9E153}"/>
                </a:ext>
              </a:extLst>
            </p:cNvPr>
            <p:cNvSpPr>
              <a:spLocks/>
            </p:cNvSpPr>
            <p:nvPr/>
          </p:nvSpPr>
          <p:spPr bwMode="auto">
            <a:xfrm>
              <a:off x="9147968" y="8295902"/>
              <a:ext cx="5935704" cy="190450"/>
            </a:xfrm>
            <a:custGeom>
              <a:avLst/>
              <a:gdLst>
                <a:gd name="T0" fmla="*/ 1620 w 1620"/>
                <a:gd name="T1" fmla="*/ 26 h 52"/>
                <a:gd name="T2" fmla="*/ 1594 w 1620"/>
                <a:gd name="T3" fmla="*/ 52 h 52"/>
                <a:gd name="T4" fmla="*/ 27 w 1620"/>
                <a:gd name="T5" fmla="*/ 52 h 52"/>
                <a:gd name="T6" fmla="*/ 0 w 1620"/>
                <a:gd name="T7" fmla="*/ 26 h 52"/>
                <a:gd name="T8" fmla="*/ 27 w 1620"/>
                <a:gd name="T9" fmla="*/ 0 h 52"/>
                <a:gd name="T10" fmla="*/ 1594 w 1620"/>
                <a:gd name="T11" fmla="*/ 0 h 52"/>
                <a:gd name="T12" fmla="*/ 1620 w 1620"/>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1620" h="52">
                  <a:moveTo>
                    <a:pt x="1620" y="26"/>
                  </a:moveTo>
                  <a:cubicBezTo>
                    <a:pt x="1620" y="41"/>
                    <a:pt x="1608" y="52"/>
                    <a:pt x="1594" y="52"/>
                  </a:cubicBezTo>
                  <a:cubicBezTo>
                    <a:pt x="27" y="52"/>
                    <a:pt x="27" y="52"/>
                    <a:pt x="27" y="52"/>
                  </a:cubicBezTo>
                  <a:cubicBezTo>
                    <a:pt x="12" y="52"/>
                    <a:pt x="0" y="41"/>
                    <a:pt x="0" y="26"/>
                  </a:cubicBezTo>
                  <a:cubicBezTo>
                    <a:pt x="0" y="11"/>
                    <a:pt x="12" y="0"/>
                    <a:pt x="27" y="0"/>
                  </a:cubicBezTo>
                  <a:cubicBezTo>
                    <a:pt x="1594" y="0"/>
                    <a:pt x="1594" y="0"/>
                    <a:pt x="1594" y="0"/>
                  </a:cubicBezTo>
                  <a:cubicBezTo>
                    <a:pt x="1608" y="0"/>
                    <a:pt x="1620" y="11"/>
                    <a:pt x="1620" y="2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4" name="Oval 110">
              <a:extLst>
                <a:ext uri="{FF2B5EF4-FFF2-40B4-BE49-F238E27FC236}">
                  <a16:creationId xmlns:a16="http://schemas.microsoft.com/office/drawing/2014/main" xmlns="" id="{2C2C73FE-884C-46E1-A7CB-4A65BC769DEA}"/>
                </a:ext>
              </a:extLst>
            </p:cNvPr>
            <p:cNvSpPr>
              <a:spLocks noChangeArrowheads="1"/>
            </p:cNvSpPr>
            <p:nvPr/>
          </p:nvSpPr>
          <p:spPr bwMode="auto">
            <a:xfrm>
              <a:off x="10125612" y="7788034"/>
              <a:ext cx="1298238" cy="1298238"/>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6" name="Oval 111">
              <a:extLst>
                <a:ext uri="{FF2B5EF4-FFF2-40B4-BE49-F238E27FC236}">
                  <a16:creationId xmlns:a16="http://schemas.microsoft.com/office/drawing/2014/main" xmlns="" id="{6C78DFA9-BB51-4F51-9F88-BAF6956964B1}"/>
                </a:ext>
              </a:extLst>
            </p:cNvPr>
            <p:cNvSpPr>
              <a:spLocks noChangeArrowheads="1"/>
            </p:cNvSpPr>
            <p:nvPr/>
          </p:nvSpPr>
          <p:spPr bwMode="auto">
            <a:xfrm>
              <a:off x="10325587" y="7991182"/>
              <a:ext cx="895117" cy="895117"/>
            </a:xfrm>
            <a:prstGeom prst="ellipse">
              <a:avLst/>
            </a:prstGeom>
            <a:solidFill>
              <a:srgbClr val="EE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8" name="Oval 112">
              <a:extLst>
                <a:ext uri="{FF2B5EF4-FFF2-40B4-BE49-F238E27FC236}">
                  <a16:creationId xmlns:a16="http://schemas.microsoft.com/office/drawing/2014/main" xmlns="" id="{63DD5497-D8F0-4473-B27A-7281CAA7F43F}"/>
                </a:ext>
              </a:extLst>
            </p:cNvPr>
            <p:cNvSpPr>
              <a:spLocks noChangeArrowheads="1"/>
            </p:cNvSpPr>
            <p:nvPr/>
          </p:nvSpPr>
          <p:spPr bwMode="auto">
            <a:xfrm>
              <a:off x="10627132" y="8289553"/>
              <a:ext cx="295199" cy="295199"/>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0" name="Oval 113">
              <a:extLst>
                <a:ext uri="{FF2B5EF4-FFF2-40B4-BE49-F238E27FC236}">
                  <a16:creationId xmlns:a16="http://schemas.microsoft.com/office/drawing/2014/main" xmlns="" id="{E8BB1ED0-F2B0-4475-95CD-4B2E132753CB}"/>
                </a:ext>
              </a:extLst>
            </p:cNvPr>
            <p:cNvSpPr>
              <a:spLocks noChangeArrowheads="1"/>
            </p:cNvSpPr>
            <p:nvPr/>
          </p:nvSpPr>
          <p:spPr bwMode="auto">
            <a:xfrm>
              <a:off x="13112510" y="7788034"/>
              <a:ext cx="1298238" cy="1298238"/>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2" name="Oval 114">
              <a:extLst>
                <a:ext uri="{FF2B5EF4-FFF2-40B4-BE49-F238E27FC236}">
                  <a16:creationId xmlns:a16="http://schemas.microsoft.com/office/drawing/2014/main" xmlns="" id="{65B2C7D8-E80F-4A1E-817F-D0ED9661347A}"/>
                </a:ext>
              </a:extLst>
            </p:cNvPr>
            <p:cNvSpPr>
              <a:spLocks noChangeArrowheads="1"/>
            </p:cNvSpPr>
            <p:nvPr/>
          </p:nvSpPr>
          <p:spPr bwMode="auto">
            <a:xfrm>
              <a:off x="13309310" y="7991182"/>
              <a:ext cx="898292" cy="895117"/>
            </a:xfrm>
            <a:prstGeom prst="ellipse">
              <a:avLst/>
            </a:prstGeom>
            <a:solidFill>
              <a:srgbClr val="EE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3" name="Oval 115">
              <a:extLst>
                <a:ext uri="{FF2B5EF4-FFF2-40B4-BE49-F238E27FC236}">
                  <a16:creationId xmlns:a16="http://schemas.microsoft.com/office/drawing/2014/main" xmlns="" id="{19159016-EDE8-4FC2-8ED1-3166DAD0A143}"/>
                </a:ext>
              </a:extLst>
            </p:cNvPr>
            <p:cNvSpPr>
              <a:spLocks noChangeArrowheads="1"/>
            </p:cNvSpPr>
            <p:nvPr/>
          </p:nvSpPr>
          <p:spPr bwMode="auto">
            <a:xfrm>
              <a:off x="13610855" y="8289553"/>
              <a:ext cx="295199" cy="295199"/>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grpSp>
      <p:pic>
        <p:nvPicPr>
          <p:cNvPr id="5" name="Grafik 4">
            <a:extLst>
              <a:ext uri="{FF2B5EF4-FFF2-40B4-BE49-F238E27FC236}">
                <a16:creationId xmlns:a16="http://schemas.microsoft.com/office/drawing/2014/main" xmlns="" id="{F6659027-9B9E-47C7-9482-BCBA7AB69EB8}"/>
              </a:ext>
            </a:extLst>
          </p:cNvPr>
          <p:cNvPicPr>
            <a:picLocks noChangeAspect="1"/>
          </p:cNvPicPr>
          <p:nvPr/>
        </p:nvPicPr>
        <p:blipFill rotWithShape="1">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66000"/>
                    </a14:imgEffect>
                  </a14:imgLayer>
                </a14:imgProps>
              </a:ext>
            </a:extLst>
          </a:blip>
          <a:srcRect l="19753" r="18590"/>
          <a:stretch/>
        </p:blipFill>
        <p:spPr>
          <a:xfrm>
            <a:off x="6642778" y="3637547"/>
            <a:ext cx="1219222" cy="1038153"/>
          </a:xfrm>
          <a:prstGeom prst="rect">
            <a:avLst/>
          </a:prstGeom>
        </p:spPr>
      </p:pic>
      <p:pic>
        <p:nvPicPr>
          <p:cNvPr id="6" name="Grafik 5">
            <a:extLst>
              <a:ext uri="{FF2B5EF4-FFF2-40B4-BE49-F238E27FC236}">
                <a16:creationId xmlns:a16="http://schemas.microsoft.com/office/drawing/2014/main" xmlns="" id="{6AC7452E-227D-489E-96C1-B9145CEE3187}"/>
              </a:ext>
            </a:extLst>
          </p:cNvPr>
          <p:cNvPicPr>
            <a:picLocks noChangeAspect="1"/>
          </p:cNvPicPr>
          <p:nvPr/>
        </p:nvPicPr>
        <p:blipFill>
          <a:blip r:embed="rId9">
            <a:duotone>
              <a:schemeClr val="accent1">
                <a:shade val="45000"/>
                <a:satMod val="135000"/>
              </a:schemeClr>
              <a:prstClr val="white"/>
            </a:duotone>
          </a:blip>
          <a:srcRect/>
          <a:stretch/>
        </p:blipFill>
        <p:spPr>
          <a:xfrm>
            <a:off x="9153592" y="3637547"/>
            <a:ext cx="1139920" cy="1110608"/>
          </a:xfrm>
          <a:prstGeom prst="rect">
            <a:avLst/>
          </a:prstGeom>
        </p:spPr>
      </p:pic>
      <p:cxnSp>
        <p:nvCxnSpPr>
          <p:cNvPr id="8" name="Gerade Verbindung mit Pfeil 7">
            <a:extLst>
              <a:ext uri="{FF2B5EF4-FFF2-40B4-BE49-F238E27FC236}">
                <a16:creationId xmlns:a16="http://schemas.microsoft.com/office/drawing/2014/main" xmlns="" id="{73B8AE03-49A9-4F59-838E-1EF64A26DD63}"/>
              </a:ext>
            </a:extLst>
          </p:cNvPr>
          <p:cNvCxnSpPr>
            <a:cxnSpLocks/>
          </p:cNvCxnSpPr>
          <p:nvPr/>
        </p:nvCxnSpPr>
        <p:spPr>
          <a:xfrm>
            <a:off x="3907404" y="5784348"/>
            <a:ext cx="7156286" cy="0"/>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xmlns="" id="{5C0FD038-C346-4D97-8C74-3ABB483EB51E}"/>
              </a:ext>
            </a:extLst>
          </p:cNvPr>
          <p:cNvCxnSpPr>
            <a:cxnSpLocks/>
          </p:cNvCxnSpPr>
          <p:nvPr/>
        </p:nvCxnSpPr>
        <p:spPr>
          <a:xfrm>
            <a:off x="3960565" y="2430825"/>
            <a:ext cx="7753380" cy="0"/>
          </a:xfrm>
          <a:prstGeom prst="straightConnector1">
            <a:avLst/>
          </a:prstGeom>
          <a:ln w="412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xmlns="" id="{984E3A67-43DB-47D9-B727-7D54DC663C84}"/>
              </a:ext>
            </a:extLst>
          </p:cNvPr>
          <p:cNvSpPr txBox="1">
            <a:spLocks/>
          </p:cNvSpPr>
          <p:nvPr/>
        </p:nvSpPr>
        <p:spPr>
          <a:xfrm>
            <a:off x="3913135" y="1781099"/>
            <a:ext cx="7655935"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rgbClr val="F95C2C"/>
                </a:solidFill>
                <a:latin typeface="+mj-lt"/>
                <a:ea typeface="Lato Light" panose="020F0502020204030203" pitchFamily="34" charset="0"/>
                <a:cs typeface="Mukta ExtraLight" panose="020B0000000000000000" pitchFamily="34" charset="77"/>
              </a:rPr>
              <a:t>Reestructuración operativa: </a:t>
            </a:r>
            <a:r>
              <a:rPr lang="en-GB" sz="2000" dirty="0">
                <a:solidFill>
                  <a:srgbClr val="F95C2C"/>
                </a:solidFill>
                <a:latin typeface="+mj-lt"/>
                <a:ea typeface="Lato Light" panose="020F0502020204030203" pitchFamily="34" charset="0"/>
                <a:cs typeface="Mukta ExtraLight" panose="020B0000000000000000" pitchFamily="34" charset="77"/>
              </a:rPr>
              <a:t>Desarrollar un modelo de negocio sostenible y viable</a:t>
            </a:r>
            <a:endParaRPr lang="en-GB" sz="2000" b="1" dirty="0">
              <a:solidFill>
                <a:srgbClr val="F95C2C"/>
              </a:solidFill>
              <a:latin typeface="+mj-lt"/>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xmlns="" id="{9B2C6765-DF53-4D32-8DA8-6318ED402927}"/>
              </a:ext>
            </a:extLst>
          </p:cNvPr>
          <p:cNvSpPr txBox="1">
            <a:spLocks/>
          </p:cNvSpPr>
          <p:nvPr/>
        </p:nvSpPr>
        <p:spPr>
          <a:xfrm>
            <a:off x="3907403" y="5850063"/>
            <a:ext cx="7156285"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b="1" dirty="0">
                <a:solidFill>
                  <a:srgbClr val="F95C2C"/>
                </a:solidFill>
                <a:latin typeface="+mj-lt"/>
                <a:ea typeface="Lato Light" panose="020F0502020204030203" pitchFamily="34" charset="0"/>
                <a:cs typeface="Mukta ExtraLight" panose="020B0000000000000000" pitchFamily="34" charset="77"/>
              </a:rPr>
              <a:t>Reestructuración financiera: </a:t>
            </a:r>
            <a:r>
              <a:rPr lang="en-GB" sz="1800" dirty="0">
                <a:solidFill>
                  <a:srgbClr val="F95C2C"/>
                </a:solidFill>
                <a:latin typeface="+mj-lt"/>
                <a:ea typeface="Lato Light" panose="020F0502020204030203" pitchFamily="34" charset="0"/>
                <a:cs typeface="Mukta ExtraLight" panose="020B0000000000000000" pitchFamily="34" charset="77"/>
              </a:rPr>
              <a:t>Garantizar la capacidad de generar rendimientos y el servicio de la deuda</a:t>
            </a:r>
          </a:p>
        </p:txBody>
      </p:sp>
      <p:sp>
        <p:nvSpPr>
          <p:cNvPr id="10" name="Rechteck 9">
            <a:extLst>
              <a:ext uri="{FF2B5EF4-FFF2-40B4-BE49-F238E27FC236}">
                <a16:creationId xmlns:a16="http://schemas.microsoft.com/office/drawing/2014/main" xmlns="" id="{A06627C5-88FD-435D-BB87-B92048E4396C}"/>
              </a:ext>
            </a:extLst>
          </p:cNvPr>
          <p:cNvSpPr/>
          <p:nvPr/>
        </p:nvSpPr>
        <p:spPr>
          <a:xfrm>
            <a:off x="3908022" y="5215796"/>
            <a:ext cx="2291038"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Evitar el peligro agudo de insolvencia</a:t>
            </a:r>
            <a:endParaRPr lang="en-GB" sz="1600" dirty="0">
              <a:solidFill>
                <a:schemeClr val="tx2"/>
              </a:solidFill>
            </a:endParaRPr>
          </a:p>
        </p:txBody>
      </p:sp>
      <p:sp>
        <p:nvSpPr>
          <p:cNvPr id="27" name="Rechteck 26">
            <a:extLst>
              <a:ext uri="{FF2B5EF4-FFF2-40B4-BE49-F238E27FC236}">
                <a16:creationId xmlns:a16="http://schemas.microsoft.com/office/drawing/2014/main" xmlns="" id="{EF53EEEF-79F1-4264-B7C1-76A10BA92A62}"/>
              </a:ext>
            </a:extLst>
          </p:cNvPr>
          <p:cNvSpPr/>
          <p:nvPr/>
        </p:nvSpPr>
        <p:spPr>
          <a:xfrm>
            <a:off x="6405338" y="5214192"/>
            <a:ext cx="2326836"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Financiación de la fase de reestructuración</a:t>
            </a:r>
            <a:endParaRPr lang="en-GB" sz="1600" dirty="0">
              <a:solidFill>
                <a:schemeClr val="tx2"/>
              </a:solidFill>
            </a:endParaRPr>
          </a:p>
        </p:txBody>
      </p:sp>
      <p:sp>
        <p:nvSpPr>
          <p:cNvPr id="28" name="Rechteck 27">
            <a:extLst>
              <a:ext uri="{FF2B5EF4-FFF2-40B4-BE49-F238E27FC236}">
                <a16:creationId xmlns:a16="http://schemas.microsoft.com/office/drawing/2014/main" xmlns="" id="{30C7381B-19C1-4ECB-BEA3-DE9F770B261C}"/>
              </a:ext>
            </a:extLst>
          </p:cNvPr>
          <p:cNvSpPr/>
          <p:nvPr/>
        </p:nvSpPr>
        <p:spPr>
          <a:xfrm>
            <a:off x="8938453" y="5216098"/>
            <a:ext cx="2424004"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Reestructuración sostenible de la financiación</a:t>
            </a:r>
            <a:endParaRPr lang="en-GB" sz="1600" dirty="0">
              <a:solidFill>
                <a:schemeClr val="tx2"/>
              </a:solidFill>
            </a:endParaRPr>
          </a:p>
        </p:txBody>
      </p:sp>
      <p:sp>
        <p:nvSpPr>
          <p:cNvPr id="35" name="Rechteck 34">
            <a:extLst>
              <a:ext uri="{FF2B5EF4-FFF2-40B4-BE49-F238E27FC236}">
                <a16:creationId xmlns:a16="http://schemas.microsoft.com/office/drawing/2014/main" xmlns="" id="{8A4B0004-94E4-4748-A797-4D663671AD6C}"/>
              </a:ext>
            </a:extLst>
          </p:cNvPr>
          <p:cNvSpPr/>
          <p:nvPr/>
        </p:nvSpPr>
        <p:spPr>
          <a:xfrm>
            <a:off x="4547547" y="2580039"/>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Medidas a corto plazo</a:t>
            </a:r>
            <a:endParaRPr lang="en-GB" sz="1600" dirty="0">
              <a:solidFill>
                <a:schemeClr val="tx2"/>
              </a:solidFill>
            </a:endParaRPr>
          </a:p>
        </p:txBody>
      </p:sp>
      <p:sp>
        <p:nvSpPr>
          <p:cNvPr id="36" name="Rechteck 35">
            <a:extLst>
              <a:ext uri="{FF2B5EF4-FFF2-40B4-BE49-F238E27FC236}">
                <a16:creationId xmlns:a16="http://schemas.microsoft.com/office/drawing/2014/main" xmlns="" id="{CC71196F-2C0B-4DCD-9E00-FC75CF1AD994}"/>
              </a:ext>
            </a:extLst>
          </p:cNvPr>
          <p:cNvSpPr/>
          <p:nvPr/>
        </p:nvSpPr>
        <p:spPr>
          <a:xfrm>
            <a:off x="6978380" y="2578435"/>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Medidas a medio y largo plazo</a:t>
            </a:r>
            <a:endParaRPr lang="en-GB" sz="1600" dirty="0">
              <a:solidFill>
                <a:schemeClr val="tx2"/>
              </a:solidFill>
            </a:endParaRPr>
          </a:p>
        </p:txBody>
      </p:sp>
      <p:sp>
        <p:nvSpPr>
          <p:cNvPr id="37" name="Rechteck 36">
            <a:extLst>
              <a:ext uri="{FF2B5EF4-FFF2-40B4-BE49-F238E27FC236}">
                <a16:creationId xmlns:a16="http://schemas.microsoft.com/office/drawing/2014/main" xmlns="" id="{4A73DF15-608B-4BC8-98BD-F90F6B33AD29}"/>
              </a:ext>
            </a:extLst>
          </p:cNvPr>
          <p:cNvSpPr/>
          <p:nvPr/>
        </p:nvSpPr>
        <p:spPr>
          <a:xfrm>
            <a:off x="9409213" y="2575227"/>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Control y seguimiento</a:t>
            </a:r>
            <a:endParaRPr lang="en-GB" sz="1600" dirty="0">
              <a:solidFill>
                <a:schemeClr val="tx2"/>
              </a:solidFill>
            </a:endParaRPr>
          </a:p>
        </p:txBody>
      </p:sp>
      <p:sp>
        <p:nvSpPr>
          <p:cNvPr id="39" name="Pfeil: nach rechts 38">
            <a:extLst>
              <a:ext uri="{FF2B5EF4-FFF2-40B4-BE49-F238E27FC236}">
                <a16:creationId xmlns:a16="http://schemas.microsoft.com/office/drawing/2014/main" xmlns="" id="{6F8CC65D-E60B-48B9-B839-B5188A172BAD}"/>
              </a:ext>
            </a:extLst>
          </p:cNvPr>
          <p:cNvSpPr/>
          <p:nvPr/>
        </p:nvSpPr>
        <p:spPr>
          <a:xfrm rot="17851772">
            <a:off x="7469346" y="3806219"/>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0" name="Pfeil: nach rechts 39">
            <a:extLst>
              <a:ext uri="{FF2B5EF4-FFF2-40B4-BE49-F238E27FC236}">
                <a16:creationId xmlns:a16="http://schemas.microsoft.com/office/drawing/2014/main" xmlns="" id="{6CF10598-6013-4248-ACD6-86B7163CCC06}"/>
              </a:ext>
            </a:extLst>
          </p:cNvPr>
          <p:cNvSpPr/>
          <p:nvPr/>
        </p:nvSpPr>
        <p:spPr>
          <a:xfrm rot="17851772">
            <a:off x="9952922" y="3844148"/>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Tree>
    <p:extLst>
      <p:ext uri="{BB962C8B-B14F-4D97-AF65-F5344CB8AC3E}">
        <p14:creationId xmlns:p14="http://schemas.microsoft.com/office/powerpoint/2010/main" val="33676010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2558" y="512206"/>
            <a:ext cx="8852375" cy="697353"/>
          </a:xfrm>
        </p:spPr>
        <p:txBody>
          <a:bodyPr>
            <a:normAutofit/>
          </a:bodyPr>
          <a:lstStyle/>
          <a:p>
            <a:r>
              <a:rPr lang="en-GB" dirty="0"/>
              <a:t>El dilema de los acreedor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40599" y="1922585"/>
            <a:ext cx="3919829" cy="471441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us acreedores se encuentran en un dilema que puede aprovechar para reestructurar sus finanzas:</a:t>
            </a:r>
            <a:endParaRPr lang="en-US" sz="2200"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 sus acreedores no están dispuestos a hacer concesiones, aumenta el riesgo de insolvencia o liquidación, con el consiguiente riesgo de perder los créditos</a:t>
            </a:r>
          </a:p>
          <a:p>
            <a:pPr algn="l">
              <a:lnSpc>
                <a:spcPct val="100000"/>
              </a:lnSpc>
              <a:spcBef>
                <a:spcPts val="600"/>
              </a:spcBef>
            </a:pPr>
            <a:endParaRPr lang="en-GB" sz="2200" b="1"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b="1" dirty="0">
                <a:solidFill>
                  <a:srgbClr val="245473"/>
                </a:solidFill>
                <a:latin typeface="+mj-lt"/>
                <a:ea typeface="Open Sans Light" panose="020B0306030504020204" pitchFamily="34" charset="0"/>
                <a:cs typeface="Open Sans Light" panose="020B0306030504020204" pitchFamily="34" charset="0"/>
              </a:rPr>
              <a:t>En principio, los acreedores deberían tener interés en apoyarle en el proceso de reestructuración</a:t>
            </a:r>
          </a:p>
        </p:txBody>
      </p:sp>
      <p:grpSp>
        <p:nvGrpSpPr>
          <p:cNvPr id="5" name="Gruppieren 4">
            <a:extLst>
              <a:ext uri="{FF2B5EF4-FFF2-40B4-BE49-F238E27FC236}">
                <a16:creationId xmlns:a16="http://schemas.microsoft.com/office/drawing/2014/main" xmlns="" id="{E51342ED-8A45-4D86-AC3E-529B7ADF7128}"/>
              </a:ext>
            </a:extLst>
          </p:cNvPr>
          <p:cNvGrpSpPr/>
          <p:nvPr/>
        </p:nvGrpSpPr>
        <p:grpSpPr>
          <a:xfrm>
            <a:off x="4662123" y="2473203"/>
            <a:ext cx="2105192" cy="3033974"/>
            <a:chOff x="4765425" y="2047169"/>
            <a:chExt cx="2577332" cy="3673338"/>
          </a:xfrm>
        </p:grpSpPr>
        <p:sp>
          <p:nvSpPr>
            <p:cNvPr id="38" name="Shape">
              <a:extLst>
                <a:ext uri="{FF2B5EF4-FFF2-40B4-BE49-F238E27FC236}">
                  <a16:creationId xmlns:a16="http://schemas.microsoft.com/office/drawing/2014/main" xmlns="" id="{2C666C68-4EB9-46F0-977A-F7C78EDC73D0}"/>
                </a:ext>
              </a:extLst>
            </p:cNvPr>
            <p:cNvSpPr/>
            <p:nvPr/>
          </p:nvSpPr>
          <p:spPr>
            <a:xfrm>
              <a:off x="5196900" y="3638443"/>
              <a:ext cx="1898949" cy="364081"/>
            </a:xfrm>
            <a:custGeom>
              <a:avLst/>
              <a:gdLst/>
              <a:ahLst/>
              <a:cxnLst>
                <a:cxn ang="0">
                  <a:pos x="wd2" y="hd2"/>
                </a:cxn>
                <a:cxn ang="5400000">
                  <a:pos x="wd2" y="hd2"/>
                </a:cxn>
                <a:cxn ang="10800000">
                  <a:pos x="wd2" y="hd2"/>
                </a:cxn>
                <a:cxn ang="16200000">
                  <a:pos x="wd2" y="hd2"/>
                </a:cxn>
              </a:cxnLst>
              <a:rect l="0" t="0" r="r" b="b"/>
              <a:pathLst>
                <a:path w="21600" h="21545" extrusionOk="0">
                  <a:moveTo>
                    <a:pt x="19460" y="68"/>
                  </a:moveTo>
                  <a:cubicBezTo>
                    <a:pt x="19219" y="-55"/>
                    <a:pt x="18993" y="-8"/>
                    <a:pt x="18721" y="192"/>
                  </a:cubicBezTo>
                  <a:cubicBezTo>
                    <a:pt x="18449" y="393"/>
                    <a:pt x="18130" y="747"/>
                    <a:pt x="17711" y="1210"/>
                  </a:cubicBezTo>
                  <a:lnTo>
                    <a:pt x="0" y="20943"/>
                  </a:lnTo>
                  <a:cubicBezTo>
                    <a:pt x="141" y="20936"/>
                    <a:pt x="240" y="20901"/>
                    <a:pt x="411" y="20901"/>
                  </a:cubicBezTo>
                  <a:lnTo>
                    <a:pt x="423" y="20901"/>
                  </a:lnTo>
                  <a:lnTo>
                    <a:pt x="19995" y="20901"/>
                  </a:lnTo>
                  <a:cubicBezTo>
                    <a:pt x="20766" y="20901"/>
                    <a:pt x="21185" y="20991"/>
                    <a:pt x="21600" y="21545"/>
                  </a:cubicBezTo>
                  <a:lnTo>
                    <a:pt x="21261" y="13257"/>
                  </a:lnTo>
                  <a:cubicBezTo>
                    <a:pt x="21170" y="11043"/>
                    <a:pt x="21104" y="9381"/>
                    <a:pt x="21029" y="8002"/>
                  </a:cubicBezTo>
                  <a:cubicBezTo>
                    <a:pt x="20954" y="6623"/>
                    <a:pt x="20869" y="5527"/>
                    <a:pt x="20750" y="4430"/>
                  </a:cubicBezTo>
                  <a:cubicBezTo>
                    <a:pt x="20607" y="3242"/>
                    <a:pt x="20419" y="2246"/>
                    <a:pt x="20199" y="1501"/>
                  </a:cubicBezTo>
                  <a:cubicBezTo>
                    <a:pt x="19978" y="756"/>
                    <a:pt x="19726" y="263"/>
                    <a:pt x="19460" y="68"/>
                  </a:cubicBezTo>
                  <a:close/>
                </a:path>
              </a:pathLst>
            </a:custGeom>
            <a:solidFill>
              <a:schemeClr val="accent1">
                <a:lumMod val="75000"/>
                <a:lumOff val="2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Rectangle">
              <a:extLst>
                <a:ext uri="{FF2B5EF4-FFF2-40B4-BE49-F238E27FC236}">
                  <a16:creationId xmlns:a16="http://schemas.microsoft.com/office/drawing/2014/main" xmlns="" id="{E080E570-7466-45DD-8B3F-EE4806BEBD33}"/>
                </a:ext>
              </a:extLst>
            </p:cNvPr>
            <p:cNvSpPr/>
            <p:nvPr/>
          </p:nvSpPr>
          <p:spPr>
            <a:xfrm rot="21300000">
              <a:off x="5469386" y="3462497"/>
              <a:ext cx="840003" cy="1459705"/>
            </a:xfrm>
            <a:prstGeom prst="rect">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2" name="Rectangle">
              <a:extLst>
                <a:ext uri="{FF2B5EF4-FFF2-40B4-BE49-F238E27FC236}">
                  <a16:creationId xmlns:a16="http://schemas.microsoft.com/office/drawing/2014/main" xmlns="" id="{395BA5CF-D296-4ED2-9FAB-51C2FA99DD3E}"/>
                </a:ext>
              </a:extLst>
            </p:cNvPr>
            <p:cNvSpPr/>
            <p:nvPr/>
          </p:nvSpPr>
          <p:spPr>
            <a:xfrm rot="300000">
              <a:off x="5651285" y="3383871"/>
              <a:ext cx="840003" cy="1459705"/>
            </a:xfrm>
            <a:prstGeom prst="rect">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Rectangle">
              <a:extLst>
                <a:ext uri="{FF2B5EF4-FFF2-40B4-BE49-F238E27FC236}">
                  <a16:creationId xmlns:a16="http://schemas.microsoft.com/office/drawing/2014/main" xmlns="" id="{8C4174BB-7899-4E19-9F0F-3F282A3BB299}"/>
                </a:ext>
              </a:extLst>
            </p:cNvPr>
            <p:cNvSpPr/>
            <p:nvPr/>
          </p:nvSpPr>
          <p:spPr>
            <a:xfrm rot="900000">
              <a:off x="5944497" y="3638692"/>
              <a:ext cx="840003" cy="1459705"/>
            </a:xfrm>
            <a:prstGeom prst="rect">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Rounded Rectangle">
              <a:extLst>
                <a:ext uri="{FF2B5EF4-FFF2-40B4-BE49-F238E27FC236}">
                  <a16:creationId xmlns:a16="http://schemas.microsoft.com/office/drawing/2014/main" xmlns="" id="{2EF0D573-3266-4DE3-AB28-D1CAD05E9E4C}"/>
                </a:ext>
              </a:extLst>
            </p:cNvPr>
            <p:cNvSpPr/>
            <p:nvPr/>
          </p:nvSpPr>
          <p:spPr>
            <a:xfrm>
              <a:off x="4969009" y="4040432"/>
              <a:ext cx="2247278" cy="1680075"/>
            </a:xfrm>
            <a:prstGeom prst="roundRect">
              <a:avLst>
                <a:gd name="adj" fmla="val 10233"/>
              </a:avLst>
            </a:prstGeom>
            <a:solidFill>
              <a:schemeClr val="accent1">
                <a:lumMod val="75000"/>
                <a:lumOff val="2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Rounded Rectangle">
              <a:extLst>
                <a:ext uri="{FF2B5EF4-FFF2-40B4-BE49-F238E27FC236}">
                  <a16:creationId xmlns:a16="http://schemas.microsoft.com/office/drawing/2014/main" xmlns="" id="{25054F65-240C-403B-97A3-300CF385B7EC}"/>
                </a:ext>
              </a:extLst>
            </p:cNvPr>
            <p:cNvSpPr/>
            <p:nvPr/>
          </p:nvSpPr>
          <p:spPr>
            <a:xfrm>
              <a:off x="6330334" y="4601173"/>
              <a:ext cx="1012423" cy="558595"/>
            </a:xfrm>
            <a:prstGeom prst="roundRect">
              <a:avLst>
                <a:gd name="adj" fmla="val 10476"/>
              </a:avLst>
            </a:prstGeom>
            <a:solidFill>
              <a:schemeClr val="accent1">
                <a:lumMod val="90000"/>
                <a:lumOff val="10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Circle">
              <a:extLst>
                <a:ext uri="{FF2B5EF4-FFF2-40B4-BE49-F238E27FC236}">
                  <a16:creationId xmlns:a16="http://schemas.microsoft.com/office/drawing/2014/main" xmlns="" id="{01E3B244-ABBD-464C-953B-CFAB86881A4B}"/>
                </a:ext>
              </a:extLst>
            </p:cNvPr>
            <p:cNvSpPr/>
            <p:nvPr/>
          </p:nvSpPr>
          <p:spPr>
            <a:xfrm>
              <a:off x="6438128" y="4798065"/>
              <a:ext cx="164806" cy="164806"/>
            </a:xfrm>
            <a:prstGeom prst="ellipse">
              <a:avLst/>
            </a:prstGeom>
            <a:solidFill>
              <a:schemeClr val="bg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Circle">
              <a:extLst>
                <a:ext uri="{FF2B5EF4-FFF2-40B4-BE49-F238E27FC236}">
                  <a16:creationId xmlns:a16="http://schemas.microsoft.com/office/drawing/2014/main" xmlns="" id="{A1C5F171-541E-4CE1-AEC8-7A2BD0CD2891}"/>
                </a:ext>
              </a:extLst>
            </p:cNvPr>
            <p:cNvSpPr/>
            <p:nvPr/>
          </p:nvSpPr>
          <p:spPr>
            <a:xfrm>
              <a:off x="6505170" y="2842549"/>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8" name="Shape">
              <a:extLst>
                <a:ext uri="{FF2B5EF4-FFF2-40B4-BE49-F238E27FC236}">
                  <a16:creationId xmlns:a16="http://schemas.microsoft.com/office/drawing/2014/main" xmlns="" id="{FEDDC97B-A6A7-4F9A-9C33-AF855638D3E3}"/>
                </a:ext>
              </a:extLst>
            </p:cNvPr>
            <p:cNvSpPr/>
            <p:nvPr/>
          </p:nvSpPr>
          <p:spPr>
            <a:xfrm>
              <a:off x="6536982" y="2873083"/>
              <a:ext cx="390292" cy="392850"/>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9" name="Shape">
              <a:extLst>
                <a:ext uri="{FF2B5EF4-FFF2-40B4-BE49-F238E27FC236}">
                  <a16:creationId xmlns:a16="http://schemas.microsoft.com/office/drawing/2014/main" xmlns="" id="{CE5E73C0-A29C-4EDB-BB94-6918E43FB8DD}"/>
                </a:ext>
              </a:extLst>
            </p:cNvPr>
            <p:cNvSpPr/>
            <p:nvPr/>
          </p:nvSpPr>
          <p:spPr>
            <a:xfrm>
              <a:off x="6622808" y="2934529"/>
              <a:ext cx="206431" cy="271195"/>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50" name="Shape">
              <a:extLst>
                <a:ext uri="{FF2B5EF4-FFF2-40B4-BE49-F238E27FC236}">
                  <a16:creationId xmlns:a16="http://schemas.microsoft.com/office/drawing/2014/main" xmlns="" id="{5BC00CE9-EA6D-4243-9914-96074548DBD7}"/>
                </a:ext>
              </a:extLst>
            </p:cNvPr>
            <p:cNvSpPr/>
            <p:nvPr/>
          </p:nvSpPr>
          <p:spPr>
            <a:xfrm>
              <a:off x="4765425" y="3442807"/>
              <a:ext cx="453965" cy="453966"/>
            </a:xfrm>
            <a:custGeom>
              <a:avLst/>
              <a:gdLst/>
              <a:ahLst/>
              <a:cxnLst>
                <a:cxn ang="0">
                  <a:pos x="wd2" y="hd2"/>
                </a:cxn>
                <a:cxn ang="5400000">
                  <a:pos x="wd2" y="hd2"/>
                </a:cxn>
                <a:cxn ang="10800000">
                  <a:pos x="wd2" y="hd2"/>
                </a:cxn>
                <a:cxn ang="16200000">
                  <a:pos x="wd2" y="hd2"/>
                </a:cxn>
              </a:cxnLst>
              <a:rect l="0" t="0" r="r" b="b"/>
              <a:pathLst>
                <a:path w="19144" h="19144" extrusionOk="0">
                  <a:moveTo>
                    <a:pt x="12845" y="580"/>
                  </a:moveTo>
                  <a:cubicBezTo>
                    <a:pt x="7879" y="-1228"/>
                    <a:pt x="2387" y="1333"/>
                    <a:pt x="580" y="6299"/>
                  </a:cubicBezTo>
                  <a:cubicBezTo>
                    <a:pt x="-1228" y="11265"/>
                    <a:pt x="1333" y="16757"/>
                    <a:pt x="6299" y="18564"/>
                  </a:cubicBezTo>
                  <a:cubicBezTo>
                    <a:pt x="11265" y="20372"/>
                    <a:pt x="16757" y="17811"/>
                    <a:pt x="18564" y="12845"/>
                  </a:cubicBezTo>
                  <a:cubicBezTo>
                    <a:pt x="20372" y="7879"/>
                    <a:pt x="17811" y="2387"/>
                    <a:pt x="12845" y="580"/>
                  </a:cubicBezTo>
                  <a:close/>
                </a:path>
              </a:pathLst>
            </a:cu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1" name="Shape">
              <a:extLst>
                <a:ext uri="{FF2B5EF4-FFF2-40B4-BE49-F238E27FC236}">
                  <a16:creationId xmlns:a16="http://schemas.microsoft.com/office/drawing/2014/main" xmlns="" id="{510312A4-C3C5-468B-91BC-96A47E5F7612}"/>
                </a:ext>
              </a:extLst>
            </p:cNvPr>
            <p:cNvSpPr/>
            <p:nvPr/>
          </p:nvSpPr>
          <p:spPr>
            <a:xfrm>
              <a:off x="4797581" y="3473007"/>
              <a:ext cx="389652" cy="393567"/>
            </a:xfrm>
            <a:custGeom>
              <a:avLst/>
              <a:gdLst/>
              <a:ahLst/>
              <a:cxnLst>
                <a:cxn ang="0">
                  <a:pos x="wd2" y="hd2"/>
                </a:cxn>
                <a:cxn ang="5400000">
                  <a:pos x="wd2" y="hd2"/>
                </a:cxn>
                <a:cxn ang="10800000">
                  <a:pos x="wd2" y="hd2"/>
                </a:cxn>
                <a:cxn ang="16200000">
                  <a:pos x="wd2" y="hd2"/>
                </a:cxn>
              </a:cxnLst>
              <a:rect l="0" t="0" r="r" b="b"/>
              <a:pathLst>
                <a:path w="19132" h="19157" extrusionOk="0">
                  <a:moveTo>
                    <a:pt x="12875" y="566"/>
                  </a:moveTo>
                  <a:cubicBezTo>
                    <a:pt x="7919" y="-1222"/>
                    <a:pt x="2421" y="1363"/>
                    <a:pt x="593" y="6340"/>
                  </a:cubicBezTo>
                  <a:cubicBezTo>
                    <a:pt x="-1234" y="11318"/>
                    <a:pt x="1302" y="16802"/>
                    <a:pt x="6257" y="18590"/>
                  </a:cubicBezTo>
                  <a:cubicBezTo>
                    <a:pt x="11213" y="20378"/>
                    <a:pt x="16711" y="17793"/>
                    <a:pt x="18539" y="12816"/>
                  </a:cubicBezTo>
                  <a:cubicBezTo>
                    <a:pt x="20366" y="7838"/>
                    <a:pt x="17830" y="2354"/>
                    <a:pt x="12875" y="566"/>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3" name="Shape">
              <a:extLst>
                <a:ext uri="{FF2B5EF4-FFF2-40B4-BE49-F238E27FC236}">
                  <a16:creationId xmlns:a16="http://schemas.microsoft.com/office/drawing/2014/main" xmlns="" id="{A9C72624-616C-49D3-9FC5-9644D6C845AD}"/>
                </a:ext>
              </a:extLst>
            </p:cNvPr>
            <p:cNvSpPr/>
            <p:nvPr/>
          </p:nvSpPr>
          <p:spPr>
            <a:xfrm>
              <a:off x="4886823" y="3524776"/>
              <a:ext cx="206992" cy="289187"/>
            </a:xfrm>
            <a:custGeom>
              <a:avLst/>
              <a:gdLst/>
              <a:ahLst/>
              <a:cxnLst>
                <a:cxn ang="0">
                  <a:pos x="wd2" y="hd2"/>
                </a:cxn>
                <a:cxn ang="5400000">
                  <a:pos x="wd2" y="hd2"/>
                </a:cxn>
                <a:cxn ang="10800000">
                  <a:pos x="wd2" y="hd2"/>
                </a:cxn>
                <a:cxn ang="16200000">
                  <a:pos x="wd2" y="hd2"/>
                </a:cxn>
              </a:cxnLst>
              <a:rect l="0" t="0" r="r" b="b"/>
              <a:pathLst>
                <a:path w="21600" h="21600" extrusionOk="0">
                  <a:moveTo>
                    <a:pt x="11862" y="14837"/>
                  </a:moveTo>
                  <a:cubicBezTo>
                    <a:pt x="11319" y="14936"/>
                    <a:pt x="10719" y="14925"/>
                    <a:pt x="10062" y="14803"/>
                  </a:cubicBezTo>
                  <a:lnTo>
                    <a:pt x="11470" y="12033"/>
                  </a:lnTo>
                  <a:cubicBezTo>
                    <a:pt x="12202" y="12347"/>
                    <a:pt x="12689" y="12665"/>
                    <a:pt x="12929" y="12990"/>
                  </a:cubicBezTo>
                  <a:cubicBezTo>
                    <a:pt x="13170" y="13314"/>
                    <a:pt x="13199" y="13656"/>
                    <a:pt x="13016" y="14016"/>
                  </a:cubicBezTo>
                  <a:cubicBezTo>
                    <a:pt x="12788" y="14464"/>
                    <a:pt x="12404" y="14737"/>
                    <a:pt x="11862" y="14837"/>
                  </a:cubicBezTo>
                  <a:close/>
                  <a:moveTo>
                    <a:pt x="11160" y="7922"/>
                  </a:moveTo>
                  <a:cubicBezTo>
                    <a:pt x="10328" y="7534"/>
                    <a:pt x="9843" y="7208"/>
                    <a:pt x="9703" y="6943"/>
                  </a:cubicBezTo>
                  <a:cubicBezTo>
                    <a:pt x="9564" y="6678"/>
                    <a:pt x="9573" y="6390"/>
                    <a:pt x="9731" y="6080"/>
                  </a:cubicBezTo>
                  <a:cubicBezTo>
                    <a:pt x="9925" y="5698"/>
                    <a:pt x="10280" y="5460"/>
                    <a:pt x="10797" y="5366"/>
                  </a:cubicBezTo>
                  <a:cubicBezTo>
                    <a:pt x="11313" y="5271"/>
                    <a:pt x="11863" y="5280"/>
                    <a:pt x="12447" y="5391"/>
                  </a:cubicBezTo>
                  <a:cubicBezTo>
                    <a:pt x="12447" y="5391"/>
                    <a:pt x="11160" y="7922"/>
                    <a:pt x="11160" y="7922"/>
                  </a:cubicBezTo>
                  <a:close/>
                  <a:moveTo>
                    <a:pt x="18448" y="11898"/>
                  </a:moveTo>
                  <a:cubicBezTo>
                    <a:pt x="17756" y="11011"/>
                    <a:pt x="16443" y="10132"/>
                    <a:pt x="14509" y="9260"/>
                  </a:cubicBezTo>
                  <a:lnTo>
                    <a:pt x="13281" y="8708"/>
                  </a:lnTo>
                  <a:lnTo>
                    <a:pt x="14678" y="5960"/>
                  </a:lnTo>
                  <a:cubicBezTo>
                    <a:pt x="15796" y="6300"/>
                    <a:pt x="16742" y="6678"/>
                    <a:pt x="17515" y="7091"/>
                  </a:cubicBezTo>
                  <a:cubicBezTo>
                    <a:pt x="18287" y="7505"/>
                    <a:pt x="18960" y="7970"/>
                    <a:pt x="19531" y="8486"/>
                  </a:cubicBezTo>
                  <a:lnTo>
                    <a:pt x="20016" y="8612"/>
                  </a:lnTo>
                  <a:lnTo>
                    <a:pt x="21600" y="5497"/>
                  </a:lnTo>
                  <a:cubicBezTo>
                    <a:pt x="21073" y="5139"/>
                    <a:pt x="20265" y="4723"/>
                    <a:pt x="19175" y="4247"/>
                  </a:cubicBezTo>
                  <a:cubicBezTo>
                    <a:pt x="18086" y="3771"/>
                    <a:pt x="17092" y="3404"/>
                    <a:pt x="16195" y="3146"/>
                  </a:cubicBezTo>
                  <a:lnTo>
                    <a:pt x="17466" y="647"/>
                  </a:lnTo>
                  <a:lnTo>
                    <a:pt x="14983" y="0"/>
                  </a:lnTo>
                  <a:lnTo>
                    <a:pt x="13701" y="2520"/>
                  </a:lnTo>
                  <a:cubicBezTo>
                    <a:pt x="11359" y="2090"/>
                    <a:pt x="9362" y="2090"/>
                    <a:pt x="7708" y="2521"/>
                  </a:cubicBezTo>
                  <a:cubicBezTo>
                    <a:pt x="6055" y="2952"/>
                    <a:pt x="4953" y="3708"/>
                    <a:pt x="4403" y="4790"/>
                  </a:cubicBezTo>
                  <a:cubicBezTo>
                    <a:pt x="4025" y="5533"/>
                    <a:pt x="3875" y="6182"/>
                    <a:pt x="3953" y="6737"/>
                  </a:cubicBezTo>
                  <a:cubicBezTo>
                    <a:pt x="4031" y="7292"/>
                    <a:pt x="4263" y="7808"/>
                    <a:pt x="4649" y="8284"/>
                  </a:cubicBezTo>
                  <a:cubicBezTo>
                    <a:pt x="5042" y="8771"/>
                    <a:pt x="5542" y="9203"/>
                    <a:pt x="6150" y="9582"/>
                  </a:cubicBezTo>
                  <a:cubicBezTo>
                    <a:pt x="6757" y="9960"/>
                    <a:pt x="7414" y="10320"/>
                    <a:pt x="8122" y="10659"/>
                  </a:cubicBezTo>
                  <a:lnTo>
                    <a:pt x="9349" y="11248"/>
                  </a:lnTo>
                  <a:lnTo>
                    <a:pt x="7825" y="14244"/>
                  </a:lnTo>
                  <a:cubicBezTo>
                    <a:pt x="6592" y="13882"/>
                    <a:pt x="5419" y="13391"/>
                    <a:pt x="4305" y="12770"/>
                  </a:cubicBezTo>
                  <a:cubicBezTo>
                    <a:pt x="3192" y="12149"/>
                    <a:pt x="2450" y="11664"/>
                    <a:pt x="2080" y="11314"/>
                  </a:cubicBezTo>
                  <a:lnTo>
                    <a:pt x="1595" y="11188"/>
                  </a:lnTo>
                  <a:lnTo>
                    <a:pt x="0" y="14325"/>
                  </a:lnTo>
                  <a:cubicBezTo>
                    <a:pt x="634" y="14809"/>
                    <a:pt x="1570" y="15318"/>
                    <a:pt x="2807" y="15853"/>
                  </a:cubicBezTo>
                  <a:cubicBezTo>
                    <a:pt x="4044" y="16387"/>
                    <a:pt x="5205" y="16800"/>
                    <a:pt x="6292" y="17091"/>
                  </a:cubicBezTo>
                  <a:lnTo>
                    <a:pt x="4328" y="20953"/>
                  </a:lnTo>
                  <a:lnTo>
                    <a:pt x="6811" y="21600"/>
                  </a:lnTo>
                  <a:lnTo>
                    <a:pt x="8802" y="17684"/>
                  </a:lnTo>
                  <a:cubicBezTo>
                    <a:pt x="9975" y="17941"/>
                    <a:pt x="11089" y="18053"/>
                    <a:pt x="12145" y="18022"/>
                  </a:cubicBezTo>
                  <a:cubicBezTo>
                    <a:pt x="13201" y="17991"/>
                    <a:pt x="14151" y="17853"/>
                    <a:pt x="14996" y="17607"/>
                  </a:cubicBezTo>
                  <a:cubicBezTo>
                    <a:pt x="15827" y="17366"/>
                    <a:pt x="16557" y="17022"/>
                    <a:pt x="17185" y="16573"/>
                  </a:cubicBezTo>
                  <a:cubicBezTo>
                    <a:pt x="17814" y="16124"/>
                    <a:pt x="18282" y="15597"/>
                    <a:pt x="18590" y="14991"/>
                  </a:cubicBezTo>
                  <a:cubicBezTo>
                    <a:pt x="19188" y="13816"/>
                    <a:pt x="19140" y="12784"/>
                    <a:pt x="18448" y="11898"/>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55" name="Circle">
              <a:extLst>
                <a:ext uri="{FF2B5EF4-FFF2-40B4-BE49-F238E27FC236}">
                  <a16:creationId xmlns:a16="http://schemas.microsoft.com/office/drawing/2014/main" xmlns="" id="{C3F32903-E351-480A-8FA5-26D688D2DD93}"/>
                </a:ext>
              </a:extLst>
            </p:cNvPr>
            <p:cNvSpPr/>
            <p:nvPr/>
          </p:nvSpPr>
          <p:spPr>
            <a:xfrm rot="20100000">
              <a:off x="5764336" y="2708608"/>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7" name="Shape">
              <a:extLst>
                <a:ext uri="{FF2B5EF4-FFF2-40B4-BE49-F238E27FC236}">
                  <a16:creationId xmlns:a16="http://schemas.microsoft.com/office/drawing/2014/main" xmlns="" id="{F7DC0F48-DA03-465A-8A3D-7F7210044C24}"/>
                </a:ext>
              </a:extLst>
            </p:cNvPr>
            <p:cNvSpPr/>
            <p:nvPr/>
          </p:nvSpPr>
          <p:spPr>
            <a:xfrm rot="20100000">
              <a:off x="5796148" y="2739142"/>
              <a:ext cx="390292" cy="392850"/>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9" name="Shape">
              <a:extLst>
                <a:ext uri="{FF2B5EF4-FFF2-40B4-BE49-F238E27FC236}">
                  <a16:creationId xmlns:a16="http://schemas.microsoft.com/office/drawing/2014/main" xmlns="" id="{C84951F4-AD19-4BE6-A206-E7630F9CD428}"/>
                </a:ext>
              </a:extLst>
            </p:cNvPr>
            <p:cNvSpPr/>
            <p:nvPr/>
          </p:nvSpPr>
          <p:spPr>
            <a:xfrm rot="20100000">
              <a:off x="5882807" y="2803111"/>
              <a:ext cx="206431" cy="271195"/>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61" name="Circle">
              <a:extLst>
                <a:ext uri="{FF2B5EF4-FFF2-40B4-BE49-F238E27FC236}">
                  <a16:creationId xmlns:a16="http://schemas.microsoft.com/office/drawing/2014/main" xmlns="" id="{281CE9D0-DB3B-49B1-8606-A5D52C7A8CC0}"/>
                </a:ext>
              </a:extLst>
            </p:cNvPr>
            <p:cNvSpPr/>
            <p:nvPr/>
          </p:nvSpPr>
          <p:spPr>
            <a:xfrm rot="3600000">
              <a:off x="6375976" y="2047169"/>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4" name="Shape">
              <a:extLst>
                <a:ext uri="{FF2B5EF4-FFF2-40B4-BE49-F238E27FC236}">
                  <a16:creationId xmlns:a16="http://schemas.microsoft.com/office/drawing/2014/main" xmlns="" id="{9A8D2B23-2278-4EE2-952A-49160B9E8733}"/>
                </a:ext>
              </a:extLst>
            </p:cNvPr>
            <p:cNvSpPr/>
            <p:nvPr/>
          </p:nvSpPr>
          <p:spPr>
            <a:xfrm rot="3600000">
              <a:off x="6407789" y="2077703"/>
              <a:ext cx="390291" cy="392851"/>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5" name="Shape">
              <a:extLst>
                <a:ext uri="{FF2B5EF4-FFF2-40B4-BE49-F238E27FC236}">
                  <a16:creationId xmlns:a16="http://schemas.microsoft.com/office/drawing/2014/main" xmlns="" id="{24B85E26-2B0F-4404-8D6A-C8B0E43E68EB}"/>
                </a:ext>
              </a:extLst>
            </p:cNvPr>
            <p:cNvSpPr/>
            <p:nvPr/>
          </p:nvSpPr>
          <p:spPr>
            <a:xfrm rot="3600000">
              <a:off x="6496132" y="2133551"/>
              <a:ext cx="206431" cy="271196"/>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grpSp>
      <p:sp>
        <p:nvSpPr>
          <p:cNvPr id="66" name="TextBox 36">
            <a:extLst>
              <a:ext uri="{FF2B5EF4-FFF2-40B4-BE49-F238E27FC236}">
                <a16:creationId xmlns:a16="http://schemas.microsoft.com/office/drawing/2014/main" xmlns="" id="{4BDB9038-0C3C-45F5-9807-93F150471EA9}"/>
              </a:ext>
            </a:extLst>
          </p:cNvPr>
          <p:cNvSpPr txBox="1"/>
          <p:nvPr/>
        </p:nvSpPr>
        <p:spPr>
          <a:xfrm>
            <a:off x="8473808" y="4735743"/>
            <a:ext cx="1164101" cy="369332"/>
          </a:xfrm>
          <a:prstGeom prst="rect">
            <a:avLst/>
          </a:prstGeom>
          <a:noFill/>
        </p:spPr>
        <p:txBody>
          <a:bodyPr wrap="none" rtlCol="0" anchor="ctr" anchorCtr="0">
            <a:spAutoFit/>
          </a:bodyPr>
          <a:lstStyle/>
          <a:p>
            <a:r>
              <a:rPr lang="en-GB" b="1" dirty="0">
                <a:solidFill>
                  <a:srgbClr val="E53292"/>
                </a:solidFill>
                <a:latin typeface="+mj-lt"/>
                <a:ea typeface="League Spartan" charset="0"/>
                <a:cs typeface="Poppins" pitchFamily="2" charset="77"/>
              </a:rPr>
              <a:t>La elección</a:t>
            </a:r>
          </a:p>
        </p:txBody>
      </p:sp>
      <p:sp>
        <p:nvSpPr>
          <p:cNvPr id="67" name="Subtitle 2">
            <a:extLst>
              <a:ext uri="{FF2B5EF4-FFF2-40B4-BE49-F238E27FC236}">
                <a16:creationId xmlns:a16="http://schemas.microsoft.com/office/drawing/2014/main" xmlns="" id="{C214A02F-34E0-452E-84EF-D2ED0290BFB8}"/>
              </a:ext>
            </a:extLst>
          </p:cNvPr>
          <p:cNvSpPr txBox="1">
            <a:spLocks/>
          </p:cNvSpPr>
          <p:nvPr/>
        </p:nvSpPr>
        <p:spPr>
          <a:xfrm>
            <a:off x="8502682" y="5102499"/>
            <a:ext cx="3460718"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A menudo hay que elegir entre la quiebra, la rehabilitación (acelerada) y la reestructuración contractual de la deuda.</a:t>
            </a:r>
          </a:p>
        </p:txBody>
      </p:sp>
      <p:sp>
        <p:nvSpPr>
          <p:cNvPr id="68" name="TextBox 38">
            <a:extLst>
              <a:ext uri="{FF2B5EF4-FFF2-40B4-BE49-F238E27FC236}">
                <a16:creationId xmlns:a16="http://schemas.microsoft.com/office/drawing/2014/main" xmlns="" id="{668596EC-B052-4373-AAB3-926755114F2D}"/>
              </a:ext>
            </a:extLst>
          </p:cNvPr>
          <p:cNvSpPr txBox="1"/>
          <p:nvPr/>
        </p:nvSpPr>
        <p:spPr>
          <a:xfrm>
            <a:off x="8292985" y="2025984"/>
            <a:ext cx="3667864" cy="369332"/>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1. Contribuir a la reestructuración financiera</a:t>
            </a:r>
          </a:p>
        </p:txBody>
      </p:sp>
      <p:sp>
        <p:nvSpPr>
          <p:cNvPr id="69" name="Subtitle 2">
            <a:extLst>
              <a:ext uri="{FF2B5EF4-FFF2-40B4-BE49-F238E27FC236}">
                <a16:creationId xmlns:a16="http://schemas.microsoft.com/office/drawing/2014/main" xmlns="" id="{137038A8-095B-4F12-B618-A83D07635F06}"/>
              </a:ext>
            </a:extLst>
          </p:cNvPr>
          <p:cNvSpPr txBox="1">
            <a:spLocks/>
          </p:cNvSpPr>
          <p:nvPr/>
        </p:nvSpPr>
        <p:spPr>
          <a:xfrm>
            <a:off x="8502681" y="2395316"/>
            <a:ext cx="3139041"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Contribuir al restablecimiento de la solvencia del deudor mediante la reestructuración de la deuda; o</a:t>
            </a:r>
          </a:p>
        </p:txBody>
      </p:sp>
      <p:sp>
        <p:nvSpPr>
          <p:cNvPr id="70" name="TextBox 40">
            <a:extLst>
              <a:ext uri="{FF2B5EF4-FFF2-40B4-BE49-F238E27FC236}">
                <a16:creationId xmlns:a16="http://schemas.microsoft.com/office/drawing/2014/main" xmlns="" id="{80C32724-4FB7-44FC-BA7A-F584A81CF91B}"/>
              </a:ext>
            </a:extLst>
          </p:cNvPr>
          <p:cNvSpPr txBox="1"/>
          <p:nvPr/>
        </p:nvSpPr>
        <p:spPr>
          <a:xfrm>
            <a:off x="8447552" y="3350130"/>
            <a:ext cx="3383170" cy="369332"/>
          </a:xfrm>
          <a:prstGeom prst="rect">
            <a:avLst/>
          </a:prstGeom>
          <a:noFill/>
        </p:spPr>
        <p:txBody>
          <a:bodyPr wrap="none" rtlCol="0" anchor="ctr" anchorCtr="0">
            <a:spAutoFit/>
          </a:bodyPr>
          <a:lstStyle/>
          <a:p>
            <a:r>
              <a:rPr lang="en-GB" b="1" dirty="0">
                <a:solidFill>
                  <a:srgbClr val="F95C2C"/>
                </a:solidFill>
                <a:latin typeface="+mj-lt"/>
                <a:ea typeface="League Spartan" charset="0"/>
                <a:cs typeface="Poppins" pitchFamily="2" charset="77"/>
              </a:rPr>
              <a:t>2.Cobrar al menos una parte de las deudas</a:t>
            </a:r>
          </a:p>
        </p:txBody>
      </p:sp>
      <p:sp>
        <p:nvSpPr>
          <p:cNvPr id="71" name="Subtitle 2">
            <a:extLst>
              <a:ext uri="{FF2B5EF4-FFF2-40B4-BE49-F238E27FC236}">
                <a16:creationId xmlns:a16="http://schemas.microsoft.com/office/drawing/2014/main" xmlns="" id="{A040C607-6976-45CD-8963-0302E006F692}"/>
              </a:ext>
            </a:extLst>
          </p:cNvPr>
          <p:cNvSpPr txBox="1">
            <a:spLocks/>
          </p:cNvSpPr>
          <p:nvPr/>
        </p:nvSpPr>
        <p:spPr>
          <a:xfrm>
            <a:off x="8495271" y="3770921"/>
            <a:ext cx="3259390"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Cobrar la deuda lo antes posible, habiendo condenado a menudo al deudor a la quiebra?</a:t>
            </a:r>
          </a:p>
        </p:txBody>
      </p:sp>
      <p:sp>
        <p:nvSpPr>
          <p:cNvPr id="72" name="Oval 42">
            <a:extLst>
              <a:ext uri="{FF2B5EF4-FFF2-40B4-BE49-F238E27FC236}">
                <a16:creationId xmlns:a16="http://schemas.microsoft.com/office/drawing/2014/main" xmlns="" id="{68EAEF29-F9B8-4195-93ED-C9C63581AFBB}"/>
              </a:ext>
            </a:extLst>
          </p:cNvPr>
          <p:cNvSpPr/>
          <p:nvPr/>
        </p:nvSpPr>
        <p:spPr>
          <a:xfrm>
            <a:off x="7699921" y="2433904"/>
            <a:ext cx="520504" cy="5205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3" name="Oval 43">
            <a:extLst>
              <a:ext uri="{FF2B5EF4-FFF2-40B4-BE49-F238E27FC236}">
                <a16:creationId xmlns:a16="http://schemas.microsoft.com/office/drawing/2014/main" xmlns="" id="{6C3A1E9A-2274-45FC-979C-00A786B7ACB7}"/>
              </a:ext>
            </a:extLst>
          </p:cNvPr>
          <p:cNvSpPr/>
          <p:nvPr/>
        </p:nvSpPr>
        <p:spPr>
          <a:xfrm>
            <a:off x="7699921" y="3645757"/>
            <a:ext cx="520504" cy="52050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4" name="Oval 44">
            <a:extLst>
              <a:ext uri="{FF2B5EF4-FFF2-40B4-BE49-F238E27FC236}">
                <a16:creationId xmlns:a16="http://schemas.microsoft.com/office/drawing/2014/main" xmlns="" id="{76830284-E2DD-490C-B1C5-02A4F0AEFD8C}"/>
              </a:ext>
            </a:extLst>
          </p:cNvPr>
          <p:cNvSpPr/>
          <p:nvPr/>
        </p:nvSpPr>
        <p:spPr>
          <a:xfrm>
            <a:off x="7699921" y="4879287"/>
            <a:ext cx="520504" cy="52050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5" name="Freeform 991">
            <a:extLst>
              <a:ext uri="{FF2B5EF4-FFF2-40B4-BE49-F238E27FC236}">
                <a16:creationId xmlns:a16="http://schemas.microsoft.com/office/drawing/2014/main" xmlns="" id="{EAD05D6E-DC3E-43DE-B19D-9D2DFB7B2E6F}"/>
              </a:ext>
            </a:extLst>
          </p:cNvPr>
          <p:cNvSpPr>
            <a:spLocks noChangeAspect="1" noChangeArrowheads="1"/>
          </p:cNvSpPr>
          <p:nvPr/>
        </p:nvSpPr>
        <p:spPr bwMode="auto">
          <a:xfrm>
            <a:off x="7820359" y="3770921"/>
            <a:ext cx="270175" cy="270175"/>
          </a:xfrm>
          <a:custGeom>
            <a:avLst/>
            <a:gdLst>
              <a:gd name="T0" fmla="*/ 532423 w 285390"/>
              <a:gd name="T1" fmla="*/ 729203 h 285390"/>
              <a:gd name="T2" fmla="*/ 501981 w 285390"/>
              <a:gd name="T3" fmla="*/ 680424 h 285390"/>
              <a:gd name="T4" fmla="*/ 447878 w 285390"/>
              <a:gd name="T5" fmla="*/ 680424 h 285390"/>
              <a:gd name="T6" fmla="*/ 417440 w 285390"/>
              <a:gd name="T7" fmla="*/ 729203 h 285390"/>
              <a:gd name="T8" fmla="*/ 474375 w 285390"/>
              <a:gd name="T9" fmla="*/ 620606 h 285390"/>
              <a:gd name="T10" fmla="*/ 603100 w 285390"/>
              <a:gd name="T11" fmla="*/ 702181 h 285390"/>
              <a:gd name="T12" fmla="*/ 632895 w 285390"/>
              <a:gd name="T13" fmla="*/ 702181 h 285390"/>
              <a:gd name="T14" fmla="*/ 474375 w 285390"/>
              <a:gd name="T15" fmla="*/ 591816 h 285390"/>
              <a:gd name="T16" fmla="*/ 612317 w 285390"/>
              <a:gd name="T17" fmla="*/ 490152 h 285390"/>
              <a:gd name="T18" fmla="*/ 342246 w 285390"/>
              <a:gd name="T19" fmla="*/ 459714 h 285390"/>
              <a:gd name="T20" fmla="*/ 327610 w 285390"/>
              <a:gd name="T21" fmla="*/ 474933 h 285390"/>
              <a:gd name="T22" fmla="*/ 556895 w 285390"/>
              <a:gd name="T23" fmla="*/ 472319 h 285390"/>
              <a:gd name="T24" fmla="*/ 610309 w 285390"/>
              <a:gd name="T25" fmla="*/ 409465 h 285390"/>
              <a:gd name="T26" fmla="*/ 340223 w 285390"/>
              <a:gd name="T27" fmla="*/ 535179 h 285390"/>
              <a:gd name="T28" fmla="*/ 610309 w 285390"/>
              <a:gd name="T29" fmla="*/ 380453 h 285390"/>
              <a:gd name="T30" fmla="*/ 528409 w 285390"/>
              <a:gd name="T31" fmla="*/ 472319 h 285390"/>
              <a:gd name="T32" fmla="*/ 421532 w 285390"/>
              <a:gd name="T33" fmla="*/ 472319 h 285390"/>
              <a:gd name="T34" fmla="*/ 340223 w 285390"/>
              <a:gd name="T35" fmla="*/ 380453 h 285390"/>
              <a:gd name="T36" fmla="*/ 105414 w 285390"/>
              <a:gd name="T37" fmla="*/ 921181 h 285390"/>
              <a:gd name="T38" fmla="*/ 265931 w 285390"/>
              <a:gd name="T39" fmla="*/ 844509 h 285390"/>
              <a:gd name="T40" fmla="*/ 727126 w 285390"/>
              <a:gd name="T41" fmla="*/ 921181 h 285390"/>
              <a:gd name="T42" fmla="*/ 579785 w 285390"/>
              <a:gd name="T43" fmla="*/ 316171 h 285390"/>
              <a:gd name="T44" fmla="*/ 721136 w 285390"/>
              <a:gd name="T45" fmla="*/ 328156 h 285390"/>
              <a:gd name="T46" fmla="*/ 143750 w 285390"/>
              <a:gd name="T47" fmla="*/ 298200 h 285390"/>
              <a:gd name="T48" fmla="*/ 143750 w 285390"/>
              <a:gd name="T49" fmla="*/ 298200 h 285390"/>
              <a:gd name="T50" fmla="*/ 693590 w 285390"/>
              <a:gd name="T51" fmla="*/ 313777 h 285390"/>
              <a:gd name="T52" fmla="*/ 800199 w 285390"/>
              <a:gd name="T53" fmla="*/ 397638 h 285390"/>
              <a:gd name="T54" fmla="*/ 921185 w 285390"/>
              <a:gd name="T55" fmla="*/ 181988 h 285390"/>
              <a:gd name="T56" fmla="*/ 28750 w 285390"/>
              <a:gd name="T57" fmla="*/ 282628 h 285390"/>
              <a:gd name="T58" fmla="*/ 115004 w 285390"/>
              <a:gd name="T59" fmla="*/ 282628 h 285390"/>
              <a:gd name="T60" fmla="*/ 295882 w 285390"/>
              <a:gd name="T61" fmla="*/ 299400 h 285390"/>
              <a:gd name="T62" fmla="*/ 406269 w 285390"/>
              <a:gd name="T63" fmla="*/ 162305 h 285390"/>
              <a:gd name="T64" fmla="*/ 440087 w 285390"/>
              <a:gd name="T65" fmla="*/ 196120 h 285390"/>
              <a:gd name="T66" fmla="*/ 129370 w 285390"/>
              <a:gd name="T67" fmla="*/ 153234 h 285390"/>
              <a:gd name="T68" fmla="*/ 579785 w 285390"/>
              <a:gd name="T69" fmla="*/ 287419 h 285390"/>
              <a:gd name="T70" fmla="*/ 935562 w 285390"/>
              <a:gd name="T71" fmla="*/ 153234 h 285390"/>
              <a:gd name="T72" fmla="*/ 840927 w 285390"/>
              <a:gd name="T73" fmla="*/ 464731 h 285390"/>
              <a:gd name="T74" fmla="*/ 858895 w 285390"/>
              <a:gd name="T75" fmla="*/ 949932 h 285390"/>
              <a:gd name="T76" fmla="*/ 674418 w 285390"/>
              <a:gd name="T77" fmla="*/ 873261 h 285390"/>
              <a:gd name="T78" fmla="*/ 231197 w 285390"/>
              <a:gd name="T79" fmla="*/ 949932 h 285390"/>
              <a:gd name="T80" fmla="*/ 76660 w 285390"/>
              <a:gd name="T81" fmla="*/ 609694 h 285390"/>
              <a:gd name="T82" fmla="*/ 0 w 285390"/>
              <a:gd name="T83" fmla="*/ 168810 h 285390"/>
              <a:gd name="T84" fmla="*/ 469073 w 285390"/>
              <a:gd name="T85" fmla="*/ 196120 h 285390"/>
              <a:gd name="T86" fmla="*/ 406269 w 285390"/>
              <a:gd name="T87" fmla="*/ 132098 h 285390"/>
              <a:gd name="T88" fmla="*/ 544863 w 285390"/>
              <a:gd name="T89" fmla="*/ 192020 h 285390"/>
              <a:gd name="T90" fmla="*/ 544863 w 285390"/>
              <a:gd name="T91" fmla="*/ 95110 h 285390"/>
              <a:gd name="T92" fmla="*/ 480847 w 285390"/>
              <a:gd name="T93" fmla="*/ 157331 h 285390"/>
              <a:gd name="T94" fmla="*/ 409442 w 285390"/>
              <a:gd name="T95" fmla="*/ 62809 h 285390"/>
              <a:gd name="T96" fmla="*/ 443260 w 285390"/>
              <a:gd name="T97" fmla="*/ 28989 h 285390"/>
              <a:gd name="T98" fmla="*/ 443260 w 285390"/>
              <a:gd name="T99" fmla="*/ 125613 h 2853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390" h="285390">
                <a:moveTo>
                  <a:pt x="155765" y="200025"/>
                </a:moveTo>
                <a:cubicBezTo>
                  <a:pt x="158051" y="200025"/>
                  <a:pt x="159956" y="201857"/>
                  <a:pt x="159956" y="204421"/>
                </a:cubicBezTo>
                <a:lnTo>
                  <a:pt x="159956" y="219076"/>
                </a:lnTo>
                <a:cubicBezTo>
                  <a:pt x="159956" y="221640"/>
                  <a:pt x="158051" y="223472"/>
                  <a:pt x="155765" y="223472"/>
                </a:cubicBezTo>
                <a:cubicBezTo>
                  <a:pt x="153098" y="223472"/>
                  <a:pt x="150812" y="221640"/>
                  <a:pt x="150812" y="219076"/>
                </a:cubicBezTo>
                <a:lnTo>
                  <a:pt x="150812" y="204421"/>
                </a:lnTo>
                <a:cubicBezTo>
                  <a:pt x="150812" y="201857"/>
                  <a:pt x="153098" y="200025"/>
                  <a:pt x="155765" y="200025"/>
                </a:cubicBezTo>
                <a:close/>
                <a:moveTo>
                  <a:pt x="129984" y="200025"/>
                </a:moveTo>
                <a:cubicBezTo>
                  <a:pt x="132651" y="200025"/>
                  <a:pt x="134556" y="201857"/>
                  <a:pt x="134556" y="204421"/>
                </a:cubicBezTo>
                <a:lnTo>
                  <a:pt x="134556" y="219076"/>
                </a:lnTo>
                <a:cubicBezTo>
                  <a:pt x="134556" y="221640"/>
                  <a:pt x="132651" y="223472"/>
                  <a:pt x="129984" y="223472"/>
                </a:cubicBezTo>
                <a:cubicBezTo>
                  <a:pt x="127317" y="223472"/>
                  <a:pt x="125412" y="221640"/>
                  <a:pt x="125412" y="219076"/>
                </a:cubicBezTo>
                <a:lnTo>
                  <a:pt x="125412" y="204421"/>
                </a:lnTo>
                <a:cubicBezTo>
                  <a:pt x="125412" y="201857"/>
                  <a:pt x="127317" y="200025"/>
                  <a:pt x="129984" y="200025"/>
                </a:cubicBezTo>
                <a:close/>
                <a:moveTo>
                  <a:pt x="142517" y="186450"/>
                </a:moveTo>
                <a:cubicBezTo>
                  <a:pt x="121748" y="186450"/>
                  <a:pt x="103844" y="197623"/>
                  <a:pt x="103844" y="210958"/>
                </a:cubicBezTo>
                <a:cubicBezTo>
                  <a:pt x="103844" y="224293"/>
                  <a:pt x="121748" y="235465"/>
                  <a:pt x="142517" y="235465"/>
                </a:cubicBezTo>
                <a:cubicBezTo>
                  <a:pt x="163644" y="235465"/>
                  <a:pt x="181190" y="224293"/>
                  <a:pt x="181190" y="210958"/>
                </a:cubicBezTo>
                <a:cubicBezTo>
                  <a:pt x="181190" y="197623"/>
                  <a:pt x="163644" y="186450"/>
                  <a:pt x="142517" y="186450"/>
                </a:cubicBezTo>
                <a:close/>
                <a:moveTo>
                  <a:pt x="142517" y="177800"/>
                </a:moveTo>
                <a:cubicBezTo>
                  <a:pt x="168657" y="177800"/>
                  <a:pt x="190142" y="192577"/>
                  <a:pt x="190142" y="210958"/>
                </a:cubicBezTo>
                <a:cubicBezTo>
                  <a:pt x="190142" y="229338"/>
                  <a:pt x="168657" y="244115"/>
                  <a:pt x="142517" y="244115"/>
                </a:cubicBezTo>
                <a:cubicBezTo>
                  <a:pt x="116377" y="244115"/>
                  <a:pt x="95250" y="229338"/>
                  <a:pt x="95250" y="210958"/>
                </a:cubicBezTo>
                <a:cubicBezTo>
                  <a:pt x="95250" y="192577"/>
                  <a:pt x="116377" y="177800"/>
                  <a:pt x="142517" y="177800"/>
                </a:cubicBezTo>
                <a:close/>
                <a:moveTo>
                  <a:pt x="183959" y="138113"/>
                </a:moveTo>
                <a:cubicBezTo>
                  <a:pt x="186245" y="138113"/>
                  <a:pt x="188531" y="140018"/>
                  <a:pt x="188531" y="142685"/>
                </a:cubicBezTo>
                <a:cubicBezTo>
                  <a:pt x="188531" y="144971"/>
                  <a:pt x="186245" y="147257"/>
                  <a:pt x="183959" y="147257"/>
                </a:cubicBezTo>
                <a:cubicBezTo>
                  <a:pt x="181292" y="147257"/>
                  <a:pt x="179387" y="144971"/>
                  <a:pt x="179387" y="142685"/>
                </a:cubicBezTo>
                <a:cubicBezTo>
                  <a:pt x="179387" y="140018"/>
                  <a:pt x="181292" y="138113"/>
                  <a:pt x="183959" y="138113"/>
                </a:cubicBezTo>
                <a:close/>
                <a:moveTo>
                  <a:pt x="102821" y="138113"/>
                </a:moveTo>
                <a:cubicBezTo>
                  <a:pt x="105019" y="138113"/>
                  <a:pt x="107583" y="140018"/>
                  <a:pt x="107583" y="142685"/>
                </a:cubicBezTo>
                <a:cubicBezTo>
                  <a:pt x="107583" y="144971"/>
                  <a:pt x="105019" y="147257"/>
                  <a:pt x="102821" y="147257"/>
                </a:cubicBezTo>
                <a:cubicBezTo>
                  <a:pt x="100623" y="147257"/>
                  <a:pt x="98425" y="144971"/>
                  <a:pt x="98425" y="142685"/>
                </a:cubicBezTo>
                <a:cubicBezTo>
                  <a:pt x="98425" y="140018"/>
                  <a:pt x="100623" y="138113"/>
                  <a:pt x="102821" y="138113"/>
                </a:cubicBezTo>
                <a:close/>
                <a:moveTo>
                  <a:pt x="183356" y="123016"/>
                </a:moveTo>
                <a:cubicBezTo>
                  <a:pt x="174441" y="123016"/>
                  <a:pt x="167309" y="131369"/>
                  <a:pt x="167309" y="141900"/>
                </a:cubicBezTo>
                <a:cubicBezTo>
                  <a:pt x="167309" y="152069"/>
                  <a:pt x="174441" y="160784"/>
                  <a:pt x="183356" y="160784"/>
                </a:cubicBezTo>
                <a:cubicBezTo>
                  <a:pt x="191915" y="160784"/>
                  <a:pt x="198690" y="152069"/>
                  <a:pt x="198690" y="141900"/>
                </a:cubicBezTo>
                <a:cubicBezTo>
                  <a:pt x="198690" y="131369"/>
                  <a:pt x="191915" y="123016"/>
                  <a:pt x="183356" y="123016"/>
                </a:cubicBezTo>
                <a:close/>
                <a:moveTo>
                  <a:pt x="102214" y="123016"/>
                </a:moveTo>
                <a:cubicBezTo>
                  <a:pt x="93592" y="123016"/>
                  <a:pt x="86408" y="131369"/>
                  <a:pt x="86408" y="141900"/>
                </a:cubicBezTo>
                <a:cubicBezTo>
                  <a:pt x="86408" y="152069"/>
                  <a:pt x="93592" y="160784"/>
                  <a:pt x="102214" y="160784"/>
                </a:cubicBezTo>
                <a:cubicBezTo>
                  <a:pt x="111194" y="160784"/>
                  <a:pt x="118020" y="152069"/>
                  <a:pt x="118020" y="141900"/>
                </a:cubicBezTo>
                <a:cubicBezTo>
                  <a:pt x="118020" y="131369"/>
                  <a:pt x="111194" y="123016"/>
                  <a:pt x="102214" y="123016"/>
                </a:cubicBezTo>
                <a:close/>
                <a:moveTo>
                  <a:pt x="183356" y="114300"/>
                </a:moveTo>
                <a:cubicBezTo>
                  <a:pt x="196551" y="114300"/>
                  <a:pt x="207606" y="126647"/>
                  <a:pt x="207606" y="141900"/>
                </a:cubicBezTo>
                <a:cubicBezTo>
                  <a:pt x="207606" y="157153"/>
                  <a:pt x="196551" y="169500"/>
                  <a:pt x="183356" y="169500"/>
                </a:cubicBezTo>
                <a:cubicBezTo>
                  <a:pt x="169805" y="169500"/>
                  <a:pt x="158750" y="157153"/>
                  <a:pt x="158750" y="141900"/>
                </a:cubicBezTo>
                <a:cubicBezTo>
                  <a:pt x="158750" y="126647"/>
                  <a:pt x="169805" y="114300"/>
                  <a:pt x="183356" y="114300"/>
                </a:cubicBezTo>
                <a:close/>
                <a:moveTo>
                  <a:pt x="102214" y="114300"/>
                </a:moveTo>
                <a:cubicBezTo>
                  <a:pt x="115864" y="114300"/>
                  <a:pt x="126641" y="126647"/>
                  <a:pt x="126641" y="141900"/>
                </a:cubicBezTo>
                <a:cubicBezTo>
                  <a:pt x="126641" y="157153"/>
                  <a:pt x="115864" y="169500"/>
                  <a:pt x="102214" y="169500"/>
                </a:cubicBezTo>
                <a:cubicBezTo>
                  <a:pt x="88923" y="169500"/>
                  <a:pt x="77787" y="157153"/>
                  <a:pt x="77787" y="141900"/>
                </a:cubicBezTo>
                <a:cubicBezTo>
                  <a:pt x="77787" y="126647"/>
                  <a:pt x="88923" y="114300"/>
                  <a:pt x="102214" y="114300"/>
                </a:cubicBezTo>
                <a:close/>
                <a:moveTo>
                  <a:pt x="111205" y="94988"/>
                </a:moveTo>
                <a:cubicBezTo>
                  <a:pt x="67299" y="94988"/>
                  <a:pt x="31670" y="134581"/>
                  <a:pt x="31670" y="183171"/>
                </a:cubicBezTo>
                <a:lnTo>
                  <a:pt x="31670" y="276752"/>
                </a:lnTo>
                <a:lnTo>
                  <a:pt x="66939" y="276752"/>
                </a:lnTo>
                <a:lnTo>
                  <a:pt x="75936" y="256236"/>
                </a:lnTo>
                <a:cubicBezTo>
                  <a:pt x="76296" y="254796"/>
                  <a:pt x="78095" y="253717"/>
                  <a:pt x="79895" y="253717"/>
                </a:cubicBezTo>
                <a:lnTo>
                  <a:pt x="205496" y="253717"/>
                </a:lnTo>
                <a:cubicBezTo>
                  <a:pt x="207295" y="253717"/>
                  <a:pt x="208734" y="254796"/>
                  <a:pt x="209454" y="256236"/>
                </a:cubicBezTo>
                <a:lnTo>
                  <a:pt x="218451" y="276752"/>
                </a:lnTo>
                <a:lnTo>
                  <a:pt x="253720" y="276752"/>
                </a:lnTo>
                <a:lnTo>
                  <a:pt x="253720" y="183171"/>
                </a:lnTo>
                <a:cubicBezTo>
                  <a:pt x="253720" y="134581"/>
                  <a:pt x="217732" y="94988"/>
                  <a:pt x="174185" y="94988"/>
                </a:cubicBezTo>
                <a:lnTo>
                  <a:pt x="111205" y="94988"/>
                </a:lnTo>
                <a:close/>
                <a:moveTo>
                  <a:pt x="241844" y="89589"/>
                </a:moveTo>
                <a:cubicBezTo>
                  <a:pt x="232487" y="90309"/>
                  <a:pt x="223850" y="93549"/>
                  <a:pt x="216652" y="98588"/>
                </a:cubicBezTo>
                <a:cubicBezTo>
                  <a:pt x="223130" y="102547"/>
                  <a:pt x="228888" y="107226"/>
                  <a:pt x="234286" y="112625"/>
                </a:cubicBezTo>
                <a:cubicBezTo>
                  <a:pt x="238245" y="105786"/>
                  <a:pt x="241484" y="98228"/>
                  <a:pt x="241844" y="89589"/>
                </a:cubicBezTo>
                <a:close/>
                <a:moveTo>
                  <a:pt x="43186" y="89589"/>
                </a:moveTo>
                <a:cubicBezTo>
                  <a:pt x="44266" y="98228"/>
                  <a:pt x="46785" y="105786"/>
                  <a:pt x="51104" y="112625"/>
                </a:cubicBezTo>
                <a:cubicBezTo>
                  <a:pt x="56502" y="107226"/>
                  <a:pt x="62260" y="102547"/>
                  <a:pt x="68378" y="98588"/>
                </a:cubicBezTo>
                <a:cubicBezTo>
                  <a:pt x="61180" y="93549"/>
                  <a:pt x="52543" y="90309"/>
                  <a:pt x="43186" y="89589"/>
                </a:cubicBezTo>
                <a:close/>
                <a:moveTo>
                  <a:pt x="246523" y="54676"/>
                </a:moveTo>
                <a:cubicBezTo>
                  <a:pt x="223490" y="54676"/>
                  <a:pt x="204056" y="69433"/>
                  <a:pt x="196498" y="89949"/>
                </a:cubicBezTo>
                <a:cubicBezTo>
                  <a:pt x="200457" y="91029"/>
                  <a:pt x="204416" y="92469"/>
                  <a:pt x="208375" y="94268"/>
                </a:cubicBezTo>
                <a:cubicBezTo>
                  <a:pt x="218811" y="85990"/>
                  <a:pt x="232127" y="80591"/>
                  <a:pt x="246523" y="80591"/>
                </a:cubicBezTo>
                <a:cubicBezTo>
                  <a:pt x="249042" y="80591"/>
                  <a:pt x="250841" y="82751"/>
                  <a:pt x="250841" y="84910"/>
                </a:cubicBezTo>
                <a:cubicBezTo>
                  <a:pt x="250841" y="97868"/>
                  <a:pt x="246882" y="109385"/>
                  <a:pt x="240405" y="119463"/>
                </a:cubicBezTo>
                <a:cubicBezTo>
                  <a:pt x="243284" y="123423"/>
                  <a:pt x="246163" y="127382"/>
                  <a:pt x="248682" y="131701"/>
                </a:cubicBezTo>
                <a:cubicBezTo>
                  <a:pt x="265237" y="122703"/>
                  <a:pt x="276753" y="105426"/>
                  <a:pt x="276753" y="84910"/>
                </a:cubicBezTo>
                <a:lnTo>
                  <a:pt x="276753" y="54676"/>
                </a:lnTo>
                <a:lnTo>
                  <a:pt x="246523" y="54676"/>
                </a:lnTo>
                <a:close/>
                <a:moveTo>
                  <a:pt x="8637" y="54676"/>
                </a:moveTo>
                <a:lnTo>
                  <a:pt x="8637" y="84910"/>
                </a:lnTo>
                <a:cubicBezTo>
                  <a:pt x="8637" y="105426"/>
                  <a:pt x="20153" y="122703"/>
                  <a:pt x="36348" y="131701"/>
                </a:cubicBezTo>
                <a:cubicBezTo>
                  <a:pt x="38868" y="127382"/>
                  <a:pt x="42106" y="123423"/>
                  <a:pt x="45345" y="119463"/>
                </a:cubicBezTo>
                <a:cubicBezTo>
                  <a:pt x="38508" y="109385"/>
                  <a:pt x="34549" y="97868"/>
                  <a:pt x="34549" y="84910"/>
                </a:cubicBezTo>
                <a:cubicBezTo>
                  <a:pt x="34549" y="82751"/>
                  <a:pt x="36348" y="80591"/>
                  <a:pt x="38868" y="80591"/>
                </a:cubicBezTo>
                <a:cubicBezTo>
                  <a:pt x="53263" y="80591"/>
                  <a:pt x="66579" y="85990"/>
                  <a:pt x="77015" y="94268"/>
                </a:cubicBezTo>
                <a:cubicBezTo>
                  <a:pt x="80974" y="92469"/>
                  <a:pt x="84933" y="91029"/>
                  <a:pt x="88892" y="89949"/>
                </a:cubicBezTo>
                <a:cubicBezTo>
                  <a:pt x="81334" y="69433"/>
                  <a:pt x="61900" y="54676"/>
                  <a:pt x="38868" y="54676"/>
                </a:cubicBezTo>
                <a:lnTo>
                  <a:pt x="8637" y="54676"/>
                </a:lnTo>
                <a:close/>
                <a:moveTo>
                  <a:pt x="122056" y="48760"/>
                </a:moveTo>
                <a:cubicBezTo>
                  <a:pt x="116613" y="48760"/>
                  <a:pt x="111895" y="53114"/>
                  <a:pt x="111895" y="58920"/>
                </a:cubicBezTo>
                <a:cubicBezTo>
                  <a:pt x="111895" y="64362"/>
                  <a:pt x="116613" y="68717"/>
                  <a:pt x="122056" y="68717"/>
                </a:cubicBezTo>
                <a:cubicBezTo>
                  <a:pt x="127862" y="68717"/>
                  <a:pt x="132216" y="64362"/>
                  <a:pt x="132216" y="58920"/>
                </a:cubicBezTo>
                <a:cubicBezTo>
                  <a:pt x="132216" y="53114"/>
                  <a:pt x="127862" y="48760"/>
                  <a:pt x="122056" y="48760"/>
                </a:cubicBezTo>
                <a:close/>
                <a:moveTo>
                  <a:pt x="4318" y="46038"/>
                </a:moveTo>
                <a:lnTo>
                  <a:pt x="38868" y="46038"/>
                </a:lnTo>
                <a:cubicBezTo>
                  <a:pt x="65859" y="46038"/>
                  <a:pt x="88892" y="63675"/>
                  <a:pt x="97529" y="87790"/>
                </a:cubicBezTo>
                <a:cubicBezTo>
                  <a:pt x="101848" y="87070"/>
                  <a:pt x="106526" y="86350"/>
                  <a:pt x="111205" y="86350"/>
                </a:cubicBezTo>
                <a:lnTo>
                  <a:pt x="174185" y="86350"/>
                </a:lnTo>
                <a:cubicBezTo>
                  <a:pt x="178864" y="86350"/>
                  <a:pt x="183542" y="87070"/>
                  <a:pt x="188221" y="87790"/>
                </a:cubicBezTo>
                <a:cubicBezTo>
                  <a:pt x="196138" y="63675"/>
                  <a:pt x="219531" y="46038"/>
                  <a:pt x="246523" y="46038"/>
                </a:cubicBezTo>
                <a:lnTo>
                  <a:pt x="281072" y="46038"/>
                </a:lnTo>
                <a:cubicBezTo>
                  <a:pt x="283231" y="46038"/>
                  <a:pt x="285390" y="47838"/>
                  <a:pt x="285390" y="50717"/>
                </a:cubicBezTo>
                <a:lnTo>
                  <a:pt x="285390" y="84910"/>
                </a:lnTo>
                <a:cubicBezTo>
                  <a:pt x="285390" y="108666"/>
                  <a:pt x="272075" y="129181"/>
                  <a:pt x="252641" y="139620"/>
                </a:cubicBezTo>
                <a:cubicBezTo>
                  <a:pt x="258759" y="152577"/>
                  <a:pt x="262358" y="167334"/>
                  <a:pt x="262358" y="183171"/>
                </a:cubicBezTo>
                <a:lnTo>
                  <a:pt x="262358" y="281071"/>
                </a:lnTo>
                <a:cubicBezTo>
                  <a:pt x="262358" y="283591"/>
                  <a:pt x="260198" y="285390"/>
                  <a:pt x="258039" y="285390"/>
                </a:cubicBezTo>
                <a:lnTo>
                  <a:pt x="215932" y="285390"/>
                </a:lnTo>
                <a:cubicBezTo>
                  <a:pt x="214133" y="285390"/>
                  <a:pt x="212693" y="284670"/>
                  <a:pt x="211614" y="282871"/>
                </a:cubicBezTo>
                <a:lnTo>
                  <a:pt x="202616" y="262355"/>
                </a:lnTo>
                <a:lnTo>
                  <a:pt x="82414" y="262355"/>
                </a:lnTo>
                <a:lnTo>
                  <a:pt x="73417" y="282871"/>
                </a:lnTo>
                <a:cubicBezTo>
                  <a:pt x="72697" y="284670"/>
                  <a:pt x="71257" y="285390"/>
                  <a:pt x="69458" y="285390"/>
                </a:cubicBezTo>
                <a:lnTo>
                  <a:pt x="27351" y="285390"/>
                </a:lnTo>
                <a:cubicBezTo>
                  <a:pt x="24832" y="285390"/>
                  <a:pt x="23032" y="283591"/>
                  <a:pt x="23032" y="281071"/>
                </a:cubicBezTo>
                <a:lnTo>
                  <a:pt x="23032" y="183171"/>
                </a:lnTo>
                <a:cubicBezTo>
                  <a:pt x="23032" y="167334"/>
                  <a:pt x="26631" y="152577"/>
                  <a:pt x="32390" y="139620"/>
                </a:cubicBezTo>
                <a:cubicBezTo>
                  <a:pt x="13316" y="129181"/>
                  <a:pt x="0" y="108666"/>
                  <a:pt x="0" y="84910"/>
                </a:cubicBezTo>
                <a:lnTo>
                  <a:pt x="0" y="50717"/>
                </a:lnTo>
                <a:cubicBezTo>
                  <a:pt x="0" y="47838"/>
                  <a:pt x="1799" y="46038"/>
                  <a:pt x="4318" y="46038"/>
                </a:cubicBezTo>
                <a:close/>
                <a:moveTo>
                  <a:pt x="122056" y="39688"/>
                </a:moveTo>
                <a:cubicBezTo>
                  <a:pt x="132579" y="39688"/>
                  <a:pt x="140924" y="48397"/>
                  <a:pt x="140924" y="58920"/>
                </a:cubicBezTo>
                <a:cubicBezTo>
                  <a:pt x="140924" y="69080"/>
                  <a:pt x="132579" y="77425"/>
                  <a:pt x="122056" y="77425"/>
                </a:cubicBezTo>
                <a:cubicBezTo>
                  <a:pt x="111895" y="77425"/>
                  <a:pt x="103187" y="69080"/>
                  <a:pt x="103187" y="58920"/>
                </a:cubicBezTo>
                <a:cubicBezTo>
                  <a:pt x="103187" y="48397"/>
                  <a:pt x="111895" y="39688"/>
                  <a:pt x="122056" y="39688"/>
                </a:cubicBezTo>
                <a:close/>
                <a:moveTo>
                  <a:pt x="163694" y="37202"/>
                </a:moveTo>
                <a:cubicBezTo>
                  <a:pt x="157888" y="37202"/>
                  <a:pt x="153171" y="41874"/>
                  <a:pt x="153171" y="47266"/>
                </a:cubicBezTo>
                <a:cubicBezTo>
                  <a:pt x="153171" y="53017"/>
                  <a:pt x="157888" y="57689"/>
                  <a:pt x="163694" y="57689"/>
                </a:cubicBezTo>
                <a:cubicBezTo>
                  <a:pt x="169137" y="57689"/>
                  <a:pt x="173491" y="53017"/>
                  <a:pt x="173491" y="47266"/>
                </a:cubicBezTo>
                <a:cubicBezTo>
                  <a:pt x="173491" y="41874"/>
                  <a:pt x="169137" y="37202"/>
                  <a:pt x="163694" y="37202"/>
                </a:cubicBezTo>
                <a:close/>
                <a:moveTo>
                  <a:pt x="163694" y="28575"/>
                </a:moveTo>
                <a:cubicBezTo>
                  <a:pt x="173854" y="28575"/>
                  <a:pt x="182199" y="37202"/>
                  <a:pt x="182199" y="47266"/>
                </a:cubicBezTo>
                <a:cubicBezTo>
                  <a:pt x="182199" y="57689"/>
                  <a:pt x="173854" y="66316"/>
                  <a:pt x="163694" y="66316"/>
                </a:cubicBezTo>
                <a:cubicBezTo>
                  <a:pt x="153171" y="66316"/>
                  <a:pt x="144462" y="57689"/>
                  <a:pt x="144462" y="47266"/>
                </a:cubicBezTo>
                <a:cubicBezTo>
                  <a:pt x="144462" y="37202"/>
                  <a:pt x="153171" y="28575"/>
                  <a:pt x="163694" y="28575"/>
                </a:cubicBezTo>
                <a:close/>
                <a:moveTo>
                  <a:pt x="133169" y="8709"/>
                </a:moveTo>
                <a:cubicBezTo>
                  <a:pt x="127726" y="8709"/>
                  <a:pt x="123009" y="13426"/>
                  <a:pt x="123009" y="18869"/>
                </a:cubicBezTo>
                <a:cubicBezTo>
                  <a:pt x="123009" y="24674"/>
                  <a:pt x="127726" y="29029"/>
                  <a:pt x="133169" y="29029"/>
                </a:cubicBezTo>
                <a:cubicBezTo>
                  <a:pt x="138975" y="29029"/>
                  <a:pt x="143329" y="24674"/>
                  <a:pt x="143329" y="18869"/>
                </a:cubicBezTo>
                <a:cubicBezTo>
                  <a:pt x="143329" y="13426"/>
                  <a:pt x="138975" y="8709"/>
                  <a:pt x="133169" y="8709"/>
                </a:cubicBezTo>
                <a:close/>
                <a:moveTo>
                  <a:pt x="133169" y="0"/>
                </a:moveTo>
                <a:cubicBezTo>
                  <a:pt x="143692" y="0"/>
                  <a:pt x="152037" y="8709"/>
                  <a:pt x="152037" y="18869"/>
                </a:cubicBezTo>
                <a:cubicBezTo>
                  <a:pt x="152037" y="29392"/>
                  <a:pt x="143692" y="37737"/>
                  <a:pt x="133169" y="37737"/>
                </a:cubicBezTo>
                <a:cubicBezTo>
                  <a:pt x="122646" y="37737"/>
                  <a:pt x="114300" y="29392"/>
                  <a:pt x="114300" y="18869"/>
                </a:cubicBezTo>
                <a:cubicBezTo>
                  <a:pt x="114300" y="8709"/>
                  <a:pt x="122646" y="0"/>
                  <a:pt x="133169" y="0"/>
                </a:cubicBezTo>
                <a:close/>
              </a:path>
            </a:pathLst>
          </a:custGeom>
          <a:solidFill>
            <a:schemeClr val="bg1"/>
          </a:solidFill>
          <a:ln>
            <a:noFill/>
          </a:ln>
          <a:effectLst/>
        </p:spPr>
        <p:txBody>
          <a:bodyPr anchor="ctr"/>
          <a:lstStyle/>
          <a:p>
            <a:endParaRPr lang="en-GB" sz="1600" dirty="0">
              <a:latin typeface="+mj-lt"/>
            </a:endParaRPr>
          </a:p>
        </p:txBody>
      </p:sp>
      <p:sp>
        <p:nvSpPr>
          <p:cNvPr id="76" name="Freeform 1004">
            <a:extLst>
              <a:ext uri="{FF2B5EF4-FFF2-40B4-BE49-F238E27FC236}">
                <a16:creationId xmlns:a16="http://schemas.microsoft.com/office/drawing/2014/main" xmlns="" id="{055A1FD5-0306-4806-976C-61DD24969DAF}"/>
              </a:ext>
            </a:extLst>
          </p:cNvPr>
          <p:cNvSpPr>
            <a:spLocks noChangeAspect="1" noChangeArrowheads="1"/>
          </p:cNvSpPr>
          <p:nvPr/>
        </p:nvSpPr>
        <p:spPr bwMode="auto">
          <a:xfrm>
            <a:off x="7825086" y="5004864"/>
            <a:ext cx="270175" cy="269349"/>
          </a:xfrm>
          <a:custGeom>
            <a:avLst/>
            <a:gdLst>
              <a:gd name="T0" fmla="*/ 540477 w 285390"/>
              <a:gd name="T1" fmla="*/ 863917 h 285391"/>
              <a:gd name="T2" fmla="*/ 540477 w 285390"/>
              <a:gd name="T3" fmla="*/ 894255 h 285391"/>
              <a:gd name="T4" fmla="*/ 391021 w 285390"/>
              <a:gd name="T5" fmla="*/ 879086 h 285391"/>
              <a:gd name="T6" fmla="*/ 28750 w 285390"/>
              <a:gd name="T7" fmla="*/ 831316 h 285391"/>
              <a:gd name="T8" fmla="*/ 71867 w 285390"/>
              <a:gd name="T9" fmla="*/ 918378 h 285391"/>
              <a:gd name="T10" fmla="*/ 921185 w 285390"/>
              <a:gd name="T11" fmla="*/ 875446 h 285391"/>
              <a:gd name="T12" fmla="*/ 28750 w 285390"/>
              <a:gd name="T13" fmla="*/ 831316 h 285391"/>
              <a:gd name="T14" fmla="*/ 35943 w 285390"/>
              <a:gd name="T15" fmla="*/ 803885 h 285391"/>
              <a:gd name="T16" fmla="*/ 849311 w 285390"/>
              <a:gd name="T17" fmla="*/ 660757 h 285391"/>
              <a:gd name="T18" fmla="*/ 678282 w 285390"/>
              <a:gd name="T19" fmla="*/ 431942 h 285391"/>
              <a:gd name="T20" fmla="*/ 703503 w 285390"/>
              <a:gd name="T21" fmla="*/ 517977 h 285391"/>
              <a:gd name="T22" fmla="*/ 703503 w 285390"/>
              <a:gd name="T23" fmla="*/ 431942 h 285391"/>
              <a:gd name="T24" fmla="*/ 241146 w 285390"/>
              <a:gd name="T25" fmla="*/ 431942 h 285391"/>
              <a:gd name="T26" fmla="*/ 241146 w 285390"/>
              <a:gd name="T27" fmla="*/ 517977 h 285391"/>
              <a:gd name="T28" fmla="*/ 265162 w 285390"/>
              <a:gd name="T29" fmla="*/ 431942 h 285391"/>
              <a:gd name="T30" fmla="*/ 579345 w 285390"/>
              <a:gd name="T31" fmla="*/ 374012 h 285391"/>
              <a:gd name="T32" fmla="*/ 579345 w 285390"/>
              <a:gd name="T33" fmla="*/ 404353 h 285391"/>
              <a:gd name="T34" fmla="*/ 579345 w 285390"/>
              <a:gd name="T35" fmla="*/ 374012 h 285391"/>
              <a:gd name="T36" fmla="*/ 595830 w 285390"/>
              <a:gd name="T37" fmla="*/ 320703 h 285391"/>
              <a:gd name="T38" fmla="*/ 565395 w 285390"/>
              <a:gd name="T39" fmla="*/ 320703 h 285391"/>
              <a:gd name="T40" fmla="*/ 579345 w 285390"/>
              <a:gd name="T41" fmla="*/ 242314 h 285391"/>
              <a:gd name="T42" fmla="*/ 579345 w 285390"/>
              <a:gd name="T43" fmla="*/ 272659 h 285391"/>
              <a:gd name="T44" fmla="*/ 579345 w 285390"/>
              <a:gd name="T45" fmla="*/ 242314 h 285391"/>
              <a:gd name="T46" fmla="*/ 495742 w 285390"/>
              <a:gd name="T47" fmla="*/ 517977 h 285391"/>
              <a:gd name="T48" fmla="*/ 564193 w 285390"/>
              <a:gd name="T49" fmla="*/ 455839 h 285391"/>
              <a:gd name="T50" fmla="*/ 593018 w 285390"/>
              <a:gd name="T51" fmla="*/ 455839 h 285391"/>
              <a:gd name="T52" fmla="*/ 650664 w 285390"/>
              <a:gd name="T53" fmla="*/ 517977 h 285391"/>
              <a:gd name="T54" fmla="*/ 625443 w 285390"/>
              <a:gd name="T55" fmla="*/ 202514 h 285391"/>
              <a:gd name="T56" fmla="*/ 400865 w 285390"/>
              <a:gd name="T57" fmla="*/ 202514 h 285391"/>
              <a:gd name="T58" fmla="*/ 466919 w 285390"/>
              <a:gd name="T59" fmla="*/ 517977 h 285391"/>
              <a:gd name="T60" fmla="*/ 400865 w 285390"/>
              <a:gd name="T61" fmla="*/ 202514 h 285391"/>
              <a:gd name="T62" fmla="*/ 293985 w 285390"/>
              <a:gd name="T63" fmla="*/ 226411 h 285391"/>
              <a:gd name="T64" fmla="*/ 370843 w 285390"/>
              <a:gd name="T65" fmla="*/ 517977 h 285391"/>
              <a:gd name="T66" fmla="*/ 318005 w 285390"/>
              <a:gd name="T67" fmla="*/ 202514 h 285391"/>
              <a:gd name="T68" fmla="*/ 625443 w 285390"/>
              <a:gd name="T69" fmla="*/ 173835 h 285391"/>
              <a:gd name="T70" fmla="*/ 678282 w 285390"/>
              <a:gd name="T71" fmla="*/ 403263 h 285391"/>
              <a:gd name="T72" fmla="*/ 775554 w 285390"/>
              <a:gd name="T73" fmla="*/ 476154 h 285391"/>
              <a:gd name="T74" fmla="*/ 241146 w 285390"/>
              <a:gd name="T75" fmla="*/ 546652 h 285391"/>
              <a:gd name="T76" fmla="*/ 241146 w 285390"/>
              <a:gd name="T77" fmla="*/ 403263 h 285391"/>
              <a:gd name="T78" fmla="*/ 265162 w 285390"/>
              <a:gd name="T79" fmla="*/ 226411 h 285391"/>
              <a:gd name="T80" fmla="*/ 148540 w 285390"/>
              <a:gd name="T81" fmla="*/ 29812 h 285391"/>
              <a:gd name="T82" fmla="*/ 105414 w 285390"/>
              <a:gd name="T83" fmla="*/ 632135 h 285391"/>
              <a:gd name="T84" fmla="*/ 844518 w 285390"/>
              <a:gd name="T85" fmla="*/ 72760 h 285391"/>
              <a:gd name="T86" fmla="*/ 148540 w 285390"/>
              <a:gd name="T87" fmla="*/ 29812 h 285391"/>
              <a:gd name="T88" fmla="*/ 801394 w 285390"/>
              <a:gd name="T89" fmla="*/ 0 h 285391"/>
              <a:gd name="T90" fmla="*/ 873272 w 285390"/>
              <a:gd name="T91" fmla="*/ 642866 h 285391"/>
              <a:gd name="T92" fmla="*/ 949932 w 285390"/>
              <a:gd name="T93" fmla="*/ 818196 h 285391"/>
              <a:gd name="T94" fmla="*/ 878061 w 285390"/>
              <a:gd name="T95" fmla="*/ 947005 h 285391"/>
              <a:gd name="T96" fmla="*/ 0 w 285390"/>
              <a:gd name="T97" fmla="*/ 875446 h 285391"/>
              <a:gd name="T98" fmla="*/ 1190 w 285390"/>
              <a:gd name="T99" fmla="*/ 812232 h 285391"/>
              <a:gd name="T100" fmla="*/ 76660 w 285390"/>
              <a:gd name="T101" fmla="*/ 72760 h 2853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1">
                <a:moveTo>
                  <a:pt x="121785" y="260350"/>
                </a:moveTo>
                <a:lnTo>
                  <a:pt x="162376" y="260350"/>
                </a:lnTo>
                <a:cubicBezTo>
                  <a:pt x="164531" y="260350"/>
                  <a:pt x="166328" y="262255"/>
                  <a:pt x="166328" y="264922"/>
                </a:cubicBezTo>
                <a:cubicBezTo>
                  <a:pt x="166328" y="267208"/>
                  <a:pt x="164531" y="269494"/>
                  <a:pt x="162376" y="269494"/>
                </a:cubicBezTo>
                <a:lnTo>
                  <a:pt x="121785" y="269494"/>
                </a:lnTo>
                <a:cubicBezTo>
                  <a:pt x="119271" y="269494"/>
                  <a:pt x="117475" y="267208"/>
                  <a:pt x="117475" y="264922"/>
                </a:cubicBezTo>
                <a:cubicBezTo>
                  <a:pt x="117475" y="262255"/>
                  <a:pt x="119271" y="260350"/>
                  <a:pt x="121785" y="260350"/>
                </a:cubicBezTo>
                <a:close/>
                <a:moveTo>
                  <a:pt x="8637" y="250526"/>
                </a:moveTo>
                <a:lnTo>
                  <a:pt x="8637" y="263825"/>
                </a:lnTo>
                <a:cubicBezTo>
                  <a:pt x="8637" y="270654"/>
                  <a:pt x="14395" y="276764"/>
                  <a:pt x="21593" y="276764"/>
                </a:cubicBezTo>
                <a:lnTo>
                  <a:pt x="263797" y="276764"/>
                </a:lnTo>
                <a:cubicBezTo>
                  <a:pt x="270995" y="276764"/>
                  <a:pt x="276753" y="270654"/>
                  <a:pt x="276753" y="263825"/>
                </a:cubicBezTo>
                <a:lnTo>
                  <a:pt x="276753" y="250526"/>
                </a:lnTo>
                <a:lnTo>
                  <a:pt x="8637" y="250526"/>
                </a:lnTo>
                <a:close/>
                <a:moveTo>
                  <a:pt x="30230" y="199127"/>
                </a:moveTo>
                <a:lnTo>
                  <a:pt x="10796" y="242259"/>
                </a:lnTo>
                <a:lnTo>
                  <a:pt x="274234" y="242259"/>
                </a:lnTo>
                <a:lnTo>
                  <a:pt x="255160" y="199127"/>
                </a:lnTo>
                <a:lnTo>
                  <a:pt x="30230" y="199127"/>
                </a:lnTo>
                <a:close/>
                <a:moveTo>
                  <a:pt x="203777" y="130170"/>
                </a:moveTo>
                <a:lnTo>
                  <a:pt x="203777" y="156098"/>
                </a:lnTo>
                <a:lnTo>
                  <a:pt x="211354" y="156098"/>
                </a:lnTo>
                <a:cubicBezTo>
                  <a:pt x="218209" y="156098"/>
                  <a:pt x="224342" y="150336"/>
                  <a:pt x="224342" y="143494"/>
                </a:cubicBezTo>
                <a:cubicBezTo>
                  <a:pt x="224342" y="136292"/>
                  <a:pt x="218209" y="130170"/>
                  <a:pt x="211354" y="130170"/>
                </a:cubicBezTo>
                <a:lnTo>
                  <a:pt x="203777" y="130170"/>
                </a:lnTo>
                <a:close/>
                <a:moveTo>
                  <a:pt x="72447" y="130170"/>
                </a:moveTo>
                <a:cubicBezTo>
                  <a:pt x="65232" y="130170"/>
                  <a:pt x="59459" y="136292"/>
                  <a:pt x="59459" y="143494"/>
                </a:cubicBezTo>
                <a:cubicBezTo>
                  <a:pt x="59459" y="150336"/>
                  <a:pt x="65232" y="156098"/>
                  <a:pt x="72447" y="156098"/>
                </a:cubicBezTo>
                <a:lnTo>
                  <a:pt x="79663" y="156098"/>
                </a:lnTo>
                <a:lnTo>
                  <a:pt x="79663" y="130170"/>
                </a:lnTo>
                <a:lnTo>
                  <a:pt x="72447" y="130170"/>
                </a:lnTo>
                <a:close/>
                <a:moveTo>
                  <a:pt x="174053" y="112713"/>
                </a:moveTo>
                <a:cubicBezTo>
                  <a:pt x="176720" y="112713"/>
                  <a:pt x="179006" y="114999"/>
                  <a:pt x="179006" y="117285"/>
                </a:cubicBezTo>
                <a:cubicBezTo>
                  <a:pt x="179006" y="119952"/>
                  <a:pt x="176720" y="121857"/>
                  <a:pt x="174053" y="121857"/>
                </a:cubicBezTo>
                <a:cubicBezTo>
                  <a:pt x="171767" y="121857"/>
                  <a:pt x="169862" y="119952"/>
                  <a:pt x="169862" y="117285"/>
                </a:cubicBezTo>
                <a:cubicBezTo>
                  <a:pt x="169862" y="114999"/>
                  <a:pt x="171767" y="112713"/>
                  <a:pt x="174053" y="112713"/>
                </a:cubicBezTo>
                <a:close/>
                <a:moveTo>
                  <a:pt x="174053" y="92075"/>
                </a:moveTo>
                <a:cubicBezTo>
                  <a:pt x="176720" y="92075"/>
                  <a:pt x="179006" y="93980"/>
                  <a:pt x="179006" y="96647"/>
                </a:cubicBezTo>
                <a:cubicBezTo>
                  <a:pt x="179006" y="99314"/>
                  <a:pt x="176720" y="101219"/>
                  <a:pt x="174053" y="101219"/>
                </a:cubicBezTo>
                <a:cubicBezTo>
                  <a:pt x="171767" y="101219"/>
                  <a:pt x="169862" y="99314"/>
                  <a:pt x="169862" y="96647"/>
                </a:cubicBezTo>
                <a:cubicBezTo>
                  <a:pt x="169862" y="93980"/>
                  <a:pt x="171767" y="92075"/>
                  <a:pt x="174053" y="92075"/>
                </a:cubicBezTo>
                <a:close/>
                <a:moveTo>
                  <a:pt x="174053" y="73025"/>
                </a:moveTo>
                <a:cubicBezTo>
                  <a:pt x="176720" y="73025"/>
                  <a:pt x="179006" y="75311"/>
                  <a:pt x="179006" y="77597"/>
                </a:cubicBezTo>
                <a:cubicBezTo>
                  <a:pt x="179006" y="79883"/>
                  <a:pt x="176720" y="82169"/>
                  <a:pt x="174053" y="82169"/>
                </a:cubicBezTo>
                <a:cubicBezTo>
                  <a:pt x="171767" y="82169"/>
                  <a:pt x="169862" y="79883"/>
                  <a:pt x="169862" y="77597"/>
                </a:cubicBezTo>
                <a:cubicBezTo>
                  <a:pt x="169862" y="75311"/>
                  <a:pt x="171767" y="73025"/>
                  <a:pt x="174053" y="73025"/>
                </a:cubicBezTo>
                <a:close/>
                <a:moveTo>
                  <a:pt x="148936" y="61030"/>
                </a:moveTo>
                <a:lnTo>
                  <a:pt x="148936" y="156098"/>
                </a:lnTo>
                <a:lnTo>
                  <a:pt x="169501" y="156098"/>
                </a:lnTo>
                <a:lnTo>
                  <a:pt x="169501" y="137372"/>
                </a:lnTo>
                <a:cubicBezTo>
                  <a:pt x="169501" y="134852"/>
                  <a:pt x="171306" y="133051"/>
                  <a:pt x="173470" y="133051"/>
                </a:cubicBezTo>
                <a:cubicBezTo>
                  <a:pt x="175996" y="133051"/>
                  <a:pt x="178161" y="134852"/>
                  <a:pt x="178161" y="137372"/>
                </a:cubicBezTo>
                <a:lnTo>
                  <a:pt x="178161" y="156098"/>
                </a:lnTo>
                <a:lnTo>
                  <a:pt x="195479" y="156098"/>
                </a:lnTo>
                <a:lnTo>
                  <a:pt x="195479" y="68232"/>
                </a:lnTo>
                <a:cubicBezTo>
                  <a:pt x="195479" y="64271"/>
                  <a:pt x="191871" y="61030"/>
                  <a:pt x="187902" y="61030"/>
                </a:cubicBezTo>
                <a:lnTo>
                  <a:pt x="148936" y="61030"/>
                </a:lnTo>
                <a:close/>
                <a:moveTo>
                  <a:pt x="120433" y="61030"/>
                </a:moveTo>
                <a:lnTo>
                  <a:pt x="120433" y="156098"/>
                </a:lnTo>
                <a:lnTo>
                  <a:pt x="140277" y="156098"/>
                </a:lnTo>
                <a:lnTo>
                  <a:pt x="140277" y="61030"/>
                </a:lnTo>
                <a:lnTo>
                  <a:pt x="120433" y="61030"/>
                </a:lnTo>
                <a:close/>
                <a:moveTo>
                  <a:pt x="95538" y="61030"/>
                </a:moveTo>
                <a:cubicBezTo>
                  <a:pt x="91570" y="61030"/>
                  <a:pt x="88322" y="64271"/>
                  <a:pt x="88322" y="68232"/>
                </a:cubicBezTo>
                <a:lnTo>
                  <a:pt x="88322" y="156098"/>
                </a:lnTo>
                <a:lnTo>
                  <a:pt x="111413" y="156098"/>
                </a:lnTo>
                <a:lnTo>
                  <a:pt x="111413" y="61030"/>
                </a:lnTo>
                <a:lnTo>
                  <a:pt x="95538" y="61030"/>
                </a:lnTo>
                <a:close/>
                <a:moveTo>
                  <a:pt x="95538" y="52388"/>
                </a:moveTo>
                <a:lnTo>
                  <a:pt x="187902" y="52388"/>
                </a:lnTo>
                <a:cubicBezTo>
                  <a:pt x="196922" y="52388"/>
                  <a:pt x="203777" y="59590"/>
                  <a:pt x="203777" y="68232"/>
                </a:cubicBezTo>
                <a:lnTo>
                  <a:pt x="203777" y="121528"/>
                </a:lnTo>
                <a:lnTo>
                  <a:pt x="211354" y="121528"/>
                </a:lnTo>
                <a:cubicBezTo>
                  <a:pt x="223260" y="121528"/>
                  <a:pt x="233001" y="131251"/>
                  <a:pt x="233001" y="143494"/>
                </a:cubicBezTo>
                <a:cubicBezTo>
                  <a:pt x="233001" y="155017"/>
                  <a:pt x="223260" y="164740"/>
                  <a:pt x="211354" y="164740"/>
                </a:cubicBezTo>
                <a:lnTo>
                  <a:pt x="72447" y="164740"/>
                </a:lnTo>
                <a:cubicBezTo>
                  <a:pt x="60541" y="164740"/>
                  <a:pt x="50800" y="155017"/>
                  <a:pt x="50800" y="143494"/>
                </a:cubicBezTo>
                <a:cubicBezTo>
                  <a:pt x="50800" y="131251"/>
                  <a:pt x="60541" y="121528"/>
                  <a:pt x="72447" y="121528"/>
                </a:cubicBezTo>
                <a:lnTo>
                  <a:pt x="79663" y="121528"/>
                </a:lnTo>
                <a:lnTo>
                  <a:pt x="79663" y="68232"/>
                </a:lnTo>
                <a:cubicBezTo>
                  <a:pt x="79663" y="59590"/>
                  <a:pt x="86879" y="52388"/>
                  <a:pt x="95538" y="52388"/>
                </a:cubicBezTo>
                <a:close/>
                <a:moveTo>
                  <a:pt x="44626" y="8986"/>
                </a:moveTo>
                <a:cubicBezTo>
                  <a:pt x="37788" y="8986"/>
                  <a:pt x="31670" y="14737"/>
                  <a:pt x="31670" y="21925"/>
                </a:cubicBezTo>
                <a:lnTo>
                  <a:pt x="31670" y="190500"/>
                </a:lnTo>
                <a:lnTo>
                  <a:pt x="253720" y="190500"/>
                </a:lnTo>
                <a:lnTo>
                  <a:pt x="253720" y="21925"/>
                </a:lnTo>
                <a:cubicBezTo>
                  <a:pt x="253720" y="14737"/>
                  <a:pt x="247962" y="8986"/>
                  <a:pt x="240764" y="8986"/>
                </a:cubicBezTo>
                <a:lnTo>
                  <a:pt x="44626" y="8986"/>
                </a:lnTo>
                <a:close/>
                <a:moveTo>
                  <a:pt x="44626" y="0"/>
                </a:moveTo>
                <a:lnTo>
                  <a:pt x="240764" y="0"/>
                </a:lnTo>
                <a:cubicBezTo>
                  <a:pt x="252641" y="0"/>
                  <a:pt x="262358" y="9704"/>
                  <a:pt x="262358" y="21925"/>
                </a:cubicBezTo>
                <a:lnTo>
                  <a:pt x="262358" y="193735"/>
                </a:lnTo>
                <a:lnTo>
                  <a:pt x="285030" y="244775"/>
                </a:lnTo>
                <a:cubicBezTo>
                  <a:pt x="285390" y="245134"/>
                  <a:pt x="285390" y="245853"/>
                  <a:pt x="285390" y="246572"/>
                </a:cubicBezTo>
                <a:lnTo>
                  <a:pt x="285390" y="263825"/>
                </a:lnTo>
                <a:cubicBezTo>
                  <a:pt x="285390" y="275686"/>
                  <a:pt x="275673" y="285391"/>
                  <a:pt x="263797" y="285391"/>
                </a:cubicBezTo>
                <a:lnTo>
                  <a:pt x="21593" y="285391"/>
                </a:lnTo>
                <a:cubicBezTo>
                  <a:pt x="9717" y="285391"/>
                  <a:pt x="0" y="275686"/>
                  <a:pt x="0" y="263825"/>
                </a:cubicBezTo>
                <a:lnTo>
                  <a:pt x="0" y="246572"/>
                </a:lnTo>
                <a:cubicBezTo>
                  <a:pt x="0" y="245853"/>
                  <a:pt x="0" y="245134"/>
                  <a:pt x="360" y="244775"/>
                </a:cubicBezTo>
                <a:lnTo>
                  <a:pt x="23032" y="193735"/>
                </a:lnTo>
                <a:lnTo>
                  <a:pt x="23032" y="21925"/>
                </a:lnTo>
                <a:cubicBezTo>
                  <a:pt x="23032" y="9704"/>
                  <a:pt x="32749" y="0"/>
                  <a:pt x="44626" y="0"/>
                </a:cubicBezTo>
                <a:close/>
              </a:path>
            </a:pathLst>
          </a:custGeom>
          <a:solidFill>
            <a:schemeClr val="bg1"/>
          </a:solidFill>
          <a:ln>
            <a:noFill/>
          </a:ln>
          <a:effectLst/>
        </p:spPr>
        <p:txBody>
          <a:bodyPr anchor="ctr"/>
          <a:lstStyle/>
          <a:p>
            <a:endParaRPr lang="en-GB" sz="1600" dirty="0">
              <a:latin typeface="+mj-lt"/>
            </a:endParaRPr>
          </a:p>
        </p:txBody>
      </p:sp>
      <p:sp>
        <p:nvSpPr>
          <p:cNvPr id="77" name="Freeform 1009">
            <a:extLst>
              <a:ext uri="{FF2B5EF4-FFF2-40B4-BE49-F238E27FC236}">
                <a16:creationId xmlns:a16="http://schemas.microsoft.com/office/drawing/2014/main" xmlns="" id="{114DB682-C71F-4AAC-A332-DB42F2F3753C}"/>
              </a:ext>
            </a:extLst>
          </p:cNvPr>
          <p:cNvSpPr>
            <a:spLocks noChangeAspect="1" noChangeArrowheads="1"/>
          </p:cNvSpPr>
          <p:nvPr/>
        </p:nvSpPr>
        <p:spPr bwMode="auto">
          <a:xfrm>
            <a:off x="7825086" y="2551445"/>
            <a:ext cx="270175" cy="270176"/>
          </a:xfrm>
          <a:custGeom>
            <a:avLst/>
            <a:gdLst>
              <a:gd name="T0" fmla="*/ 716343 w 285390"/>
              <a:gd name="T1" fmla="*/ 905477 h 284852"/>
              <a:gd name="T2" fmla="*/ 701970 w 285390"/>
              <a:gd name="T3" fmla="*/ 784020 h 284852"/>
              <a:gd name="T4" fmla="*/ 595903 w 285390"/>
              <a:gd name="T5" fmla="*/ 614444 h 284852"/>
              <a:gd name="T6" fmla="*/ 306476 w 285390"/>
              <a:gd name="T7" fmla="*/ 614444 h 284852"/>
              <a:gd name="T8" fmla="*/ 243373 w 285390"/>
              <a:gd name="T9" fmla="*/ 599000 h 284852"/>
              <a:gd name="T10" fmla="*/ 109467 w 285390"/>
              <a:gd name="T11" fmla="*/ 629893 h 284852"/>
              <a:gd name="T12" fmla="*/ 701970 w 285390"/>
              <a:gd name="T13" fmla="*/ 550815 h 284852"/>
              <a:gd name="T14" fmla="*/ 688792 w 285390"/>
              <a:gd name="T15" fmla="*/ 757300 h 284852"/>
              <a:gd name="T16" fmla="*/ 759471 w 285390"/>
              <a:gd name="T17" fmla="*/ 565387 h 284852"/>
              <a:gd name="T18" fmla="*/ 433012 w 285390"/>
              <a:gd name="T19" fmla="*/ 486343 h 284852"/>
              <a:gd name="T20" fmla="*/ 581526 w 285390"/>
              <a:gd name="T21" fmla="*/ 517243 h 284852"/>
              <a:gd name="T22" fmla="*/ 433012 w 285390"/>
              <a:gd name="T23" fmla="*/ 486343 h 284852"/>
              <a:gd name="T24" fmla="*/ 368677 w 285390"/>
              <a:gd name="T25" fmla="*/ 500501 h 284852"/>
              <a:gd name="T26" fmla="*/ 227213 w 285390"/>
              <a:gd name="T27" fmla="*/ 500501 h 284852"/>
              <a:gd name="T28" fmla="*/ 486489 w 285390"/>
              <a:gd name="T29" fmla="*/ 368328 h 284852"/>
              <a:gd name="T30" fmla="*/ 283797 w 285390"/>
              <a:gd name="T31" fmla="*/ 399221 h 284852"/>
              <a:gd name="T32" fmla="*/ 283797 w 285390"/>
              <a:gd name="T33" fmla="*/ 250306 h 284852"/>
              <a:gd name="T34" fmla="*/ 486489 w 285390"/>
              <a:gd name="T35" fmla="*/ 276011 h 284852"/>
              <a:gd name="T36" fmla="*/ 283797 w 285390"/>
              <a:gd name="T37" fmla="*/ 250306 h 284852"/>
              <a:gd name="T38" fmla="*/ 164536 w 285390"/>
              <a:gd name="T39" fmla="*/ 235122 h 284852"/>
              <a:gd name="T40" fmla="*/ 183927 w 285390"/>
              <a:gd name="T41" fmla="*/ 282149 h 284852"/>
              <a:gd name="T42" fmla="*/ 149991 w 285390"/>
              <a:gd name="T43" fmla="*/ 324352 h 284852"/>
              <a:gd name="T44" fmla="*/ 164536 w 285390"/>
              <a:gd name="T45" fmla="*/ 454573 h 284852"/>
              <a:gd name="T46" fmla="*/ 135445 w 285390"/>
              <a:gd name="T47" fmla="*/ 441311 h 284852"/>
              <a:gd name="T48" fmla="*/ 116055 w 285390"/>
              <a:gd name="T49" fmla="*/ 394284 h 284852"/>
              <a:gd name="T50" fmla="*/ 149991 w 285390"/>
              <a:gd name="T51" fmla="*/ 353295 h 284852"/>
              <a:gd name="T52" fmla="*/ 135445 w 285390"/>
              <a:gd name="T53" fmla="*/ 221860 h 284852"/>
              <a:gd name="T54" fmla="*/ 673219 w 285390"/>
              <a:gd name="T55" fmla="*/ 119637 h 284852"/>
              <a:gd name="T56" fmla="*/ 745094 w 285390"/>
              <a:gd name="T57" fmla="*/ 525311 h 284852"/>
              <a:gd name="T58" fmla="*/ 731915 w 285390"/>
              <a:gd name="T59" fmla="*/ 103846 h 284852"/>
              <a:gd name="T60" fmla="*/ 700775 w 285390"/>
              <a:gd name="T61" fmla="*/ 33399 h 284852"/>
              <a:gd name="T62" fmla="*/ 733118 w 285390"/>
              <a:gd name="T63" fmla="*/ 33399 h 284852"/>
              <a:gd name="T64" fmla="*/ 689988 w 285390"/>
              <a:gd name="T65" fmla="*/ 5462 h 284852"/>
              <a:gd name="T66" fmla="*/ 761864 w 285390"/>
              <a:gd name="T67" fmla="*/ 23678 h 284852"/>
              <a:gd name="T68" fmla="*/ 788219 w 285390"/>
              <a:gd name="T69" fmla="*/ 109923 h 284852"/>
              <a:gd name="T70" fmla="*/ 949932 w 285390"/>
              <a:gd name="T71" fmla="*/ 147574 h 284852"/>
              <a:gd name="T72" fmla="*/ 832542 w 285390"/>
              <a:gd name="T73" fmla="*/ 765802 h 284852"/>
              <a:gd name="T74" fmla="*/ 921185 w 285390"/>
              <a:gd name="T75" fmla="*/ 736651 h 284852"/>
              <a:gd name="T76" fmla="*/ 788219 w 285390"/>
              <a:gd name="T77" fmla="*/ 790090 h 284852"/>
              <a:gd name="T78" fmla="*/ 716343 w 285390"/>
              <a:gd name="T79" fmla="*/ 962567 h 284852"/>
              <a:gd name="T80" fmla="*/ 645670 w 285390"/>
              <a:gd name="T81" fmla="*/ 790090 h 284852"/>
              <a:gd name="T82" fmla="*/ 0 w 285390"/>
              <a:gd name="T83" fmla="*/ 751224 h 284852"/>
              <a:gd name="T84" fmla="*/ 524683 w 285390"/>
              <a:gd name="T85" fmla="*/ 132997 h 284852"/>
              <a:gd name="T86" fmla="*/ 28750 w 285390"/>
              <a:gd name="T87" fmla="*/ 162148 h 284852"/>
              <a:gd name="T88" fmla="*/ 645670 w 285390"/>
              <a:gd name="T89" fmla="*/ 125709 h 284852"/>
              <a:gd name="T90" fmla="*/ 582179 w 285390"/>
              <a:gd name="T91" fmla="*/ 391704 h 284852"/>
              <a:gd name="T92" fmla="*/ 655252 w 285390"/>
              <a:gd name="T93" fmla="*/ 95344 h 284852"/>
              <a:gd name="T94" fmla="*/ 679209 w 285390"/>
              <a:gd name="T95" fmla="*/ 10329 h 2848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0" h="284852">
                <a:moveTo>
                  <a:pt x="210894" y="232015"/>
                </a:moveTo>
                <a:lnTo>
                  <a:pt x="203336" y="235969"/>
                </a:lnTo>
                <a:lnTo>
                  <a:pt x="215212" y="267958"/>
                </a:lnTo>
                <a:lnTo>
                  <a:pt x="227089" y="235969"/>
                </a:lnTo>
                <a:lnTo>
                  <a:pt x="219891" y="232015"/>
                </a:lnTo>
                <a:cubicBezTo>
                  <a:pt x="217012" y="230577"/>
                  <a:pt x="213773" y="230577"/>
                  <a:pt x="210894" y="232015"/>
                </a:cubicBezTo>
                <a:close/>
                <a:moveTo>
                  <a:pt x="96387" y="177261"/>
                </a:moveTo>
                <a:lnTo>
                  <a:pt x="174716" y="177261"/>
                </a:lnTo>
                <a:cubicBezTo>
                  <a:pt x="177231" y="177261"/>
                  <a:pt x="179028" y="179166"/>
                  <a:pt x="179028" y="181833"/>
                </a:cubicBezTo>
                <a:cubicBezTo>
                  <a:pt x="179028" y="184119"/>
                  <a:pt x="177231" y="186405"/>
                  <a:pt x="174716" y="186405"/>
                </a:cubicBezTo>
                <a:lnTo>
                  <a:pt x="96387" y="186405"/>
                </a:lnTo>
                <a:cubicBezTo>
                  <a:pt x="94231" y="186405"/>
                  <a:pt x="92075" y="184119"/>
                  <a:pt x="92075" y="181833"/>
                </a:cubicBezTo>
                <a:cubicBezTo>
                  <a:pt x="92075" y="179166"/>
                  <a:pt x="94231" y="177261"/>
                  <a:pt x="96387" y="177261"/>
                </a:cubicBezTo>
                <a:close/>
                <a:moveTo>
                  <a:pt x="32886" y="177261"/>
                </a:moveTo>
                <a:lnTo>
                  <a:pt x="73117" y="177261"/>
                </a:lnTo>
                <a:cubicBezTo>
                  <a:pt x="75632" y="177261"/>
                  <a:pt x="77428" y="179166"/>
                  <a:pt x="77428" y="181833"/>
                </a:cubicBezTo>
                <a:cubicBezTo>
                  <a:pt x="77428" y="184119"/>
                  <a:pt x="75632" y="186405"/>
                  <a:pt x="73117" y="186405"/>
                </a:cubicBezTo>
                <a:lnTo>
                  <a:pt x="32886" y="186405"/>
                </a:lnTo>
                <a:cubicBezTo>
                  <a:pt x="30731" y="186405"/>
                  <a:pt x="28575" y="184119"/>
                  <a:pt x="28575" y="181833"/>
                </a:cubicBezTo>
                <a:cubicBezTo>
                  <a:pt x="28575" y="179166"/>
                  <a:pt x="30731" y="177261"/>
                  <a:pt x="32886" y="177261"/>
                </a:cubicBezTo>
                <a:close/>
                <a:moveTo>
                  <a:pt x="210894" y="163003"/>
                </a:moveTo>
                <a:lnTo>
                  <a:pt x="202257" y="167316"/>
                </a:lnTo>
                <a:lnTo>
                  <a:pt x="202257" y="226624"/>
                </a:lnTo>
                <a:lnTo>
                  <a:pt x="206935" y="224107"/>
                </a:lnTo>
                <a:cubicBezTo>
                  <a:pt x="212333" y="221591"/>
                  <a:pt x="218451" y="221591"/>
                  <a:pt x="223850" y="224107"/>
                </a:cubicBezTo>
                <a:lnTo>
                  <a:pt x="228168" y="226624"/>
                </a:lnTo>
                <a:lnTo>
                  <a:pt x="228168" y="167316"/>
                </a:lnTo>
                <a:lnTo>
                  <a:pt x="219891" y="163003"/>
                </a:lnTo>
                <a:cubicBezTo>
                  <a:pt x="217012" y="161565"/>
                  <a:pt x="213773" y="161565"/>
                  <a:pt x="210894" y="163003"/>
                </a:cubicBezTo>
                <a:close/>
                <a:moveTo>
                  <a:pt x="130090" y="143923"/>
                </a:moveTo>
                <a:lnTo>
                  <a:pt x="174709" y="143923"/>
                </a:lnTo>
                <a:cubicBezTo>
                  <a:pt x="177228" y="143923"/>
                  <a:pt x="179027" y="145828"/>
                  <a:pt x="179027" y="148114"/>
                </a:cubicBezTo>
                <a:cubicBezTo>
                  <a:pt x="179027" y="150781"/>
                  <a:pt x="177228" y="153067"/>
                  <a:pt x="174709" y="153067"/>
                </a:cubicBezTo>
                <a:lnTo>
                  <a:pt x="130090" y="153067"/>
                </a:lnTo>
                <a:cubicBezTo>
                  <a:pt x="127571" y="153067"/>
                  <a:pt x="125412" y="150781"/>
                  <a:pt x="125412" y="148114"/>
                </a:cubicBezTo>
                <a:cubicBezTo>
                  <a:pt x="125412" y="145828"/>
                  <a:pt x="127571" y="143923"/>
                  <a:pt x="130090" y="143923"/>
                </a:cubicBezTo>
                <a:close/>
                <a:moveTo>
                  <a:pt x="72621" y="143923"/>
                </a:moveTo>
                <a:lnTo>
                  <a:pt x="106766" y="143923"/>
                </a:lnTo>
                <a:cubicBezTo>
                  <a:pt x="108946" y="143923"/>
                  <a:pt x="110762" y="145828"/>
                  <a:pt x="110762" y="148114"/>
                </a:cubicBezTo>
                <a:cubicBezTo>
                  <a:pt x="110762" y="150781"/>
                  <a:pt x="108946" y="153067"/>
                  <a:pt x="106766" y="153067"/>
                </a:cubicBezTo>
                <a:lnTo>
                  <a:pt x="72621" y="153067"/>
                </a:lnTo>
                <a:cubicBezTo>
                  <a:pt x="70442" y="153067"/>
                  <a:pt x="68262" y="150781"/>
                  <a:pt x="68262" y="148114"/>
                </a:cubicBezTo>
                <a:cubicBezTo>
                  <a:pt x="68262" y="145828"/>
                  <a:pt x="70442" y="143923"/>
                  <a:pt x="72621" y="143923"/>
                </a:cubicBezTo>
                <a:close/>
                <a:moveTo>
                  <a:pt x="85261" y="108998"/>
                </a:moveTo>
                <a:lnTo>
                  <a:pt x="146156" y="108998"/>
                </a:lnTo>
                <a:cubicBezTo>
                  <a:pt x="148663" y="108998"/>
                  <a:pt x="150454" y="111284"/>
                  <a:pt x="150454" y="113951"/>
                </a:cubicBezTo>
                <a:cubicBezTo>
                  <a:pt x="150454" y="116237"/>
                  <a:pt x="148663" y="118142"/>
                  <a:pt x="146156" y="118142"/>
                </a:cubicBezTo>
                <a:lnTo>
                  <a:pt x="85261" y="118142"/>
                </a:lnTo>
                <a:cubicBezTo>
                  <a:pt x="82753" y="118142"/>
                  <a:pt x="80962" y="116237"/>
                  <a:pt x="80962" y="113951"/>
                </a:cubicBezTo>
                <a:cubicBezTo>
                  <a:pt x="80962" y="111284"/>
                  <a:pt x="82753" y="108998"/>
                  <a:pt x="85261" y="108998"/>
                </a:cubicBezTo>
                <a:close/>
                <a:moveTo>
                  <a:pt x="85261" y="74073"/>
                </a:moveTo>
                <a:lnTo>
                  <a:pt x="146156" y="74073"/>
                </a:lnTo>
                <a:cubicBezTo>
                  <a:pt x="148663" y="74073"/>
                  <a:pt x="150454" y="75727"/>
                  <a:pt x="150454" y="77711"/>
                </a:cubicBezTo>
                <a:cubicBezTo>
                  <a:pt x="150454" y="80026"/>
                  <a:pt x="148663" y="81680"/>
                  <a:pt x="146156" y="81680"/>
                </a:cubicBezTo>
                <a:lnTo>
                  <a:pt x="85261" y="81680"/>
                </a:lnTo>
                <a:cubicBezTo>
                  <a:pt x="82753" y="81680"/>
                  <a:pt x="80962" y="80026"/>
                  <a:pt x="80962" y="77711"/>
                </a:cubicBezTo>
                <a:cubicBezTo>
                  <a:pt x="80962" y="75727"/>
                  <a:pt x="82753" y="74073"/>
                  <a:pt x="85261" y="74073"/>
                </a:cubicBezTo>
                <a:close/>
                <a:moveTo>
                  <a:pt x="45062" y="61373"/>
                </a:moveTo>
                <a:cubicBezTo>
                  <a:pt x="47610" y="61373"/>
                  <a:pt x="49431" y="63514"/>
                  <a:pt x="49431" y="65655"/>
                </a:cubicBezTo>
                <a:lnTo>
                  <a:pt x="49431" y="69580"/>
                </a:lnTo>
                <a:cubicBezTo>
                  <a:pt x="55621" y="70650"/>
                  <a:pt x="60718" y="74575"/>
                  <a:pt x="63267" y="80285"/>
                </a:cubicBezTo>
                <a:cubicBezTo>
                  <a:pt x="64359" y="82069"/>
                  <a:pt x="63267" y="84923"/>
                  <a:pt x="60718" y="85637"/>
                </a:cubicBezTo>
                <a:cubicBezTo>
                  <a:pt x="58533" y="86707"/>
                  <a:pt x="55985" y="85637"/>
                  <a:pt x="55257" y="83496"/>
                </a:cubicBezTo>
                <a:cubicBezTo>
                  <a:pt x="53436" y="79928"/>
                  <a:pt x="49431" y="77430"/>
                  <a:pt x="45062" y="77430"/>
                </a:cubicBezTo>
                <a:cubicBezTo>
                  <a:pt x="39236" y="77430"/>
                  <a:pt x="34503" y="81712"/>
                  <a:pt x="34503" y="86707"/>
                </a:cubicBezTo>
                <a:cubicBezTo>
                  <a:pt x="34503" y="92773"/>
                  <a:pt x="38144" y="95985"/>
                  <a:pt x="45062" y="95985"/>
                </a:cubicBezTo>
                <a:cubicBezTo>
                  <a:pt x="59626" y="95985"/>
                  <a:pt x="64723" y="104905"/>
                  <a:pt x="64723" y="113469"/>
                </a:cubicBezTo>
                <a:cubicBezTo>
                  <a:pt x="64723" y="121676"/>
                  <a:pt x="57805" y="128813"/>
                  <a:pt x="49431" y="130954"/>
                </a:cubicBezTo>
                <a:lnTo>
                  <a:pt x="49431" y="134522"/>
                </a:lnTo>
                <a:cubicBezTo>
                  <a:pt x="49431" y="136663"/>
                  <a:pt x="47610" y="138804"/>
                  <a:pt x="45062" y="138804"/>
                </a:cubicBezTo>
                <a:cubicBezTo>
                  <a:pt x="42513" y="138804"/>
                  <a:pt x="40692" y="136663"/>
                  <a:pt x="40692" y="134522"/>
                </a:cubicBezTo>
                <a:lnTo>
                  <a:pt x="40692" y="130597"/>
                </a:lnTo>
                <a:cubicBezTo>
                  <a:pt x="34503" y="129526"/>
                  <a:pt x="29405" y="125601"/>
                  <a:pt x="27220" y="119892"/>
                </a:cubicBezTo>
                <a:cubicBezTo>
                  <a:pt x="26128" y="117751"/>
                  <a:pt x="27220" y="115253"/>
                  <a:pt x="29405" y="114183"/>
                </a:cubicBezTo>
                <a:cubicBezTo>
                  <a:pt x="31590" y="113469"/>
                  <a:pt x="34139" y="114540"/>
                  <a:pt x="34867" y="116681"/>
                </a:cubicBezTo>
                <a:cubicBezTo>
                  <a:pt x="36687" y="120249"/>
                  <a:pt x="40692" y="122747"/>
                  <a:pt x="45062" y="122747"/>
                </a:cubicBezTo>
                <a:cubicBezTo>
                  <a:pt x="50887" y="122747"/>
                  <a:pt x="55985" y="118465"/>
                  <a:pt x="55985" y="113469"/>
                </a:cubicBezTo>
                <a:cubicBezTo>
                  <a:pt x="55985" y="107403"/>
                  <a:pt x="52344" y="104549"/>
                  <a:pt x="45062" y="104549"/>
                </a:cubicBezTo>
                <a:cubicBezTo>
                  <a:pt x="30862" y="104549"/>
                  <a:pt x="25400" y="95271"/>
                  <a:pt x="25400" y="86707"/>
                </a:cubicBezTo>
                <a:cubicBezTo>
                  <a:pt x="25400" y="78144"/>
                  <a:pt x="31954" y="71007"/>
                  <a:pt x="40692" y="69580"/>
                </a:cubicBezTo>
                <a:lnTo>
                  <a:pt x="40692" y="65655"/>
                </a:lnTo>
                <a:cubicBezTo>
                  <a:pt x="40692" y="63514"/>
                  <a:pt x="42513" y="61373"/>
                  <a:pt x="45062" y="61373"/>
                </a:cubicBezTo>
                <a:close/>
                <a:moveTo>
                  <a:pt x="210894" y="30732"/>
                </a:moveTo>
                <a:lnTo>
                  <a:pt x="202257" y="35404"/>
                </a:lnTo>
                <a:lnTo>
                  <a:pt x="202257" y="157612"/>
                </a:lnTo>
                <a:lnTo>
                  <a:pt x="206935" y="155455"/>
                </a:lnTo>
                <a:cubicBezTo>
                  <a:pt x="212333" y="152580"/>
                  <a:pt x="218451" y="152580"/>
                  <a:pt x="223850" y="155455"/>
                </a:cubicBezTo>
                <a:lnTo>
                  <a:pt x="228168" y="157612"/>
                </a:lnTo>
                <a:lnTo>
                  <a:pt x="228168" y="35404"/>
                </a:lnTo>
                <a:lnTo>
                  <a:pt x="219891" y="30732"/>
                </a:lnTo>
                <a:cubicBezTo>
                  <a:pt x="217012" y="29294"/>
                  <a:pt x="213773" y="29294"/>
                  <a:pt x="210894" y="30732"/>
                </a:cubicBezTo>
                <a:close/>
                <a:moveTo>
                  <a:pt x="211254" y="9525"/>
                </a:moveTo>
                <a:lnTo>
                  <a:pt x="210534" y="9884"/>
                </a:lnTo>
                <a:lnTo>
                  <a:pt x="210534" y="21746"/>
                </a:lnTo>
                <a:cubicBezTo>
                  <a:pt x="213773" y="21027"/>
                  <a:pt x="217012" y="21027"/>
                  <a:pt x="220251" y="21746"/>
                </a:cubicBezTo>
                <a:lnTo>
                  <a:pt x="220251" y="9884"/>
                </a:lnTo>
                <a:lnTo>
                  <a:pt x="219531" y="9525"/>
                </a:lnTo>
                <a:cubicBezTo>
                  <a:pt x="216652" y="8087"/>
                  <a:pt x="213773" y="8087"/>
                  <a:pt x="211254" y="9525"/>
                </a:cubicBezTo>
                <a:close/>
                <a:moveTo>
                  <a:pt x="207295" y="1617"/>
                </a:moveTo>
                <a:cubicBezTo>
                  <a:pt x="212333" y="-539"/>
                  <a:pt x="218451" y="-539"/>
                  <a:pt x="223490" y="1617"/>
                </a:cubicBezTo>
                <a:lnTo>
                  <a:pt x="226369" y="3055"/>
                </a:lnTo>
                <a:cubicBezTo>
                  <a:pt x="228168" y="3774"/>
                  <a:pt x="228888" y="5571"/>
                  <a:pt x="228888" y="7009"/>
                </a:cubicBezTo>
                <a:lnTo>
                  <a:pt x="228888" y="25699"/>
                </a:lnTo>
                <a:lnTo>
                  <a:pt x="234646" y="28575"/>
                </a:lnTo>
                <a:cubicBezTo>
                  <a:pt x="236086" y="29653"/>
                  <a:pt x="236806" y="31091"/>
                  <a:pt x="236806" y="32529"/>
                </a:cubicBezTo>
                <a:lnTo>
                  <a:pt x="236806" y="39358"/>
                </a:lnTo>
                <a:lnTo>
                  <a:pt x="281072" y="39358"/>
                </a:lnTo>
                <a:cubicBezTo>
                  <a:pt x="283231" y="39358"/>
                  <a:pt x="285390" y="41515"/>
                  <a:pt x="285390" y="43671"/>
                </a:cubicBezTo>
                <a:lnTo>
                  <a:pt x="285390" y="222310"/>
                </a:lnTo>
                <a:cubicBezTo>
                  <a:pt x="285390" y="224467"/>
                  <a:pt x="283231" y="226624"/>
                  <a:pt x="281072" y="226624"/>
                </a:cubicBezTo>
                <a:lnTo>
                  <a:pt x="250121" y="226624"/>
                </a:lnTo>
                <a:cubicBezTo>
                  <a:pt x="247602" y="226624"/>
                  <a:pt x="245443" y="224467"/>
                  <a:pt x="245443" y="222310"/>
                </a:cubicBezTo>
                <a:cubicBezTo>
                  <a:pt x="245443" y="219794"/>
                  <a:pt x="247602" y="217997"/>
                  <a:pt x="250121" y="217997"/>
                </a:cubicBezTo>
                <a:lnTo>
                  <a:pt x="276753" y="217997"/>
                </a:lnTo>
                <a:lnTo>
                  <a:pt x="276753" y="47984"/>
                </a:lnTo>
                <a:lnTo>
                  <a:pt x="236806" y="47984"/>
                </a:lnTo>
                <a:lnTo>
                  <a:pt x="236806" y="233812"/>
                </a:lnTo>
                <a:cubicBezTo>
                  <a:pt x="236806" y="234172"/>
                  <a:pt x="236806" y="234890"/>
                  <a:pt x="236806" y="235250"/>
                </a:cubicBezTo>
                <a:lnTo>
                  <a:pt x="219531" y="282336"/>
                </a:lnTo>
                <a:cubicBezTo>
                  <a:pt x="218811" y="283773"/>
                  <a:pt x="217012" y="284852"/>
                  <a:pt x="215212" y="284852"/>
                </a:cubicBezTo>
                <a:cubicBezTo>
                  <a:pt x="213413" y="284852"/>
                  <a:pt x="211973" y="283773"/>
                  <a:pt x="211254" y="282336"/>
                </a:cubicBezTo>
                <a:lnTo>
                  <a:pt x="193979" y="235250"/>
                </a:lnTo>
                <a:cubicBezTo>
                  <a:pt x="193979" y="234890"/>
                  <a:pt x="193979" y="234172"/>
                  <a:pt x="193979" y="233812"/>
                </a:cubicBezTo>
                <a:lnTo>
                  <a:pt x="193979" y="226624"/>
                </a:lnTo>
                <a:lnTo>
                  <a:pt x="4318" y="226624"/>
                </a:lnTo>
                <a:cubicBezTo>
                  <a:pt x="1799" y="226624"/>
                  <a:pt x="0" y="224467"/>
                  <a:pt x="0" y="222310"/>
                </a:cubicBezTo>
                <a:lnTo>
                  <a:pt x="0" y="43671"/>
                </a:lnTo>
                <a:cubicBezTo>
                  <a:pt x="0" y="41515"/>
                  <a:pt x="1799" y="39358"/>
                  <a:pt x="4318" y="39358"/>
                </a:cubicBezTo>
                <a:lnTo>
                  <a:pt x="157631" y="39358"/>
                </a:lnTo>
                <a:cubicBezTo>
                  <a:pt x="159790" y="39358"/>
                  <a:pt x="161949" y="41515"/>
                  <a:pt x="161949" y="43671"/>
                </a:cubicBezTo>
                <a:cubicBezTo>
                  <a:pt x="161949" y="46187"/>
                  <a:pt x="159790" y="47984"/>
                  <a:pt x="157631" y="47984"/>
                </a:cubicBezTo>
                <a:lnTo>
                  <a:pt x="8637" y="47984"/>
                </a:lnTo>
                <a:lnTo>
                  <a:pt x="8637" y="217997"/>
                </a:lnTo>
                <a:lnTo>
                  <a:pt x="193979" y="217997"/>
                </a:lnTo>
                <a:lnTo>
                  <a:pt x="193979" y="37201"/>
                </a:lnTo>
                <a:cubicBezTo>
                  <a:pt x="185342" y="38998"/>
                  <a:pt x="179224" y="45109"/>
                  <a:pt x="179224" y="52657"/>
                </a:cubicBezTo>
                <a:lnTo>
                  <a:pt x="179224" y="111604"/>
                </a:lnTo>
                <a:cubicBezTo>
                  <a:pt x="179224" y="114120"/>
                  <a:pt x="177424" y="115917"/>
                  <a:pt x="174905" y="115917"/>
                </a:cubicBezTo>
                <a:cubicBezTo>
                  <a:pt x="172746" y="115917"/>
                  <a:pt x="170587" y="114120"/>
                  <a:pt x="170587" y="111604"/>
                </a:cubicBezTo>
                <a:lnTo>
                  <a:pt x="170587" y="52657"/>
                </a:lnTo>
                <a:cubicBezTo>
                  <a:pt x="170587" y="39358"/>
                  <a:pt x="182103" y="28934"/>
                  <a:pt x="196858" y="28215"/>
                </a:cubicBezTo>
                <a:lnTo>
                  <a:pt x="201897" y="25699"/>
                </a:lnTo>
                <a:lnTo>
                  <a:pt x="201897" y="7009"/>
                </a:lnTo>
                <a:cubicBezTo>
                  <a:pt x="201897" y="5571"/>
                  <a:pt x="202616" y="3774"/>
                  <a:pt x="204056" y="3055"/>
                </a:cubicBezTo>
                <a:lnTo>
                  <a:pt x="207295" y="1617"/>
                </a:lnTo>
                <a:close/>
              </a:path>
            </a:pathLst>
          </a:custGeom>
          <a:solidFill>
            <a:schemeClr val="bg1"/>
          </a:solidFill>
          <a:ln>
            <a:noFill/>
          </a:ln>
          <a:effectLst/>
        </p:spPr>
        <p:txBody>
          <a:bodyPr anchor="ctr"/>
          <a:lstStyle/>
          <a:p>
            <a:endParaRPr lang="en-GB" sz="1600" dirty="0">
              <a:latin typeface="+mj-lt"/>
            </a:endParaRPr>
          </a:p>
        </p:txBody>
      </p:sp>
    </p:spTree>
    <p:extLst>
      <p:ext uri="{BB962C8B-B14F-4D97-AF65-F5344CB8AC3E}">
        <p14:creationId xmlns:p14="http://schemas.microsoft.com/office/powerpoint/2010/main" val="364719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94411" y="2723027"/>
            <a:ext cx="5285903" cy="1582271"/>
          </a:xfrm>
        </p:spPr>
        <p:txBody>
          <a:bodyPr/>
          <a:lstStyle/>
          <a:p>
            <a:r>
              <a:rPr lang="en-GB" dirty="0"/>
              <a:t>El </a:t>
            </a:r>
            <a:r>
              <a:rPr lang="en-GB"/>
              <a:t>lado estratégico de la reestructuración </a:t>
            </a:r>
            <a:endParaRPr lang="en-GB" dirty="0"/>
          </a:p>
        </p:txBody>
      </p:sp>
    </p:spTree>
    <p:extLst>
      <p:ext uri="{BB962C8B-B14F-4D97-AF65-F5344CB8AC3E}">
        <p14:creationId xmlns:p14="http://schemas.microsoft.com/office/powerpoint/2010/main" val="160178760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3042" y="444133"/>
            <a:ext cx="8852375" cy="697353"/>
          </a:xfrm>
        </p:spPr>
        <p:txBody>
          <a:bodyPr>
            <a:normAutofit/>
          </a:bodyPr>
          <a:lstStyle/>
          <a:p>
            <a:r>
              <a:rPr lang="en-GB" dirty="0"/>
              <a:t>Opciones de financiación - Reestructuración financiera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91306" y="1968094"/>
            <a:ext cx="3571576" cy="369875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reestructuración financiera tiene lugar en dos niveles del balance: </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En el activo del balance hay opciones de financiación interna</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En el pasivo, existe la opción de inyectar capital social o deuda</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38" name="Rechteck 37">
            <a:extLst>
              <a:ext uri="{FF2B5EF4-FFF2-40B4-BE49-F238E27FC236}">
                <a16:creationId xmlns:a16="http://schemas.microsoft.com/office/drawing/2014/main" xmlns="" id="{51068E99-5015-4C83-950F-6F983302AE4C}"/>
              </a:ext>
            </a:extLst>
          </p:cNvPr>
          <p:cNvSpPr/>
          <p:nvPr/>
        </p:nvSpPr>
        <p:spPr>
          <a:xfrm>
            <a:off x="4330590" y="2414512"/>
            <a:ext cx="6203872" cy="456742"/>
          </a:xfrm>
          <a:prstGeom prst="rect">
            <a:avLst/>
          </a:prstGeom>
          <a:solidFill>
            <a:srgbClr val="F95C2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latin typeface="+mj-lt"/>
              </a:rPr>
              <a:t>Balance de situación</a:t>
            </a:r>
          </a:p>
        </p:txBody>
      </p:sp>
      <p:sp>
        <p:nvSpPr>
          <p:cNvPr id="41" name="Rechteck 40">
            <a:extLst>
              <a:ext uri="{FF2B5EF4-FFF2-40B4-BE49-F238E27FC236}">
                <a16:creationId xmlns:a16="http://schemas.microsoft.com/office/drawing/2014/main" xmlns="" id="{A94286E9-E6F4-41BD-A9A8-388D247CC654}"/>
              </a:ext>
            </a:extLst>
          </p:cNvPr>
          <p:cNvSpPr/>
          <p:nvPr/>
        </p:nvSpPr>
        <p:spPr>
          <a:xfrm>
            <a:off x="4330590" y="2871254"/>
            <a:ext cx="3104537" cy="456742"/>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Activos</a:t>
            </a:r>
            <a:endParaRPr lang="en-GB" sz="1600" b="1" dirty="0">
              <a:solidFill>
                <a:schemeClr val="bg1"/>
              </a:solidFill>
            </a:endParaRPr>
          </a:p>
        </p:txBody>
      </p:sp>
      <p:sp>
        <p:nvSpPr>
          <p:cNvPr id="42" name="Rechteck 41">
            <a:extLst>
              <a:ext uri="{FF2B5EF4-FFF2-40B4-BE49-F238E27FC236}">
                <a16:creationId xmlns:a16="http://schemas.microsoft.com/office/drawing/2014/main" xmlns="" id="{D83C8517-C09B-4C81-89DA-A5F7751B0218}"/>
              </a:ext>
            </a:extLst>
          </p:cNvPr>
          <p:cNvSpPr/>
          <p:nvPr/>
        </p:nvSpPr>
        <p:spPr>
          <a:xfrm>
            <a:off x="7427324" y="2871254"/>
            <a:ext cx="3104537" cy="456742"/>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Pasivo</a:t>
            </a:r>
            <a:endParaRPr lang="en-GB" sz="1600" b="1" dirty="0">
              <a:solidFill>
                <a:schemeClr val="bg1"/>
              </a:solidFill>
            </a:endParaRPr>
          </a:p>
        </p:txBody>
      </p:sp>
      <p:cxnSp>
        <p:nvCxnSpPr>
          <p:cNvPr id="9" name="Gerader Verbinder 8">
            <a:extLst>
              <a:ext uri="{FF2B5EF4-FFF2-40B4-BE49-F238E27FC236}">
                <a16:creationId xmlns:a16="http://schemas.microsoft.com/office/drawing/2014/main" xmlns="" id="{1937410F-E639-4C39-BEA0-FCE28F60D688}"/>
              </a:ext>
            </a:extLst>
          </p:cNvPr>
          <p:cNvCxnSpPr/>
          <p:nvPr/>
        </p:nvCxnSpPr>
        <p:spPr>
          <a:xfrm>
            <a:off x="4330590" y="2871254"/>
            <a:ext cx="620127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xmlns="" id="{A05081F6-6692-4A85-B2AD-8A5DCD286F59}"/>
              </a:ext>
            </a:extLst>
          </p:cNvPr>
          <p:cNvSpPr/>
          <p:nvPr/>
        </p:nvSpPr>
        <p:spPr>
          <a:xfrm>
            <a:off x="4330590" y="3327995"/>
            <a:ext cx="3104537" cy="2184643"/>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bg1"/>
              </a:solidFill>
            </a:endParaRPr>
          </a:p>
        </p:txBody>
      </p:sp>
      <p:sp>
        <p:nvSpPr>
          <p:cNvPr id="44" name="Rechteck 43">
            <a:extLst>
              <a:ext uri="{FF2B5EF4-FFF2-40B4-BE49-F238E27FC236}">
                <a16:creationId xmlns:a16="http://schemas.microsoft.com/office/drawing/2014/main" xmlns="" id="{1C9C59F1-0582-4795-A930-1A14F198C3CC}"/>
              </a:ext>
            </a:extLst>
          </p:cNvPr>
          <p:cNvSpPr/>
          <p:nvPr/>
        </p:nvSpPr>
        <p:spPr>
          <a:xfrm>
            <a:off x="7427324" y="3327995"/>
            <a:ext cx="3104537" cy="2184643"/>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bg1"/>
              </a:solidFill>
            </a:endParaRPr>
          </a:p>
        </p:txBody>
      </p:sp>
      <p:cxnSp>
        <p:nvCxnSpPr>
          <p:cNvPr id="45" name="Gerader Verbinder 44">
            <a:extLst>
              <a:ext uri="{FF2B5EF4-FFF2-40B4-BE49-F238E27FC236}">
                <a16:creationId xmlns:a16="http://schemas.microsoft.com/office/drawing/2014/main" xmlns="" id="{8F9151E2-99B0-499F-A3CB-C8A32C99701E}"/>
              </a:ext>
            </a:extLst>
          </p:cNvPr>
          <p:cNvCxnSpPr>
            <a:cxnSpLocks/>
            <a:stCxn id="38" idx="2"/>
          </p:cNvCxnSpPr>
          <p:nvPr/>
        </p:nvCxnSpPr>
        <p:spPr>
          <a:xfrm>
            <a:off x="7432526" y="2871254"/>
            <a:ext cx="2601" cy="264138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xmlns="" id="{5FA8218B-BF3B-4E32-ADC4-A03A77893C2E}"/>
              </a:ext>
            </a:extLst>
          </p:cNvPr>
          <p:cNvSpPr/>
          <p:nvPr/>
        </p:nvSpPr>
        <p:spPr>
          <a:xfrm>
            <a:off x="4459230" y="3457480"/>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Activos fijos</a:t>
            </a:r>
            <a:endParaRPr lang="en-GB" sz="1600" b="1" dirty="0">
              <a:solidFill>
                <a:schemeClr val="bg1"/>
              </a:solidFill>
            </a:endParaRPr>
          </a:p>
        </p:txBody>
      </p:sp>
      <p:sp>
        <p:nvSpPr>
          <p:cNvPr id="47" name="Rechteck 46">
            <a:extLst>
              <a:ext uri="{FF2B5EF4-FFF2-40B4-BE49-F238E27FC236}">
                <a16:creationId xmlns:a16="http://schemas.microsoft.com/office/drawing/2014/main" xmlns="" id="{83C64FB2-9188-463D-8A39-121A0410577D}"/>
              </a:ext>
            </a:extLst>
          </p:cNvPr>
          <p:cNvSpPr/>
          <p:nvPr/>
        </p:nvSpPr>
        <p:spPr>
          <a:xfrm>
            <a:off x="4459230" y="4266207"/>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Activos corrientes</a:t>
            </a:r>
            <a:endParaRPr lang="en-GB" sz="1600" b="1" dirty="0">
              <a:solidFill>
                <a:schemeClr val="bg1"/>
              </a:solidFill>
            </a:endParaRPr>
          </a:p>
        </p:txBody>
      </p:sp>
      <p:sp>
        <p:nvSpPr>
          <p:cNvPr id="48" name="Rechteck 47">
            <a:extLst>
              <a:ext uri="{FF2B5EF4-FFF2-40B4-BE49-F238E27FC236}">
                <a16:creationId xmlns:a16="http://schemas.microsoft.com/office/drawing/2014/main" xmlns="" id="{4F13DAB9-F84D-436D-BFFB-85F9F76DBE64}"/>
              </a:ext>
            </a:extLst>
          </p:cNvPr>
          <p:cNvSpPr/>
          <p:nvPr/>
        </p:nvSpPr>
        <p:spPr>
          <a:xfrm>
            <a:off x="7555964" y="3457480"/>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Equidad</a:t>
            </a:r>
            <a:endParaRPr lang="en-GB" sz="1600" b="1" dirty="0">
              <a:solidFill>
                <a:schemeClr val="bg1"/>
              </a:solidFill>
            </a:endParaRPr>
          </a:p>
        </p:txBody>
      </p:sp>
      <p:sp>
        <p:nvSpPr>
          <p:cNvPr id="49" name="Rechteck 48">
            <a:extLst>
              <a:ext uri="{FF2B5EF4-FFF2-40B4-BE49-F238E27FC236}">
                <a16:creationId xmlns:a16="http://schemas.microsoft.com/office/drawing/2014/main" xmlns="" id="{520176C7-2969-442B-B530-61FD7945C71E}"/>
              </a:ext>
            </a:extLst>
          </p:cNvPr>
          <p:cNvSpPr/>
          <p:nvPr/>
        </p:nvSpPr>
        <p:spPr>
          <a:xfrm>
            <a:off x="7555964" y="4266207"/>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Capital de la deuda</a:t>
            </a:r>
            <a:endParaRPr lang="en-GB" sz="1600" b="1" dirty="0">
              <a:solidFill>
                <a:schemeClr val="bg1"/>
              </a:solidFill>
            </a:endParaRPr>
          </a:p>
        </p:txBody>
      </p:sp>
      <p:sp>
        <p:nvSpPr>
          <p:cNvPr id="13" name="Pfeil: nach rechts 12">
            <a:extLst>
              <a:ext uri="{FF2B5EF4-FFF2-40B4-BE49-F238E27FC236}">
                <a16:creationId xmlns:a16="http://schemas.microsoft.com/office/drawing/2014/main" xmlns="" id="{8E45650E-5F28-46C9-9355-1548733FA94C}"/>
              </a:ext>
            </a:extLst>
          </p:cNvPr>
          <p:cNvSpPr/>
          <p:nvPr/>
        </p:nvSpPr>
        <p:spPr>
          <a:xfrm rot="10800000">
            <a:off x="10395417" y="3330109"/>
            <a:ext cx="974752" cy="697351"/>
          </a:xfrm>
          <a:prstGeom prst="right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Pfeil: nach rechts 49">
            <a:extLst>
              <a:ext uri="{FF2B5EF4-FFF2-40B4-BE49-F238E27FC236}">
                <a16:creationId xmlns:a16="http://schemas.microsoft.com/office/drawing/2014/main" xmlns="" id="{C3FB6441-29E5-4A24-B584-2B95AFBC7116}"/>
              </a:ext>
            </a:extLst>
          </p:cNvPr>
          <p:cNvSpPr/>
          <p:nvPr/>
        </p:nvSpPr>
        <p:spPr>
          <a:xfrm rot="10800000">
            <a:off x="10395417" y="4146661"/>
            <a:ext cx="974753" cy="697351"/>
          </a:xfrm>
          <a:prstGeom prst="right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Pfeil: nach oben gekrümmt 13">
            <a:extLst>
              <a:ext uri="{FF2B5EF4-FFF2-40B4-BE49-F238E27FC236}">
                <a16:creationId xmlns:a16="http://schemas.microsoft.com/office/drawing/2014/main" xmlns="" id="{A5095E48-CEA3-4B80-BD60-8609AB492563}"/>
              </a:ext>
            </a:extLst>
          </p:cNvPr>
          <p:cNvSpPr/>
          <p:nvPr/>
        </p:nvSpPr>
        <p:spPr>
          <a:xfrm>
            <a:off x="6589015" y="4146661"/>
            <a:ext cx="709670" cy="576288"/>
          </a:xfrm>
          <a:prstGeom prst="curvedUp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51" name="Pfeil: nach oben gekrümmt 50">
            <a:extLst>
              <a:ext uri="{FF2B5EF4-FFF2-40B4-BE49-F238E27FC236}">
                <a16:creationId xmlns:a16="http://schemas.microsoft.com/office/drawing/2014/main" xmlns="" id="{1DBEE022-4F1D-4C2C-B9CA-62457FD557DB}"/>
              </a:ext>
            </a:extLst>
          </p:cNvPr>
          <p:cNvSpPr/>
          <p:nvPr/>
        </p:nvSpPr>
        <p:spPr>
          <a:xfrm rot="10800000">
            <a:off x="6512012" y="3457480"/>
            <a:ext cx="709670" cy="576288"/>
          </a:xfrm>
          <a:prstGeom prst="curvedUp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53" name="Subtitle 2">
            <a:extLst>
              <a:ext uri="{FF2B5EF4-FFF2-40B4-BE49-F238E27FC236}">
                <a16:creationId xmlns:a16="http://schemas.microsoft.com/office/drawing/2014/main" xmlns="" id="{06B59969-4B5E-4109-AC4B-41123B3AC28B}"/>
              </a:ext>
            </a:extLst>
          </p:cNvPr>
          <p:cNvSpPr txBox="1">
            <a:spLocks/>
          </p:cNvSpPr>
          <p:nvPr/>
        </p:nvSpPr>
        <p:spPr>
          <a:xfrm>
            <a:off x="4459230" y="4949698"/>
            <a:ext cx="28394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Financiación interna:</a:t>
            </a:r>
            <a:br>
              <a:rPr lang="en-GB" sz="1600" b="1">
                <a:latin typeface="+mj-lt"/>
                <a:ea typeface="Lato Light" panose="020F0502020204030203" pitchFamily="34" charset="0"/>
                <a:cs typeface="Mukta ExtraLight" panose="020B0000000000000000" pitchFamily="34" charset="77"/>
              </a:rPr>
            </a:br>
            <a:r>
              <a:rPr lang="en-GB" sz="1600">
                <a:latin typeface="+mj-lt"/>
                <a:ea typeface="Lato Light" panose="020F0502020204030203" pitchFamily="34" charset="0"/>
                <a:cs typeface="Mukta ExtraLight" panose="020B0000000000000000" pitchFamily="34" charset="77"/>
              </a:rPr>
              <a:t>De la energía propia</a:t>
            </a:r>
            <a:endParaRPr lang="en-GB" sz="1600" b="1" dirty="0">
              <a:latin typeface="+mj-lt"/>
              <a:ea typeface="Lato Light" panose="020F0502020204030203" pitchFamily="34" charset="0"/>
              <a:cs typeface="Mukta ExtraLight" panose="020B0000000000000000" pitchFamily="34" charset="77"/>
            </a:endParaRPr>
          </a:p>
        </p:txBody>
      </p:sp>
      <p:sp>
        <p:nvSpPr>
          <p:cNvPr id="55" name="Subtitle 2">
            <a:extLst>
              <a:ext uri="{FF2B5EF4-FFF2-40B4-BE49-F238E27FC236}">
                <a16:creationId xmlns:a16="http://schemas.microsoft.com/office/drawing/2014/main" xmlns="" id="{262AC9C3-092E-4E0B-9F24-2E45454CF072}"/>
              </a:ext>
            </a:extLst>
          </p:cNvPr>
          <p:cNvSpPr txBox="1">
            <a:spLocks/>
          </p:cNvSpPr>
          <p:nvPr/>
        </p:nvSpPr>
        <p:spPr>
          <a:xfrm>
            <a:off x="7555964" y="4949698"/>
            <a:ext cx="28394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Financiación externa: </a:t>
            </a:r>
            <a:br>
              <a:rPr lang="en-GB" sz="1600" b="1">
                <a:latin typeface="+mj-lt"/>
                <a:ea typeface="Lato Light" panose="020F0502020204030203" pitchFamily="34" charset="0"/>
                <a:cs typeface="Mukta ExtraLight" panose="020B0000000000000000" pitchFamily="34" charset="77"/>
              </a:rPr>
            </a:br>
            <a:r>
              <a:rPr lang="en-GB" sz="1600">
                <a:latin typeface="+mj-lt"/>
                <a:ea typeface="Lato Light" panose="020F0502020204030203" pitchFamily="34" charset="0"/>
                <a:cs typeface="Mukta ExtraLight" panose="020B0000000000000000" pitchFamily="34" charset="77"/>
              </a:rPr>
              <a:t>Inyección de capital</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57487260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01553" y="426898"/>
            <a:ext cx="8852375" cy="697353"/>
          </a:xfrm>
        </p:spPr>
        <p:txBody>
          <a:bodyPr>
            <a:normAutofit/>
          </a:bodyPr>
          <a:lstStyle/>
          <a:p>
            <a:r>
              <a:rPr lang="en-GB" dirty="0"/>
              <a:t>El calendario de la reestructuración financier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4714" y="2098307"/>
            <a:ext cx="2788785" cy="437586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a caja de herramientas para la reestructuración financiera es amplia, pero se reduce a medida que avanza la crisis. </a:t>
            </a:r>
          </a:p>
          <a:p>
            <a:pPr algn="l">
              <a:lnSpc>
                <a:spcPct val="100000"/>
              </a:lnSpc>
              <a:spcBef>
                <a:spcPts val="600"/>
              </a:spcBef>
            </a:pPr>
            <a:endParaRPr lang="en-GB" sz="22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n embargo, los instrumentos disponibles varían en su complejidad y a veces requieren un tiempo considerable de antelación</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cxnSp>
        <p:nvCxnSpPr>
          <p:cNvPr id="6" name="Gerade Verbindung mit Pfeil 5">
            <a:extLst>
              <a:ext uri="{FF2B5EF4-FFF2-40B4-BE49-F238E27FC236}">
                <a16:creationId xmlns:a16="http://schemas.microsoft.com/office/drawing/2014/main" xmlns="" id="{D56C76F7-68CE-4B26-A52D-8770502F9A19}"/>
              </a:ext>
            </a:extLst>
          </p:cNvPr>
          <p:cNvCxnSpPr>
            <a:cxnSpLocks/>
          </p:cNvCxnSpPr>
          <p:nvPr/>
        </p:nvCxnSpPr>
        <p:spPr>
          <a:xfrm flipV="1">
            <a:off x="3773103" y="2098307"/>
            <a:ext cx="0" cy="3627002"/>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xmlns="" id="{FB32D818-ED6D-459F-ADB6-4F31917E9F5F}"/>
              </a:ext>
            </a:extLst>
          </p:cNvPr>
          <p:cNvCxnSpPr>
            <a:cxnSpLocks/>
          </p:cNvCxnSpPr>
          <p:nvPr/>
        </p:nvCxnSpPr>
        <p:spPr>
          <a:xfrm>
            <a:off x="3773103" y="5706059"/>
            <a:ext cx="7122695" cy="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27" name="Subtitle 2">
            <a:extLst>
              <a:ext uri="{FF2B5EF4-FFF2-40B4-BE49-F238E27FC236}">
                <a16:creationId xmlns:a16="http://schemas.microsoft.com/office/drawing/2014/main" xmlns="" id="{ABAF5D81-7D3C-4751-A67A-349C3934525C}"/>
              </a:ext>
            </a:extLst>
          </p:cNvPr>
          <p:cNvSpPr txBox="1">
            <a:spLocks/>
          </p:cNvSpPr>
          <p:nvPr/>
        </p:nvSpPr>
        <p:spPr>
          <a:xfrm>
            <a:off x="7808822" y="5706059"/>
            <a:ext cx="283945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b="1">
                <a:latin typeface="+mj-lt"/>
                <a:ea typeface="Lato Light" panose="020F0502020204030203" pitchFamily="34" charset="0"/>
                <a:cs typeface="Mukta ExtraLight" panose="020B0000000000000000" pitchFamily="34" charset="77"/>
              </a:rPr>
              <a:t>Tiempo necesario</a:t>
            </a:r>
            <a:endParaRPr lang="en-GB" sz="1600" b="1" dirty="0">
              <a:latin typeface="+mj-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xmlns="" id="{526D63FF-A52F-4E47-B906-BCD5DFECE8C7}"/>
              </a:ext>
            </a:extLst>
          </p:cNvPr>
          <p:cNvSpPr txBox="1">
            <a:spLocks/>
          </p:cNvSpPr>
          <p:nvPr/>
        </p:nvSpPr>
        <p:spPr>
          <a:xfrm rot="16200000">
            <a:off x="2212949" y="3637503"/>
            <a:ext cx="283945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b="1">
                <a:latin typeface="+mj-lt"/>
                <a:ea typeface="Lato Light" panose="020F0502020204030203" pitchFamily="34" charset="0"/>
                <a:cs typeface="Mukta ExtraLight" panose="020B0000000000000000" pitchFamily="34" charset="77"/>
              </a:rPr>
              <a:t>Complejidad</a:t>
            </a:r>
            <a:endParaRPr lang="en-GB" sz="1600" b="1" dirty="0">
              <a:latin typeface="+mj-lt"/>
              <a:ea typeface="Lato Light" panose="020F0502020204030203" pitchFamily="34" charset="0"/>
              <a:cs typeface="Mukta ExtraLight" panose="020B0000000000000000" pitchFamily="34" charset="77"/>
            </a:endParaRPr>
          </a:p>
        </p:txBody>
      </p:sp>
      <p:sp>
        <p:nvSpPr>
          <p:cNvPr id="31" name="Rechteck 30">
            <a:extLst>
              <a:ext uri="{FF2B5EF4-FFF2-40B4-BE49-F238E27FC236}">
                <a16:creationId xmlns:a16="http://schemas.microsoft.com/office/drawing/2014/main" xmlns="" id="{787A516F-3FB2-47F1-84A0-CDACB19D7E2C}"/>
              </a:ext>
            </a:extLst>
          </p:cNvPr>
          <p:cNvSpPr/>
          <p:nvPr/>
        </p:nvSpPr>
        <p:spPr>
          <a:xfrm>
            <a:off x="3989282" y="5031039"/>
            <a:ext cx="2357083" cy="553325"/>
          </a:xfrm>
          <a:prstGeom prst="rect">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Mantener la solvencia financiera</a:t>
            </a:r>
          </a:p>
        </p:txBody>
      </p:sp>
      <p:sp>
        <p:nvSpPr>
          <p:cNvPr id="32" name="Rechteck 31">
            <a:extLst>
              <a:ext uri="{FF2B5EF4-FFF2-40B4-BE49-F238E27FC236}">
                <a16:creationId xmlns:a16="http://schemas.microsoft.com/office/drawing/2014/main" xmlns="" id="{2F6B44A6-77D0-4EB5-BAFA-BC46403239DE}"/>
              </a:ext>
            </a:extLst>
          </p:cNvPr>
          <p:cNvSpPr/>
          <p:nvPr/>
        </p:nvSpPr>
        <p:spPr>
          <a:xfrm>
            <a:off x="4744124" y="4465160"/>
            <a:ext cx="2788790" cy="456742"/>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Estabilización de la liquidez</a:t>
            </a:r>
          </a:p>
        </p:txBody>
      </p:sp>
      <p:sp>
        <p:nvSpPr>
          <p:cNvPr id="33" name="Rechteck 32">
            <a:extLst>
              <a:ext uri="{FF2B5EF4-FFF2-40B4-BE49-F238E27FC236}">
                <a16:creationId xmlns:a16="http://schemas.microsoft.com/office/drawing/2014/main" xmlns="" id="{75FDE408-36C2-4CE8-B11C-EB4902BAF4FC}"/>
              </a:ext>
            </a:extLst>
          </p:cNvPr>
          <p:cNvSpPr/>
          <p:nvPr/>
        </p:nvSpPr>
        <p:spPr>
          <a:xfrm>
            <a:off x="7747962" y="3011230"/>
            <a:ext cx="2122273" cy="6750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Mejora de la estructura de financiación</a:t>
            </a:r>
          </a:p>
        </p:txBody>
      </p:sp>
      <p:sp>
        <p:nvSpPr>
          <p:cNvPr id="34" name="Rechteck 33">
            <a:extLst>
              <a:ext uri="{FF2B5EF4-FFF2-40B4-BE49-F238E27FC236}">
                <a16:creationId xmlns:a16="http://schemas.microsoft.com/office/drawing/2014/main" xmlns="" id="{85A6F7ED-C858-45F7-8C46-0E53E78CC4A7}"/>
              </a:ext>
            </a:extLst>
          </p:cNvPr>
          <p:cNvSpPr/>
          <p:nvPr/>
        </p:nvSpPr>
        <p:spPr>
          <a:xfrm>
            <a:off x="8526004" y="2098307"/>
            <a:ext cx="2122273" cy="80378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Construir una estructura de capital sostenible</a:t>
            </a:r>
          </a:p>
        </p:txBody>
      </p:sp>
    </p:spTree>
    <p:extLst>
      <p:ext uri="{BB962C8B-B14F-4D97-AF65-F5344CB8AC3E}">
        <p14:creationId xmlns:p14="http://schemas.microsoft.com/office/powerpoint/2010/main" val="84772890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79821" y="685141"/>
            <a:ext cx="8852375" cy="697353"/>
          </a:xfrm>
        </p:spPr>
        <p:txBody>
          <a:bodyPr>
            <a:normAutofit/>
          </a:bodyPr>
          <a:lstStyle/>
          <a:p>
            <a:r>
              <a:rPr lang="en-GB" dirty="0"/>
              <a:t>Herramientas para la reestructuración financiera</a:t>
            </a:r>
          </a:p>
        </p:txBody>
      </p:sp>
      <p:cxnSp>
        <p:nvCxnSpPr>
          <p:cNvPr id="6" name="Gerade Verbindung mit Pfeil 5">
            <a:extLst>
              <a:ext uri="{FF2B5EF4-FFF2-40B4-BE49-F238E27FC236}">
                <a16:creationId xmlns:a16="http://schemas.microsoft.com/office/drawing/2014/main" xmlns="" id="{D56C76F7-68CE-4B26-A52D-8770502F9A19}"/>
              </a:ext>
            </a:extLst>
          </p:cNvPr>
          <p:cNvCxnSpPr>
            <a:cxnSpLocks/>
          </p:cNvCxnSpPr>
          <p:nvPr/>
        </p:nvCxnSpPr>
        <p:spPr>
          <a:xfrm flipV="1">
            <a:off x="3773103" y="2098307"/>
            <a:ext cx="0" cy="3627002"/>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xmlns="" id="{FB32D818-ED6D-459F-ADB6-4F31917E9F5F}"/>
              </a:ext>
            </a:extLst>
          </p:cNvPr>
          <p:cNvCxnSpPr>
            <a:cxnSpLocks/>
          </p:cNvCxnSpPr>
          <p:nvPr/>
        </p:nvCxnSpPr>
        <p:spPr>
          <a:xfrm>
            <a:off x="3773103" y="5706059"/>
            <a:ext cx="7122695" cy="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27" name="Subtitle 2">
            <a:extLst>
              <a:ext uri="{FF2B5EF4-FFF2-40B4-BE49-F238E27FC236}">
                <a16:creationId xmlns:a16="http://schemas.microsoft.com/office/drawing/2014/main" xmlns="" id="{ABAF5D81-7D3C-4751-A67A-349C3934525C}"/>
              </a:ext>
            </a:extLst>
          </p:cNvPr>
          <p:cNvSpPr txBox="1">
            <a:spLocks/>
          </p:cNvSpPr>
          <p:nvPr/>
        </p:nvSpPr>
        <p:spPr>
          <a:xfrm>
            <a:off x="7808822" y="5706059"/>
            <a:ext cx="283945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b="1">
                <a:latin typeface="+mj-lt"/>
                <a:ea typeface="Lato Light" panose="020F0502020204030203" pitchFamily="34" charset="0"/>
                <a:cs typeface="Mukta ExtraLight" panose="020B0000000000000000" pitchFamily="34" charset="77"/>
              </a:rPr>
              <a:t>Tiempo necesario</a:t>
            </a:r>
            <a:endParaRPr lang="en-GB" sz="1600" b="1" dirty="0">
              <a:latin typeface="+mj-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xmlns="" id="{526D63FF-A52F-4E47-B906-BCD5DFECE8C7}"/>
              </a:ext>
            </a:extLst>
          </p:cNvPr>
          <p:cNvSpPr txBox="1">
            <a:spLocks/>
          </p:cNvSpPr>
          <p:nvPr/>
        </p:nvSpPr>
        <p:spPr>
          <a:xfrm rot="16200000">
            <a:off x="3097278" y="2753174"/>
            <a:ext cx="107079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b="1">
                <a:latin typeface="+mj-lt"/>
                <a:ea typeface="Lato Light" panose="020F0502020204030203" pitchFamily="34" charset="0"/>
                <a:cs typeface="Mukta ExtraLight" panose="020B0000000000000000" pitchFamily="34" charset="77"/>
              </a:rPr>
              <a:t>Complejidad</a:t>
            </a:r>
            <a:endParaRPr lang="en-GB" sz="1600" b="1" dirty="0">
              <a:latin typeface="+mj-lt"/>
              <a:ea typeface="Lato Light" panose="020F0502020204030203" pitchFamily="34" charset="0"/>
              <a:cs typeface="Mukta ExtraLight" panose="020B0000000000000000" pitchFamily="34" charset="77"/>
            </a:endParaRPr>
          </a:p>
        </p:txBody>
      </p:sp>
      <p:sp>
        <p:nvSpPr>
          <p:cNvPr id="13" name="Subtitle 2">
            <a:extLst>
              <a:ext uri="{FF2B5EF4-FFF2-40B4-BE49-F238E27FC236}">
                <a16:creationId xmlns:a16="http://schemas.microsoft.com/office/drawing/2014/main" xmlns="" id="{0BACE9AF-7F41-4D15-9F3F-792178534ADA}"/>
              </a:ext>
            </a:extLst>
          </p:cNvPr>
          <p:cNvSpPr txBox="1">
            <a:spLocks/>
          </p:cNvSpPr>
          <p:nvPr/>
        </p:nvSpPr>
        <p:spPr>
          <a:xfrm>
            <a:off x="4429625" y="4794269"/>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E53292"/>
                </a:solidFill>
                <a:latin typeface="+mj-lt"/>
                <a:ea typeface="Lato Light" panose="020F0502020204030203" pitchFamily="34" charset="0"/>
                <a:cs typeface="Mukta ExtraLight" panose="020B0000000000000000" pitchFamily="34" charset="77"/>
              </a:rPr>
              <a:t>Renuncia a las reclamaciones</a:t>
            </a:r>
            <a:endParaRPr lang="en-GB" sz="1600" b="1" dirty="0">
              <a:solidFill>
                <a:srgbClr val="E53292"/>
              </a:solidFill>
              <a:latin typeface="+mj-lt"/>
              <a:ea typeface="Lato Light" panose="020F0502020204030203" pitchFamily="34" charset="0"/>
              <a:cs typeface="Mukta ExtraLight" panose="020B0000000000000000" pitchFamily="34" charset="77"/>
            </a:endParaRPr>
          </a:p>
        </p:txBody>
      </p:sp>
      <p:sp>
        <p:nvSpPr>
          <p:cNvPr id="14" name="Subtitle 2">
            <a:extLst>
              <a:ext uri="{FF2B5EF4-FFF2-40B4-BE49-F238E27FC236}">
                <a16:creationId xmlns:a16="http://schemas.microsoft.com/office/drawing/2014/main" xmlns="" id="{E2D48363-1742-4AFD-89EE-C92CE506C8FD}"/>
              </a:ext>
            </a:extLst>
          </p:cNvPr>
          <p:cNvSpPr txBox="1">
            <a:spLocks/>
          </p:cNvSpPr>
          <p:nvPr/>
        </p:nvSpPr>
        <p:spPr>
          <a:xfrm>
            <a:off x="3874525" y="5218154"/>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E53292"/>
                </a:solidFill>
                <a:latin typeface="+mj-lt"/>
                <a:ea typeface="Lato Light" panose="020F0502020204030203" pitchFamily="34" charset="0"/>
                <a:cs typeface="Mukta ExtraLight" panose="020B0000000000000000" pitchFamily="34" charset="77"/>
              </a:rPr>
              <a:t>Pagos diferidos</a:t>
            </a:r>
            <a:endParaRPr lang="en-GB" sz="1600" b="1" dirty="0">
              <a:solidFill>
                <a:srgbClr val="E53292"/>
              </a:solidFill>
              <a:latin typeface="+mj-lt"/>
              <a:ea typeface="Lato Light" panose="020F0502020204030203" pitchFamily="34" charset="0"/>
              <a:cs typeface="Mukta ExtraLight" panose="020B0000000000000000" pitchFamily="34" charset="77"/>
            </a:endParaRPr>
          </a:p>
        </p:txBody>
      </p:sp>
      <p:sp>
        <p:nvSpPr>
          <p:cNvPr id="15" name="Subtitle 2">
            <a:extLst>
              <a:ext uri="{FF2B5EF4-FFF2-40B4-BE49-F238E27FC236}">
                <a16:creationId xmlns:a16="http://schemas.microsoft.com/office/drawing/2014/main" xmlns="" id="{D1DF5FD1-97C5-4D75-85FE-11D5D8129B0C}"/>
              </a:ext>
            </a:extLst>
          </p:cNvPr>
          <p:cNvSpPr txBox="1">
            <a:spLocks/>
          </p:cNvSpPr>
          <p:nvPr/>
        </p:nvSpPr>
        <p:spPr>
          <a:xfrm>
            <a:off x="4791087" y="4559069"/>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E53292"/>
                </a:solidFill>
                <a:latin typeface="+mj-lt"/>
                <a:ea typeface="Lato Light" panose="020F0502020204030203" pitchFamily="34" charset="0"/>
                <a:cs typeface="Mukta ExtraLight" panose="020B0000000000000000" pitchFamily="34" charset="77"/>
              </a:rPr>
              <a:t>Subordinación</a:t>
            </a:r>
            <a:endParaRPr lang="en-GB" sz="1600" b="1" dirty="0">
              <a:solidFill>
                <a:srgbClr val="E53292"/>
              </a:solidFill>
              <a:latin typeface="+mj-lt"/>
              <a:ea typeface="Lato Light" panose="020F0502020204030203" pitchFamily="34" charset="0"/>
              <a:cs typeface="Mukta ExtraLight" panose="020B0000000000000000" pitchFamily="34" charset="77"/>
            </a:endParaRPr>
          </a:p>
        </p:txBody>
      </p:sp>
      <p:sp>
        <p:nvSpPr>
          <p:cNvPr id="16" name="Subtitle 2">
            <a:extLst>
              <a:ext uri="{FF2B5EF4-FFF2-40B4-BE49-F238E27FC236}">
                <a16:creationId xmlns:a16="http://schemas.microsoft.com/office/drawing/2014/main" xmlns="" id="{8C7C11BD-21C7-43E4-B7F4-A19810321CD6}"/>
              </a:ext>
            </a:extLst>
          </p:cNvPr>
          <p:cNvSpPr txBox="1">
            <a:spLocks/>
          </p:cNvSpPr>
          <p:nvPr/>
        </p:nvSpPr>
        <p:spPr>
          <a:xfrm>
            <a:off x="4429625" y="3869671"/>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E53292"/>
                </a:solidFill>
                <a:latin typeface="+mj-lt"/>
                <a:ea typeface="Lato Light" panose="020F0502020204030203" pitchFamily="34" charset="0"/>
                <a:cs typeface="Mukta ExtraLight" panose="020B0000000000000000" pitchFamily="34" charset="77"/>
              </a:rPr>
              <a:t>Carta de Consuelo</a:t>
            </a:r>
            <a:endParaRPr lang="en-GB" sz="1600" b="1" dirty="0">
              <a:solidFill>
                <a:srgbClr val="E53292"/>
              </a:solidFill>
              <a:latin typeface="+mj-lt"/>
              <a:ea typeface="Lato Light" panose="020F0502020204030203" pitchFamily="34" charset="0"/>
              <a:cs typeface="Mukta ExtraLight" panose="020B0000000000000000" pitchFamily="34" charset="77"/>
            </a:endParaRPr>
          </a:p>
        </p:txBody>
      </p:sp>
      <p:sp>
        <p:nvSpPr>
          <p:cNvPr id="17" name="Subtitle 2">
            <a:extLst>
              <a:ext uri="{FF2B5EF4-FFF2-40B4-BE49-F238E27FC236}">
                <a16:creationId xmlns:a16="http://schemas.microsoft.com/office/drawing/2014/main" xmlns="" id="{5E43A55B-40EF-49F0-9F68-1D605C2DBEF1}"/>
              </a:ext>
            </a:extLst>
          </p:cNvPr>
          <p:cNvSpPr txBox="1">
            <a:spLocks/>
          </p:cNvSpPr>
          <p:nvPr/>
        </p:nvSpPr>
        <p:spPr>
          <a:xfrm>
            <a:off x="4178238" y="5011102"/>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E53292"/>
                </a:solidFill>
                <a:latin typeface="+mj-lt"/>
                <a:ea typeface="Lato Light" panose="020F0502020204030203" pitchFamily="34" charset="0"/>
                <a:cs typeface="Mukta ExtraLight" panose="020B0000000000000000" pitchFamily="34" charset="77"/>
              </a:rPr>
              <a:t>Parada</a:t>
            </a:r>
            <a:endParaRPr lang="en-GB" sz="1600" b="1" dirty="0">
              <a:solidFill>
                <a:srgbClr val="E53292"/>
              </a:solidFill>
              <a:latin typeface="+mj-lt"/>
              <a:ea typeface="Lato Light" panose="020F0502020204030203" pitchFamily="34" charset="0"/>
              <a:cs typeface="Mukta ExtraLight" panose="020B0000000000000000" pitchFamily="34" charset="77"/>
            </a:endParaRPr>
          </a:p>
        </p:txBody>
      </p:sp>
      <p:sp>
        <p:nvSpPr>
          <p:cNvPr id="18" name="Subtitle 2">
            <a:extLst>
              <a:ext uri="{FF2B5EF4-FFF2-40B4-BE49-F238E27FC236}">
                <a16:creationId xmlns:a16="http://schemas.microsoft.com/office/drawing/2014/main" xmlns="" id="{FEB8FBEE-1E07-47D4-AF2A-6CBE248A557F}"/>
              </a:ext>
            </a:extLst>
          </p:cNvPr>
          <p:cNvSpPr txBox="1">
            <a:spLocks/>
          </p:cNvSpPr>
          <p:nvPr/>
        </p:nvSpPr>
        <p:spPr>
          <a:xfrm>
            <a:off x="3897159" y="5459796"/>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Préstamo a los accionistas</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19" name="Subtitle 2">
            <a:extLst>
              <a:ext uri="{FF2B5EF4-FFF2-40B4-BE49-F238E27FC236}">
                <a16:creationId xmlns:a16="http://schemas.microsoft.com/office/drawing/2014/main" xmlns="" id="{33F66BD7-A774-46B7-BA70-A06B6EFD57C9}"/>
              </a:ext>
            </a:extLst>
          </p:cNvPr>
          <p:cNvSpPr txBox="1">
            <a:spLocks/>
          </p:cNvSpPr>
          <p:nvPr/>
        </p:nvSpPr>
        <p:spPr>
          <a:xfrm>
            <a:off x="3897159" y="4113465"/>
            <a:ext cx="2609826" cy="380497"/>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Asignación a </a:t>
            </a:r>
            <a:br>
              <a:rPr lang="en-GB" sz="1600" b="1">
                <a:solidFill>
                  <a:srgbClr val="C55A11"/>
                </a:solidFill>
                <a:latin typeface="+mj-lt"/>
                <a:ea typeface="Lato Light" panose="020F0502020204030203" pitchFamily="34" charset="0"/>
                <a:cs typeface="Mukta ExtraLight" panose="020B0000000000000000" pitchFamily="34" charset="77"/>
              </a:rPr>
            </a:br>
            <a:r>
              <a:rPr lang="en-GB" sz="1600" b="1">
                <a:solidFill>
                  <a:srgbClr val="C55A11"/>
                </a:solidFill>
                <a:latin typeface="+mj-lt"/>
                <a:ea typeface="Lato Light" panose="020F0502020204030203" pitchFamily="34" charset="0"/>
                <a:cs typeface="Mukta ExtraLight" panose="020B0000000000000000" pitchFamily="34" charset="77"/>
              </a:rPr>
              <a:t>reservas de capital</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20" name="Subtitle 2">
            <a:extLst>
              <a:ext uri="{FF2B5EF4-FFF2-40B4-BE49-F238E27FC236}">
                <a16:creationId xmlns:a16="http://schemas.microsoft.com/office/drawing/2014/main" xmlns="" id="{502AEBD1-80D4-40F3-97AB-3ADAA4B3EB4A}"/>
              </a:ext>
            </a:extLst>
          </p:cNvPr>
          <p:cNvSpPr txBox="1">
            <a:spLocks/>
          </p:cNvSpPr>
          <p:nvPr/>
        </p:nvSpPr>
        <p:spPr>
          <a:xfrm>
            <a:off x="5327747" y="4304538"/>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Ampliación de las líneas de crédito</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21" name="Subtitle 2">
            <a:extLst>
              <a:ext uri="{FF2B5EF4-FFF2-40B4-BE49-F238E27FC236}">
                <a16:creationId xmlns:a16="http://schemas.microsoft.com/office/drawing/2014/main" xmlns="" id="{54853689-670C-4AA0-8DE7-5E657961A817}"/>
              </a:ext>
            </a:extLst>
          </p:cNvPr>
          <p:cNvSpPr txBox="1">
            <a:spLocks/>
          </p:cNvSpPr>
          <p:nvPr/>
        </p:nvSpPr>
        <p:spPr>
          <a:xfrm>
            <a:off x="5786864" y="4979131"/>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Gestión del capital circulante</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22" name="Subtitle 2">
            <a:extLst>
              <a:ext uri="{FF2B5EF4-FFF2-40B4-BE49-F238E27FC236}">
                <a16:creationId xmlns:a16="http://schemas.microsoft.com/office/drawing/2014/main" xmlns="" id="{FF6A3ABE-83D1-4F1F-BFF7-EC585C5F4B91}"/>
              </a:ext>
            </a:extLst>
          </p:cNvPr>
          <p:cNvSpPr txBox="1">
            <a:spLocks/>
          </p:cNvSpPr>
          <p:nvPr/>
        </p:nvSpPr>
        <p:spPr>
          <a:xfrm>
            <a:off x="6506985" y="4754784"/>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Exención salarial</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23" name="Subtitle 2">
            <a:extLst>
              <a:ext uri="{FF2B5EF4-FFF2-40B4-BE49-F238E27FC236}">
                <a16:creationId xmlns:a16="http://schemas.microsoft.com/office/drawing/2014/main" xmlns="" id="{1C910CB4-5F1D-449C-A515-9EA96DA34472}"/>
              </a:ext>
            </a:extLst>
          </p:cNvPr>
          <p:cNvSpPr txBox="1">
            <a:spLocks/>
          </p:cNvSpPr>
          <p:nvPr/>
        </p:nvSpPr>
        <p:spPr>
          <a:xfrm>
            <a:off x="7590581" y="4317928"/>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Trabajo de corta duración</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xmlns="" id="{95F273B7-F633-43FB-95F5-033CAE9B6A41}"/>
              </a:ext>
            </a:extLst>
          </p:cNvPr>
          <p:cNvSpPr txBox="1">
            <a:spLocks/>
          </p:cNvSpPr>
          <p:nvPr/>
        </p:nvSpPr>
        <p:spPr>
          <a:xfrm>
            <a:off x="9066606" y="4772079"/>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4472C4"/>
                </a:solidFill>
                <a:latin typeface="+mj-lt"/>
                <a:ea typeface="Lato Light" panose="020F0502020204030203" pitchFamily="34" charset="0"/>
                <a:cs typeface="Mukta ExtraLight" panose="020B0000000000000000" pitchFamily="34" charset="77"/>
              </a:rPr>
              <a:t>Subvenciones públicas</a:t>
            </a:r>
            <a:endParaRPr lang="en-GB" sz="1600" b="1" dirty="0">
              <a:solidFill>
                <a:srgbClr val="4472C4"/>
              </a:solidFill>
              <a:latin typeface="+mj-lt"/>
              <a:ea typeface="Lato Light" panose="020F0502020204030203" pitchFamily="34" charset="0"/>
              <a:cs typeface="Mukta ExtraLight" panose="020B0000000000000000" pitchFamily="34" charset="77"/>
            </a:endParaRPr>
          </a:p>
        </p:txBody>
      </p:sp>
      <p:sp>
        <p:nvSpPr>
          <p:cNvPr id="26" name="Subtitle 2">
            <a:extLst>
              <a:ext uri="{FF2B5EF4-FFF2-40B4-BE49-F238E27FC236}">
                <a16:creationId xmlns:a16="http://schemas.microsoft.com/office/drawing/2014/main" xmlns="" id="{9E64CF08-E778-4F38-AFD2-EC0E68F1C5AD}"/>
              </a:ext>
            </a:extLst>
          </p:cNvPr>
          <p:cNvSpPr txBox="1">
            <a:spLocks/>
          </p:cNvSpPr>
          <p:nvPr/>
        </p:nvSpPr>
        <p:spPr>
          <a:xfrm>
            <a:off x="8583739" y="3911808"/>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Préstamo de reestructuración</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28" name="Subtitle 2">
            <a:extLst>
              <a:ext uri="{FF2B5EF4-FFF2-40B4-BE49-F238E27FC236}">
                <a16:creationId xmlns:a16="http://schemas.microsoft.com/office/drawing/2014/main" xmlns="" id="{077607D7-7F26-41A7-AC4B-A92B2785268A}"/>
              </a:ext>
            </a:extLst>
          </p:cNvPr>
          <p:cNvSpPr txBox="1">
            <a:spLocks/>
          </p:cNvSpPr>
          <p:nvPr/>
        </p:nvSpPr>
        <p:spPr>
          <a:xfrm>
            <a:off x="4724624" y="3613101"/>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Préstamo puente</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29" name="Subtitle 2">
            <a:extLst>
              <a:ext uri="{FF2B5EF4-FFF2-40B4-BE49-F238E27FC236}">
                <a16:creationId xmlns:a16="http://schemas.microsoft.com/office/drawing/2014/main" xmlns="" id="{85A83096-DF76-4356-97D7-EC0ADBB28862}"/>
              </a:ext>
            </a:extLst>
          </p:cNvPr>
          <p:cNvSpPr txBox="1">
            <a:spLocks/>
          </p:cNvSpPr>
          <p:nvPr/>
        </p:nvSpPr>
        <p:spPr>
          <a:xfrm>
            <a:off x="5786864" y="4101499"/>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Préstamo a proveedores</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35" name="Subtitle 2">
            <a:extLst>
              <a:ext uri="{FF2B5EF4-FFF2-40B4-BE49-F238E27FC236}">
                <a16:creationId xmlns:a16="http://schemas.microsoft.com/office/drawing/2014/main" xmlns="" id="{CB2C17B0-F551-4135-9ED8-26344AF6ADB3}"/>
              </a:ext>
            </a:extLst>
          </p:cNvPr>
          <p:cNvSpPr txBox="1">
            <a:spLocks/>
          </p:cNvSpPr>
          <p:nvPr/>
        </p:nvSpPr>
        <p:spPr>
          <a:xfrm>
            <a:off x="6029537" y="3689006"/>
            <a:ext cx="2609826" cy="380497"/>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Liberación de reservas de liquidez</a:t>
            </a:r>
            <a:br>
              <a:rPr lang="en-GB" sz="1600" b="1">
                <a:solidFill>
                  <a:srgbClr val="C55A11"/>
                </a:solidFill>
                <a:latin typeface="+mj-lt"/>
                <a:ea typeface="Lato Light" panose="020F0502020204030203" pitchFamily="34" charset="0"/>
                <a:cs typeface="Mukta ExtraLight" panose="020B0000000000000000" pitchFamily="34" charset="77"/>
              </a:rPr>
            </a:br>
            <a:r>
              <a:rPr lang="en-GB" sz="1600" b="1">
                <a:solidFill>
                  <a:srgbClr val="C55A11"/>
                </a:solidFill>
                <a:latin typeface="+mj-lt"/>
                <a:ea typeface="Lato Light" panose="020F0502020204030203" pitchFamily="34" charset="0"/>
                <a:cs typeface="Mukta ExtraLight" panose="020B0000000000000000" pitchFamily="34" charset="77"/>
              </a:rPr>
              <a:t>reservas</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36" name="Subtitle 2">
            <a:extLst>
              <a:ext uri="{FF2B5EF4-FFF2-40B4-BE49-F238E27FC236}">
                <a16:creationId xmlns:a16="http://schemas.microsoft.com/office/drawing/2014/main" xmlns="" id="{74CBBA61-D167-4CFE-9C35-9F18001BF992}"/>
              </a:ext>
            </a:extLst>
          </p:cNvPr>
          <p:cNvSpPr txBox="1">
            <a:spLocks/>
          </p:cNvSpPr>
          <p:nvPr/>
        </p:nvSpPr>
        <p:spPr>
          <a:xfrm>
            <a:off x="6465100" y="3409203"/>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Venta de activos empresariales no utilizados</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37" name="Subtitle 2">
            <a:extLst>
              <a:ext uri="{FF2B5EF4-FFF2-40B4-BE49-F238E27FC236}">
                <a16:creationId xmlns:a16="http://schemas.microsoft.com/office/drawing/2014/main" xmlns="" id="{AA258434-424C-4C3E-B9A5-8CA63008B7B9}"/>
              </a:ext>
            </a:extLst>
          </p:cNvPr>
          <p:cNvSpPr txBox="1">
            <a:spLocks/>
          </p:cNvSpPr>
          <p:nvPr/>
        </p:nvSpPr>
        <p:spPr>
          <a:xfrm>
            <a:off x="5202072" y="3154842"/>
            <a:ext cx="2609826" cy="380497"/>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4472C4"/>
                </a:solidFill>
                <a:latin typeface="+mj-lt"/>
                <a:ea typeface="Lato Light" panose="020F0502020204030203" pitchFamily="34" charset="0"/>
                <a:cs typeface="Mukta ExtraLight" panose="020B0000000000000000" pitchFamily="34" charset="77"/>
              </a:rPr>
              <a:t>Renuncia a los compromisos de pensiones</a:t>
            </a:r>
            <a:endParaRPr lang="en-GB" sz="1600" b="1" dirty="0">
              <a:solidFill>
                <a:srgbClr val="4472C4"/>
              </a:solidFill>
              <a:latin typeface="+mj-lt"/>
              <a:ea typeface="Lato Light" panose="020F0502020204030203" pitchFamily="34" charset="0"/>
              <a:cs typeface="Mukta ExtraLight" panose="020B0000000000000000" pitchFamily="34" charset="77"/>
            </a:endParaRPr>
          </a:p>
        </p:txBody>
      </p:sp>
      <p:sp>
        <p:nvSpPr>
          <p:cNvPr id="38" name="Subtitle 2">
            <a:extLst>
              <a:ext uri="{FF2B5EF4-FFF2-40B4-BE49-F238E27FC236}">
                <a16:creationId xmlns:a16="http://schemas.microsoft.com/office/drawing/2014/main" xmlns="" id="{69452073-79CA-4F6F-9942-8DEFA5D35732}"/>
              </a:ext>
            </a:extLst>
          </p:cNvPr>
          <p:cNvSpPr txBox="1">
            <a:spLocks/>
          </p:cNvSpPr>
          <p:nvPr/>
        </p:nvSpPr>
        <p:spPr>
          <a:xfrm>
            <a:off x="8395645" y="5002749"/>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4472C4"/>
                </a:solidFill>
                <a:latin typeface="+mj-lt"/>
                <a:ea typeface="Lato Light" panose="020F0502020204030203" pitchFamily="34" charset="0"/>
                <a:cs typeface="Mukta ExtraLight" panose="020B0000000000000000" pitchFamily="34" charset="77"/>
              </a:rPr>
              <a:t>Recompra de deudas</a:t>
            </a:r>
            <a:endParaRPr lang="en-GB" sz="1600" b="1" dirty="0">
              <a:solidFill>
                <a:srgbClr val="4472C4"/>
              </a:solidFill>
              <a:latin typeface="+mj-lt"/>
              <a:ea typeface="Lato Light" panose="020F0502020204030203" pitchFamily="34" charset="0"/>
              <a:cs typeface="Mukta ExtraLight" panose="020B0000000000000000" pitchFamily="34" charset="77"/>
            </a:endParaRPr>
          </a:p>
        </p:txBody>
      </p:sp>
      <p:sp>
        <p:nvSpPr>
          <p:cNvPr id="39" name="Subtitle 2">
            <a:extLst>
              <a:ext uri="{FF2B5EF4-FFF2-40B4-BE49-F238E27FC236}">
                <a16:creationId xmlns:a16="http://schemas.microsoft.com/office/drawing/2014/main" xmlns="" id="{5D485E5C-9773-4749-B661-88A9CEB1F25D}"/>
              </a:ext>
            </a:extLst>
          </p:cNvPr>
          <p:cNvSpPr txBox="1">
            <a:spLocks/>
          </p:cNvSpPr>
          <p:nvPr/>
        </p:nvSpPr>
        <p:spPr>
          <a:xfrm>
            <a:off x="5011778" y="2880140"/>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Factorización</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40" name="Subtitle 2">
            <a:extLst>
              <a:ext uri="{FF2B5EF4-FFF2-40B4-BE49-F238E27FC236}">
                <a16:creationId xmlns:a16="http://schemas.microsoft.com/office/drawing/2014/main" xmlns="" id="{5C3A15BE-0EFC-42A9-A023-EA77458217E4}"/>
              </a:ext>
            </a:extLst>
          </p:cNvPr>
          <p:cNvSpPr txBox="1">
            <a:spLocks/>
          </p:cNvSpPr>
          <p:nvPr/>
        </p:nvSpPr>
        <p:spPr>
          <a:xfrm>
            <a:off x="5329440" y="2664070"/>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Venta y lease back</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41" name="Subtitle 2">
            <a:extLst>
              <a:ext uri="{FF2B5EF4-FFF2-40B4-BE49-F238E27FC236}">
                <a16:creationId xmlns:a16="http://schemas.microsoft.com/office/drawing/2014/main" xmlns="" id="{3C0D22FB-A412-438A-96BC-80EE73FBC9EF}"/>
              </a:ext>
            </a:extLst>
          </p:cNvPr>
          <p:cNvSpPr txBox="1">
            <a:spLocks/>
          </p:cNvSpPr>
          <p:nvPr/>
        </p:nvSpPr>
        <p:spPr>
          <a:xfrm>
            <a:off x="7037691" y="2767407"/>
            <a:ext cx="2609826" cy="380497"/>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Evasión de impuestos mediante la reestructuración de los beneficios</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42" name="Subtitle 2">
            <a:extLst>
              <a:ext uri="{FF2B5EF4-FFF2-40B4-BE49-F238E27FC236}">
                <a16:creationId xmlns:a16="http://schemas.microsoft.com/office/drawing/2014/main" xmlns="" id="{77064EE9-DD0F-4092-B53F-0E9F2ECFA4CE}"/>
              </a:ext>
            </a:extLst>
          </p:cNvPr>
          <p:cNvSpPr txBox="1">
            <a:spLocks/>
          </p:cNvSpPr>
          <p:nvPr/>
        </p:nvSpPr>
        <p:spPr>
          <a:xfrm>
            <a:off x="7761693" y="3163473"/>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4472C4"/>
                </a:solidFill>
                <a:latin typeface="+mj-lt"/>
                <a:ea typeface="Lato Light" panose="020F0502020204030203" pitchFamily="34" charset="0"/>
                <a:cs typeface="Mukta ExtraLight" panose="020B0000000000000000" pitchFamily="34" charset="77"/>
              </a:rPr>
              <a:t>Reestructuración de valores</a:t>
            </a:r>
            <a:endParaRPr lang="en-GB" sz="1600" b="1" dirty="0">
              <a:solidFill>
                <a:srgbClr val="4472C4"/>
              </a:solidFill>
              <a:latin typeface="+mj-lt"/>
              <a:ea typeface="Lato Light" panose="020F0502020204030203" pitchFamily="34" charset="0"/>
              <a:cs typeface="Mukta ExtraLight" panose="020B0000000000000000" pitchFamily="34" charset="77"/>
            </a:endParaRPr>
          </a:p>
        </p:txBody>
      </p:sp>
      <p:sp>
        <p:nvSpPr>
          <p:cNvPr id="43" name="Subtitle 2">
            <a:extLst>
              <a:ext uri="{FF2B5EF4-FFF2-40B4-BE49-F238E27FC236}">
                <a16:creationId xmlns:a16="http://schemas.microsoft.com/office/drawing/2014/main" xmlns="" id="{818AEE50-C750-49E5-B349-66656EF2FA6A}"/>
              </a:ext>
            </a:extLst>
          </p:cNvPr>
          <p:cNvSpPr txBox="1">
            <a:spLocks/>
          </p:cNvSpPr>
          <p:nvPr/>
        </p:nvSpPr>
        <p:spPr>
          <a:xfrm>
            <a:off x="6180389" y="2314650"/>
            <a:ext cx="2609826" cy="380497"/>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4472C4"/>
                </a:solidFill>
                <a:latin typeface="+mj-lt"/>
                <a:ea typeface="Lato Light" panose="020F0502020204030203" pitchFamily="34" charset="0"/>
                <a:cs typeface="Mukta ExtraLight" panose="020B0000000000000000" pitchFamily="34" charset="77"/>
              </a:rPr>
              <a:t>Gestión de la tesorería / Cash pooling</a:t>
            </a:r>
            <a:endParaRPr lang="en-GB" sz="1600" b="1" dirty="0">
              <a:solidFill>
                <a:srgbClr val="4472C4"/>
              </a:solidFill>
              <a:latin typeface="+mj-lt"/>
              <a:ea typeface="Lato Light" panose="020F0502020204030203" pitchFamily="34" charset="0"/>
              <a:cs typeface="Mukta ExtraLight" panose="020B0000000000000000" pitchFamily="34" charset="77"/>
            </a:endParaRPr>
          </a:p>
        </p:txBody>
      </p:sp>
      <p:sp>
        <p:nvSpPr>
          <p:cNvPr id="44" name="Subtitle 2">
            <a:extLst>
              <a:ext uri="{FF2B5EF4-FFF2-40B4-BE49-F238E27FC236}">
                <a16:creationId xmlns:a16="http://schemas.microsoft.com/office/drawing/2014/main" xmlns="" id="{AED8DEAC-7968-4F02-8C93-52369387BF95}"/>
              </a:ext>
            </a:extLst>
          </p:cNvPr>
          <p:cNvSpPr txBox="1">
            <a:spLocks/>
          </p:cNvSpPr>
          <p:nvPr/>
        </p:nvSpPr>
        <p:spPr>
          <a:xfrm>
            <a:off x="7091777" y="2062520"/>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70AD47"/>
                </a:solidFill>
                <a:latin typeface="+mj-lt"/>
                <a:ea typeface="Lato Light" panose="020F0502020204030203" pitchFamily="34" charset="0"/>
                <a:cs typeface="Mukta ExtraLight" panose="020B0000000000000000" pitchFamily="34" charset="77"/>
              </a:rPr>
              <a:t>Socios silenciosos</a:t>
            </a:r>
            <a:endParaRPr lang="en-GB" sz="1600" b="1" dirty="0">
              <a:solidFill>
                <a:srgbClr val="70AD47"/>
              </a:solidFill>
              <a:latin typeface="+mj-lt"/>
              <a:ea typeface="Lato Light" panose="020F0502020204030203" pitchFamily="34" charset="0"/>
              <a:cs typeface="Mukta ExtraLight" panose="020B0000000000000000" pitchFamily="34" charset="77"/>
            </a:endParaRPr>
          </a:p>
        </p:txBody>
      </p:sp>
      <p:sp>
        <p:nvSpPr>
          <p:cNvPr id="45" name="Subtitle 2">
            <a:extLst>
              <a:ext uri="{FF2B5EF4-FFF2-40B4-BE49-F238E27FC236}">
                <a16:creationId xmlns:a16="http://schemas.microsoft.com/office/drawing/2014/main" xmlns="" id="{4D24F9B9-66EA-40B2-8EE6-FCBF476897A4}"/>
              </a:ext>
            </a:extLst>
          </p:cNvPr>
          <p:cNvSpPr txBox="1">
            <a:spLocks/>
          </p:cNvSpPr>
          <p:nvPr/>
        </p:nvSpPr>
        <p:spPr>
          <a:xfrm>
            <a:off x="8393745" y="1978898"/>
            <a:ext cx="2609826" cy="380497"/>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70AD47"/>
                </a:solidFill>
                <a:latin typeface="+mj-lt"/>
                <a:ea typeface="Lato Light" panose="020F0502020204030203" pitchFamily="34" charset="0"/>
                <a:cs typeface="Mukta ExtraLight" panose="020B0000000000000000" pitchFamily="34" charset="77"/>
              </a:rPr>
              <a:t>Mezzanine </a:t>
            </a:r>
            <a:br>
              <a:rPr lang="en-GB" sz="1600" b="1">
                <a:solidFill>
                  <a:srgbClr val="70AD47"/>
                </a:solidFill>
                <a:latin typeface="+mj-lt"/>
                <a:ea typeface="Lato Light" panose="020F0502020204030203" pitchFamily="34" charset="0"/>
                <a:cs typeface="Mukta ExtraLight" panose="020B0000000000000000" pitchFamily="34" charset="77"/>
              </a:rPr>
            </a:br>
            <a:r>
              <a:rPr lang="en-GB" sz="1600" b="1">
                <a:solidFill>
                  <a:srgbClr val="70AD47"/>
                </a:solidFill>
                <a:latin typeface="+mj-lt"/>
                <a:ea typeface="Lato Light" panose="020F0502020204030203" pitchFamily="34" charset="0"/>
                <a:cs typeface="Mukta ExtraLight" panose="020B0000000000000000" pitchFamily="34" charset="77"/>
              </a:rPr>
              <a:t>financiación</a:t>
            </a:r>
            <a:endParaRPr lang="en-GB" sz="1600" b="1" dirty="0">
              <a:solidFill>
                <a:srgbClr val="70AD47"/>
              </a:solidFill>
              <a:latin typeface="+mj-lt"/>
              <a:ea typeface="Lato Light" panose="020F0502020204030203" pitchFamily="34" charset="0"/>
              <a:cs typeface="Mukta ExtraLight" panose="020B0000000000000000" pitchFamily="34" charset="77"/>
            </a:endParaRPr>
          </a:p>
        </p:txBody>
      </p:sp>
      <p:sp>
        <p:nvSpPr>
          <p:cNvPr id="46" name="Subtitle 2">
            <a:extLst>
              <a:ext uri="{FF2B5EF4-FFF2-40B4-BE49-F238E27FC236}">
                <a16:creationId xmlns:a16="http://schemas.microsoft.com/office/drawing/2014/main" xmlns="" id="{10F4FA76-8FA2-4F55-B622-F3A135FAA57C}"/>
              </a:ext>
            </a:extLst>
          </p:cNvPr>
          <p:cNvSpPr txBox="1">
            <a:spLocks/>
          </p:cNvSpPr>
          <p:nvPr/>
        </p:nvSpPr>
        <p:spPr>
          <a:xfrm>
            <a:off x="10803417" y="1792185"/>
            <a:ext cx="2609826" cy="207052"/>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b="1">
                <a:solidFill>
                  <a:srgbClr val="4472C4"/>
                </a:solidFill>
                <a:latin typeface="+mj-lt"/>
                <a:ea typeface="Lato Light" panose="020F0502020204030203" pitchFamily="34" charset="0"/>
                <a:cs typeface="Mukta ExtraLight" panose="020B0000000000000000" pitchFamily="34" charset="77"/>
              </a:rPr>
              <a:t>Bonos</a:t>
            </a:r>
            <a:endParaRPr lang="en-GB" sz="1400" b="1" dirty="0">
              <a:solidFill>
                <a:srgbClr val="4472C4"/>
              </a:solidFill>
              <a:latin typeface="+mj-lt"/>
              <a:ea typeface="Lato Light" panose="020F0502020204030203" pitchFamily="34" charset="0"/>
              <a:cs typeface="Mukta ExtraLight" panose="020B0000000000000000" pitchFamily="34" charset="77"/>
            </a:endParaRPr>
          </a:p>
        </p:txBody>
      </p:sp>
      <p:sp>
        <p:nvSpPr>
          <p:cNvPr id="47" name="Subtitle 2">
            <a:extLst>
              <a:ext uri="{FF2B5EF4-FFF2-40B4-BE49-F238E27FC236}">
                <a16:creationId xmlns:a16="http://schemas.microsoft.com/office/drawing/2014/main" xmlns="" id="{499B5E48-05D6-4A5C-A2E5-A600052A9300}"/>
              </a:ext>
            </a:extLst>
          </p:cNvPr>
          <p:cNvSpPr txBox="1">
            <a:spLocks/>
          </p:cNvSpPr>
          <p:nvPr/>
        </p:nvSpPr>
        <p:spPr>
          <a:xfrm>
            <a:off x="9590885" y="2347549"/>
            <a:ext cx="2609826" cy="213785"/>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70AD47"/>
                </a:solidFill>
                <a:latin typeface="+mj-lt"/>
                <a:ea typeface="Lato Light" panose="020F0502020204030203" pitchFamily="34" charset="0"/>
                <a:cs typeface="Mukta ExtraLight" panose="020B0000000000000000" pitchFamily="34" charset="77"/>
              </a:rPr>
              <a:t>Inyección de </a:t>
            </a:r>
            <a:r>
              <a:rPr lang="en-GB" sz="1400" b="1">
                <a:solidFill>
                  <a:srgbClr val="70AD47"/>
                </a:solidFill>
                <a:latin typeface="+mj-lt"/>
                <a:ea typeface="Lato Light" panose="020F0502020204030203" pitchFamily="34" charset="0"/>
                <a:cs typeface="Mukta ExtraLight" panose="020B0000000000000000" pitchFamily="34" charset="77"/>
              </a:rPr>
              <a:t>capital</a:t>
            </a:r>
            <a:endParaRPr lang="en-GB" sz="1600" b="1" dirty="0">
              <a:solidFill>
                <a:srgbClr val="70AD47"/>
              </a:solidFill>
              <a:latin typeface="+mj-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xmlns="" id="{53AE72BE-87A5-48C4-A4E3-C02A0854B2ED}"/>
              </a:ext>
            </a:extLst>
          </p:cNvPr>
          <p:cNvSpPr txBox="1">
            <a:spLocks/>
          </p:cNvSpPr>
          <p:nvPr/>
        </p:nvSpPr>
        <p:spPr>
          <a:xfrm>
            <a:off x="9464518" y="1976218"/>
            <a:ext cx="2609826" cy="380497"/>
          </a:xfrm>
          <a:prstGeom prst="rect">
            <a:avLst/>
          </a:prstGeom>
        </p:spPr>
        <p:txBody>
          <a:bodyPr vert="horz" wrap="square" lIns="34299" tIns="17149" rIns="34299" bIns="17149" numCol="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b="1">
                <a:solidFill>
                  <a:srgbClr val="C55A11"/>
                </a:solidFill>
                <a:latin typeface="+mj-lt"/>
                <a:ea typeface="Lato Light" panose="020F0502020204030203" pitchFamily="34" charset="0"/>
                <a:cs typeface="Mukta ExtraLight" panose="020B0000000000000000" pitchFamily="34" charset="77"/>
              </a:rPr>
              <a:t>Canje de deuda por acciones</a:t>
            </a:r>
            <a:br>
              <a:rPr lang="en-GB" sz="1600" b="1">
                <a:solidFill>
                  <a:srgbClr val="C55A11"/>
                </a:solidFill>
                <a:latin typeface="+mj-lt"/>
                <a:ea typeface="Lato Light" panose="020F0502020204030203" pitchFamily="34" charset="0"/>
                <a:cs typeface="Mukta ExtraLight" panose="020B0000000000000000" pitchFamily="34" charset="77"/>
              </a:rPr>
            </a:br>
            <a:r>
              <a:rPr lang="en-GB" sz="1600" b="1">
                <a:solidFill>
                  <a:srgbClr val="C55A11"/>
                </a:solidFill>
                <a:latin typeface="+mj-lt"/>
                <a:ea typeface="Lato Light" panose="020F0502020204030203" pitchFamily="34" charset="0"/>
                <a:cs typeface="Mukta ExtraLight" panose="020B0000000000000000" pitchFamily="34" charset="77"/>
              </a:rPr>
              <a:t>Canje de deuda por capital social</a:t>
            </a:r>
            <a:endParaRPr lang="en-GB" sz="1600" b="1" dirty="0">
              <a:solidFill>
                <a:srgbClr val="C55A11"/>
              </a:solidFill>
              <a:latin typeface="+mj-lt"/>
              <a:ea typeface="Lato Light" panose="020F0502020204030203" pitchFamily="34" charset="0"/>
              <a:cs typeface="Mukta ExtraLight" panose="020B0000000000000000" pitchFamily="34" charset="77"/>
            </a:endParaRPr>
          </a:p>
        </p:txBody>
      </p:sp>
      <p:sp>
        <p:nvSpPr>
          <p:cNvPr id="49" name="Rechteck 30">
            <a:extLst>
              <a:ext uri="{FF2B5EF4-FFF2-40B4-BE49-F238E27FC236}">
                <a16:creationId xmlns:a16="http://schemas.microsoft.com/office/drawing/2014/main" xmlns="" id="{8C2ED859-0CDE-4C87-930B-8FE501688832}"/>
              </a:ext>
            </a:extLst>
          </p:cNvPr>
          <p:cNvSpPr/>
          <p:nvPr/>
        </p:nvSpPr>
        <p:spPr>
          <a:xfrm>
            <a:off x="543313" y="4666586"/>
            <a:ext cx="2674692" cy="1138433"/>
          </a:xfrm>
          <a:prstGeom prst="rect">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Mantener la solvencia financiera</a:t>
            </a:r>
          </a:p>
        </p:txBody>
      </p:sp>
      <p:sp>
        <p:nvSpPr>
          <p:cNvPr id="50" name="Rechteck 31">
            <a:extLst>
              <a:ext uri="{FF2B5EF4-FFF2-40B4-BE49-F238E27FC236}">
                <a16:creationId xmlns:a16="http://schemas.microsoft.com/office/drawing/2014/main" xmlns="" id="{A6741346-D9CD-4A44-945C-AC18E7940A80}"/>
              </a:ext>
            </a:extLst>
          </p:cNvPr>
          <p:cNvSpPr/>
          <p:nvPr/>
        </p:nvSpPr>
        <p:spPr>
          <a:xfrm>
            <a:off x="543313" y="3642244"/>
            <a:ext cx="2707055" cy="950917"/>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Estabilización de la liquidez</a:t>
            </a:r>
          </a:p>
        </p:txBody>
      </p:sp>
      <p:sp>
        <p:nvSpPr>
          <p:cNvPr id="51" name="Rechteck 32">
            <a:extLst>
              <a:ext uri="{FF2B5EF4-FFF2-40B4-BE49-F238E27FC236}">
                <a16:creationId xmlns:a16="http://schemas.microsoft.com/office/drawing/2014/main" xmlns="" id="{F493051F-157A-40FF-B107-5D5484F0A4E3}"/>
              </a:ext>
            </a:extLst>
          </p:cNvPr>
          <p:cNvSpPr/>
          <p:nvPr/>
        </p:nvSpPr>
        <p:spPr>
          <a:xfrm>
            <a:off x="543313" y="2757368"/>
            <a:ext cx="2707055" cy="806272"/>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Mejora de la estructura de financiación</a:t>
            </a:r>
          </a:p>
        </p:txBody>
      </p:sp>
      <p:sp>
        <p:nvSpPr>
          <p:cNvPr id="52" name="Rechteck 33">
            <a:extLst>
              <a:ext uri="{FF2B5EF4-FFF2-40B4-BE49-F238E27FC236}">
                <a16:creationId xmlns:a16="http://schemas.microsoft.com/office/drawing/2014/main" xmlns="" id="{7CA55F7F-CF2E-4675-B670-AFA9C4B22ED3}"/>
              </a:ext>
            </a:extLst>
          </p:cNvPr>
          <p:cNvSpPr/>
          <p:nvPr/>
        </p:nvSpPr>
        <p:spPr>
          <a:xfrm>
            <a:off x="520178" y="1999237"/>
            <a:ext cx="2730190" cy="679527"/>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Construir una estructura de capital sostenible</a:t>
            </a:r>
          </a:p>
        </p:txBody>
      </p:sp>
    </p:spTree>
    <p:extLst>
      <p:ext uri="{BB962C8B-B14F-4D97-AF65-F5344CB8AC3E}">
        <p14:creationId xmlns:p14="http://schemas.microsoft.com/office/powerpoint/2010/main" val="26837928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a:t>Herramientas para la reestructuración financiera </a:t>
            </a:r>
            <a:endParaRPr lang="en-GB" dirty="0"/>
          </a:p>
        </p:txBody>
      </p:sp>
      <p:graphicFrame>
        <p:nvGraphicFramePr>
          <p:cNvPr id="4" name="Tabelle 4">
            <a:extLst>
              <a:ext uri="{FF2B5EF4-FFF2-40B4-BE49-F238E27FC236}">
                <a16:creationId xmlns:a16="http://schemas.microsoft.com/office/drawing/2014/main" xmlns="" id="{01C1D72E-FD22-45AD-A30F-785743AB96E4}"/>
              </a:ext>
            </a:extLst>
          </p:cNvPr>
          <p:cNvGraphicFramePr>
            <a:graphicFrameLocks noGrp="1"/>
          </p:cNvGraphicFramePr>
          <p:nvPr>
            <p:extLst>
              <p:ext uri="{D42A27DB-BD31-4B8C-83A1-F6EECF244321}">
                <p14:modId xmlns:p14="http://schemas.microsoft.com/office/powerpoint/2010/main" val="522653679"/>
              </p:ext>
            </p:extLst>
          </p:nvPr>
        </p:nvGraphicFramePr>
        <p:xfrm>
          <a:off x="2889463" y="1815502"/>
          <a:ext cx="4127589" cy="1371600"/>
        </p:xfrm>
        <a:graphic>
          <a:graphicData uri="http://schemas.openxmlformats.org/drawingml/2006/table">
            <a:tbl>
              <a:tblPr firstRow="1" bandRow="1">
                <a:tableStyleId>{5C22544A-7EE6-4342-B048-85BDC9FD1C3A}</a:tableStyleId>
              </a:tblPr>
              <a:tblGrid>
                <a:gridCol w="4127589">
                  <a:extLst>
                    <a:ext uri="{9D8B030D-6E8A-4147-A177-3AD203B41FA5}">
                      <a16:colId xmlns:a16="http://schemas.microsoft.com/office/drawing/2014/main" xmlns="" val="1242320083"/>
                    </a:ext>
                  </a:extLst>
                </a:gridCol>
              </a:tblGrid>
              <a:tr h="223220">
                <a:tc>
                  <a:txBody>
                    <a:bodyPr/>
                    <a:lstStyle/>
                    <a:p>
                      <a:r>
                        <a:rPr lang="en-GB" sz="1300" noProof="0" dirty="0">
                          <a:solidFill>
                            <a:schemeClr val="bg1"/>
                          </a:solidFill>
                        </a:rPr>
                        <a:t>Mantener </a:t>
                      </a:r>
                      <a:r>
                        <a:rPr lang="en-GB" sz="1300" dirty="0">
                          <a:solidFill>
                            <a:schemeClr val="bg1"/>
                          </a:solidFill>
                        </a:rPr>
                        <a:t>la solvencia financiera</a:t>
                      </a:r>
                    </a:p>
                  </a:txBody>
                  <a:tcPr>
                    <a:solidFill>
                      <a:srgbClr val="E53292"/>
                    </a:solidFill>
                  </a:tcPr>
                </a:tc>
                <a:extLst>
                  <a:ext uri="{0D108BD9-81ED-4DB2-BD59-A6C34878D82A}">
                    <a16:rowId xmlns:a16="http://schemas.microsoft.com/office/drawing/2014/main" xmlns="" val="2247858707"/>
                  </a:ext>
                </a:extLst>
              </a:tr>
              <a:tr h="714676">
                <a:tc>
                  <a:txBody>
                    <a:bodyPr/>
                    <a:lstStyle/>
                    <a:p>
                      <a:pPr marL="285750" indent="-285750">
                        <a:buFont typeface="Arial" panose="020B0604020202020204" pitchFamily="34" charset="0"/>
                        <a:buChar char="•"/>
                      </a:pPr>
                      <a:r>
                        <a:rPr lang="en-GB" sz="1300" dirty="0">
                          <a:latin typeface="+mj-lt"/>
                        </a:rPr>
                        <a:t>Pago aplazado</a:t>
                      </a:r>
                    </a:p>
                    <a:p>
                      <a:pPr marL="285750" indent="-285750">
                        <a:buFont typeface="Arial" panose="020B0604020202020204" pitchFamily="34" charset="0"/>
                        <a:buChar char="•"/>
                      </a:pPr>
                      <a:r>
                        <a:rPr lang="en-GB" sz="1300" dirty="0">
                          <a:latin typeface="+mj-lt"/>
                        </a:rPr>
                        <a:t>Parada/moratoria</a:t>
                      </a:r>
                    </a:p>
                    <a:p>
                      <a:pPr marL="285750" indent="-285750">
                        <a:buFont typeface="Arial" panose="020B0604020202020204" pitchFamily="34" charset="0"/>
                        <a:buChar char="•"/>
                      </a:pPr>
                      <a:r>
                        <a:rPr lang="en-GB" sz="1300" dirty="0">
                          <a:latin typeface="+mj-lt"/>
                        </a:rPr>
                        <a:t>Eliminación de los motivos de rescisión en los contratos de crédito</a:t>
                      </a:r>
                    </a:p>
                    <a:p>
                      <a:pPr marL="285750" indent="-285750">
                        <a:buFont typeface="Arial" panose="020B0604020202020204" pitchFamily="34" charset="0"/>
                        <a:buChar char="•"/>
                      </a:pPr>
                      <a:r>
                        <a:rPr lang="en-GB" sz="1300" dirty="0">
                          <a:latin typeface="+mj-lt"/>
                        </a:rPr>
                        <a:t>Subordinación</a:t>
                      </a:r>
                    </a:p>
                  </a:txBody>
                  <a:tcPr/>
                </a:tc>
                <a:extLst>
                  <a:ext uri="{0D108BD9-81ED-4DB2-BD59-A6C34878D82A}">
                    <a16:rowId xmlns:a16="http://schemas.microsoft.com/office/drawing/2014/main" xmlns="" val="3789302034"/>
                  </a:ext>
                </a:extLst>
              </a:tr>
            </a:tbl>
          </a:graphicData>
        </a:graphic>
      </p:graphicFrame>
      <p:graphicFrame>
        <p:nvGraphicFramePr>
          <p:cNvPr id="49" name="Tabelle 4">
            <a:extLst>
              <a:ext uri="{FF2B5EF4-FFF2-40B4-BE49-F238E27FC236}">
                <a16:creationId xmlns:a16="http://schemas.microsoft.com/office/drawing/2014/main" xmlns="" id="{18FF2411-B706-43CD-8727-E0D63D64C286}"/>
              </a:ext>
            </a:extLst>
          </p:cNvPr>
          <p:cNvGraphicFramePr>
            <a:graphicFrameLocks noGrp="1"/>
          </p:cNvGraphicFramePr>
          <p:nvPr>
            <p:extLst>
              <p:ext uri="{D42A27DB-BD31-4B8C-83A1-F6EECF244321}">
                <p14:modId xmlns:p14="http://schemas.microsoft.com/office/powerpoint/2010/main" val="151832180"/>
              </p:ext>
            </p:extLst>
          </p:nvPr>
        </p:nvGraphicFramePr>
        <p:xfrm>
          <a:off x="2889463" y="3216764"/>
          <a:ext cx="4134407" cy="3568205"/>
        </p:xfrm>
        <a:graphic>
          <a:graphicData uri="http://schemas.openxmlformats.org/drawingml/2006/table">
            <a:tbl>
              <a:tblPr firstRow="1" bandRow="1">
                <a:tableStyleId>{5C22544A-7EE6-4342-B048-85BDC9FD1C3A}</a:tableStyleId>
              </a:tblPr>
              <a:tblGrid>
                <a:gridCol w="4134407">
                  <a:extLst>
                    <a:ext uri="{9D8B030D-6E8A-4147-A177-3AD203B41FA5}">
                      <a16:colId xmlns:a16="http://schemas.microsoft.com/office/drawing/2014/main" xmlns="" val="1242320083"/>
                    </a:ext>
                  </a:extLst>
                </a:gridCol>
              </a:tblGrid>
              <a:tr h="306845">
                <a:tc>
                  <a:txBody>
                    <a:bodyPr/>
                    <a:lstStyle/>
                    <a:p>
                      <a:pPr algn="ctr"/>
                      <a:r>
                        <a:rPr lang="en-GB" sz="1300">
                          <a:solidFill>
                            <a:schemeClr val="bg1"/>
                          </a:solidFill>
                        </a:rPr>
                        <a:t>Estabilización de la liquidez</a:t>
                      </a:r>
                    </a:p>
                  </a:txBody>
                  <a:tcPr>
                    <a:solidFill>
                      <a:srgbClr val="C55A11"/>
                    </a:solidFill>
                  </a:tcPr>
                </a:tc>
                <a:extLst>
                  <a:ext uri="{0D108BD9-81ED-4DB2-BD59-A6C34878D82A}">
                    <a16:rowId xmlns:a16="http://schemas.microsoft.com/office/drawing/2014/main" xmlns="" val="2247858707"/>
                  </a:ext>
                </a:extLst>
              </a:tr>
              <a:tr h="370840">
                <a:tc>
                  <a:txBody>
                    <a:bodyPr/>
                    <a:lstStyle/>
                    <a:p>
                      <a:pPr marL="285750" indent="-285750">
                        <a:buFont typeface="Arial" panose="020B0604020202020204" pitchFamily="34" charset="0"/>
                        <a:buChar char="•"/>
                      </a:pPr>
                      <a:r>
                        <a:rPr lang="en-GB" sz="1300" dirty="0">
                          <a:solidFill>
                            <a:srgbClr val="245473"/>
                          </a:solidFill>
                        </a:rPr>
                        <a:t>Liberación de las reservas de liquidez existentes</a:t>
                      </a:r>
                    </a:p>
                    <a:p>
                      <a:pPr marL="285750" indent="-285750">
                        <a:buFont typeface="Arial" panose="020B0604020202020204" pitchFamily="34" charset="0"/>
                        <a:buChar char="•"/>
                      </a:pPr>
                      <a:r>
                        <a:rPr lang="en-GB" sz="1300" dirty="0">
                          <a:solidFill>
                            <a:srgbClr val="245473"/>
                          </a:solidFill>
                        </a:rPr>
                        <a:t>Venta de activos no operativos</a:t>
                      </a:r>
                    </a:p>
                    <a:p>
                      <a:pPr marL="285750" indent="-285750">
                        <a:buFont typeface="Arial" panose="020B0604020202020204" pitchFamily="34" charset="0"/>
                        <a:buChar char="•"/>
                      </a:pPr>
                      <a:r>
                        <a:rPr lang="en-GB" sz="1300" dirty="0">
                          <a:solidFill>
                            <a:srgbClr val="245473"/>
                          </a:solidFill>
                        </a:rPr>
                        <a:t>gestión del capital circulante</a:t>
                      </a:r>
                    </a:p>
                    <a:p>
                      <a:pPr marL="285750" indent="-285750">
                        <a:buFont typeface="Arial" panose="020B0604020202020204" pitchFamily="34" charset="0"/>
                        <a:buChar char="•"/>
                      </a:pPr>
                      <a:r>
                        <a:rPr lang="en-GB" sz="1300" dirty="0">
                          <a:solidFill>
                            <a:srgbClr val="245473"/>
                          </a:solidFill>
                        </a:rPr>
                        <a:t>Gestión de la tesorería (cash pooling)</a:t>
                      </a:r>
                    </a:p>
                    <a:p>
                      <a:pPr marL="285750" indent="-285750">
                        <a:buFont typeface="Arial" panose="020B0604020202020204" pitchFamily="34" charset="0"/>
                        <a:buChar char="•"/>
                      </a:pPr>
                      <a:r>
                        <a:rPr lang="en-GB" sz="1300" dirty="0">
                          <a:solidFill>
                            <a:srgbClr val="245473"/>
                          </a:solidFill>
                        </a:rPr>
                        <a:t>Arrendamiento financiero y arrendamiento con opción de compra / venta y arrendamiento posterior</a:t>
                      </a:r>
                    </a:p>
                    <a:p>
                      <a:pPr marL="285750" indent="-285750">
                        <a:buFont typeface="Arial" panose="020B0604020202020204" pitchFamily="34" charset="0"/>
                        <a:buChar char="•"/>
                      </a:pPr>
                      <a:r>
                        <a:rPr lang="en-GB" sz="1300" dirty="0">
                          <a:solidFill>
                            <a:srgbClr val="245473"/>
                          </a:solidFill>
                        </a:rPr>
                        <a:t>Factorización</a:t>
                      </a:r>
                    </a:p>
                    <a:p>
                      <a:pPr marL="285750" indent="-285750">
                        <a:buFont typeface="Arial" panose="020B0604020202020204" pitchFamily="34" charset="0"/>
                        <a:buChar char="•"/>
                      </a:pPr>
                      <a:r>
                        <a:rPr lang="en-GB" sz="1300" dirty="0">
                          <a:solidFill>
                            <a:srgbClr val="245473"/>
                          </a:solidFill>
                        </a:rPr>
                        <a:t>Préstamos a los accionistas / Préstamos entre empresas</a:t>
                      </a:r>
                    </a:p>
                    <a:p>
                      <a:pPr marL="285750" indent="-285750">
                        <a:buFont typeface="Arial" panose="020B0604020202020204" pitchFamily="34" charset="0"/>
                        <a:buChar char="•"/>
                      </a:pPr>
                      <a:r>
                        <a:rPr lang="en-GB" sz="1300" dirty="0">
                          <a:solidFill>
                            <a:srgbClr val="245473"/>
                          </a:solidFill>
                        </a:rPr>
                        <a:t>Renuncia al salario</a:t>
                      </a:r>
                    </a:p>
                    <a:p>
                      <a:pPr marL="285750" indent="-285750">
                        <a:buFont typeface="Arial" panose="020B0604020202020204" pitchFamily="34" charset="0"/>
                        <a:buChar char="•"/>
                      </a:pPr>
                      <a:r>
                        <a:rPr lang="en-GB" sz="1300" dirty="0">
                          <a:solidFill>
                            <a:srgbClr val="245473"/>
                          </a:solidFill>
                        </a:rPr>
                        <a:t>Cuentas de horas extras/tiempo de trabajo</a:t>
                      </a:r>
                    </a:p>
                    <a:p>
                      <a:pPr marL="285750" indent="-285750">
                        <a:buFont typeface="Arial" panose="020B0604020202020204" pitchFamily="34" charset="0"/>
                        <a:buChar char="•"/>
                      </a:pPr>
                      <a:r>
                        <a:rPr lang="en-GB" sz="1300" dirty="0">
                          <a:solidFill>
                            <a:srgbClr val="245473"/>
                          </a:solidFill>
                        </a:rPr>
                        <a:t>Trabajo de corta duración</a:t>
                      </a:r>
                    </a:p>
                    <a:p>
                      <a:pPr marL="285750" indent="-285750">
                        <a:buFont typeface="Arial" panose="020B0604020202020204" pitchFamily="34" charset="0"/>
                        <a:buChar char="•"/>
                      </a:pPr>
                      <a:r>
                        <a:rPr lang="en-GB" sz="1300" dirty="0">
                          <a:solidFill>
                            <a:srgbClr val="245473"/>
                          </a:solidFill>
                        </a:rPr>
                        <a:t>Jubilación anticipada</a:t>
                      </a:r>
                    </a:p>
                    <a:p>
                      <a:pPr marL="285750" indent="-285750">
                        <a:buFont typeface="Arial" panose="020B0604020202020204" pitchFamily="34" charset="0"/>
                        <a:buChar char="•"/>
                      </a:pPr>
                      <a:r>
                        <a:rPr lang="en-GB" sz="1300" dirty="0">
                          <a:solidFill>
                            <a:srgbClr val="245473"/>
                          </a:solidFill>
                        </a:rPr>
                        <a:t>Finalización del período de prueba</a:t>
                      </a:r>
                    </a:p>
                    <a:p>
                      <a:pPr marL="285750" indent="-285750">
                        <a:buFont typeface="Arial" panose="020B0604020202020204" pitchFamily="34" charset="0"/>
                        <a:buChar char="•"/>
                      </a:pPr>
                      <a:r>
                        <a:rPr lang="en-GB" sz="1300" dirty="0">
                          <a:solidFill>
                            <a:srgbClr val="245473"/>
                          </a:solidFill>
                        </a:rPr>
                        <a:t>Conversión salarial (sobre todo en la alta dirección)</a:t>
                      </a:r>
                    </a:p>
                    <a:p>
                      <a:pPr marL="285750" indent="-285750">
                        <a:buFont typeface="Arial" panose="020B0604020202020204" pitchFamily="34" charset="0"/>
                        <a:buChar char="•"/>
                      </a:pPr>
                      <a:r>
                        <a:rPr lang="en-GB" sz="1300" dirty="0">
                          <a:solidFill>
                            <a:srgbClr val="245473"/>
                          </a:solidFill>
                        </a:rPr>
                        <a:t>Préstamos al personal</a:t>
                      </a:r>
                    </a:p>
                    <a:p>
                      <a:pPr marL="285750" indent="-285750">
                        <a:buFont typeface="Arial" panose="020B0604020202020204" pitchFamily="34" charset="0"/>
                        <a:buChar char="•"/>
                      </a:pPr>
                      <a:r>
                        <a:rPr lang="en-GB" sz="1300" dirty="0">
                          <a:solidFill>
                            <a:srgbClr val="245473"/>
                          </a:solidFill>
                        </a:rPr>
                        <a:t>Aumento de las líneas de crédito</a:t>
                      </a:r>
                    </a:p>
                    <a:p>
                      <a:pPr marL="285750" indent="-285750">
                        <a:buFont typeface="Arial" panose="020B0604020202020204" pitchFamily="34" charset="0"/>
                        <a:buChar char="•"/>
                      </a:pPr>
                      <a:r>
                        <a:rPr lang="en-GB" sz="1300" dirty="0">
                          <a:solidFill>
                            <a:srgbClr val="245473"/>
                          </a:solidFill>
                        </a:rPr>
                        <a:t>Préstamo puente</a:t>
                      </a:r>
                    </a:p>
                  </a:txBody>
                  <a:tcPr/>
                </a:tc>
                <a:extLst>
                  <a:ext uri="{0D108BD9-81ED-4DB2-BD59-A6C34878D82A}">
                    <a16:rowId xmlns:a16="http://schemas.microsoft.com/office/drawing/2014/main" xmlns="" val="3789302034"/>
                  </a:ext>
                </a:extLst>
              </a:tr>
            </a:tbl>
          </a:graphicData>
        </a:graphic>
      </p:graphicFrame>
      <p:graphicFrame>
        <p:nvGraphicFramePr>
          <p:cNvPr id="50" name="Tabelle 4">
            <a:extLst>
              <a:ext uri="{FF2B5EF4-FFF2-40B4-BE49-F238E27FC236}">
                <a16:creationId xmlns:a16="http://schemas.microsoft.com/office/drawing/2014/main" xmlns="" id="{C7E6BFC0-C38F-4248-B6CB-8CA4FC20622C}"/>
              </a:ext>
            </a:extLst>
          </p:cNvPr>
          <p:cNvGraphicFramePr>
            <a:graphicFrameLocks noGrp="1"/>
          </p:cNvGraphicFramePr>
          <p:nvPr>
            <p:extLst>
              <p:ext uri="{D42A27DB-BD31-4B8C-83A1-F6EECF244321}">
                <p14:modId xmlns:p14="http://schemas.microsoft.com/office/powerpoint/2010/main" val="2165402090"/>
              </p:ext>
            </p:extLst>
          </p:nvPr>
        </p:nvGraphicFramePr>
        <p:xfrm>
          <a:off x="7174331" y="1829694"/>
          <a:ext cx="4571355" cy="1920240"/>
        </p:xfrm>
        <a:graphic>
          <a:graphicData uri="http://schemas.openxmlformats.org/drawingml/2006/table">
            <a:tbl>
              <a:tblPr firstRow="1" bandRow="1">
                <a:tableStyleId>{5C22544A-7EE6-4342-B048-85BDC9FD1C3A}</a:tableStyleId>
              </a:tblPr>
              <a:tblGrid>
                <a:gridCol w="4571355">
                  <a:extLst>
                    <a:ext uri="{9D8B030D-6E8A-4147-A177-3AD203B41FA5}">
                      <a16:colId xmlns:a16="http://schemas.microsoft.com/office/drawing/2014/main" xmlns="" val="1242320083"/>
                    </a:ext>
                  </a:extLst>
                </a:gridCol>
              </a:tblGrid>
              <a:tr h="238225">
                <a:tc>
                  <a:txBody>
                    <a:bodyPr/>
                    <a:lstStyle/>
                    <a:p>
                      <a:r>
                        <a:rPr lang="en-GB" sz="1600" noProof="0" dirty="0">
                          <a:solidFill>
                            <a:schemeClr val="bg1"/>
                          </a:solidFill>
                        </a:rPr>
                        <a:t>Mejora de la estructura de financiación</a:t>
                      </a:r>
                      <a:endParaRPr lang="en-GB" sz="1600" dirty="0">
                        <a:solidFill>
                          <a:schemeClr val="bg1"/>
                        </a:solidFill>
                      </a:endParaRPr>
                    </a:p>
                  </a:txBody>
                  <a:tcPr>
                    <a:solidFill>
                      <a:srgbClr val="4472C4"/>
                    </a:solidFill>
                  </a:tcPr>
                </a:tc>
                <a:extLst>
                  <a:ext uri="{0D108BD9-81ED-4DB2-BD59-A6C34878D82A}">
                    <a16:rowId xmlns:a16="http://schemas.microsoft.com/office/drawing/2014/main" xmlns="" val="2247858707"/>
                  </a:ext>
                </a:extLst>
              </a:tr>
              <a:tr h="714676">
                <a:tc>
                  <a:txBody>
                    <a:bodyPr/>
                    <a:lstStyle/>
                    <a:p>
                      <a:pPr marL="285750" indent="-285750">
                        <a:buFont typeface="Arial" panose="020B0604020202020204" pitchFamily="34" charset="0"/>
                        <a:buChar char="•"/>
                      </a:pPr>
                      <a:r>
                        <a:rPr lang="en-GB" sz="1400" dirty="0">
                          <a:solidFill>
                            <a:srgbClr val="245473"/>
                          </a:solidFill>
                        </a:rPr>
                        <a:t>Capital de la deuda</a:t>
                      </a:r>
                    </a:p>
                    <a:p>
                      <a:pPr marL="285750" indent="-285750">
                        <a:buFont typeface="Arial" panose="020B0604020202020204" pitchFamily="34" charset="0"/>
                        <a:buChar char="•"/>
                      </a:pPr>
                      <a:r>
                        <a:rPr lang="en-GB" sz="1400" dirty="0">
                          <a:solidFill>
                            <a:srgbClr val="245473"/>
                          </a:solidFill>
                        </a:rPr>
                        <a:t>Préstamos a proveedores y subvenciones a fondo perdido</a:t>
                      </a:r>
                    </a:p>
                    <a:p>
                      <a:pPr marL="285750" indent="-285750">
                        <a:buFont typeface="Arial" panose="020B0604020202020204" pitchFamily="34" charset="0"/>
                        <a:buChar char="•"/>
                      </a:pPr>
                      <a:r>
                        <a:rPr lang="en-GB" sz="1400" dirty="0">
                          <a:solidFill>
                            <a:srgbClr val="245473"/>
                          </a:solidFill>
                        </a:rPr>
                        <a:t>Derecho de participación</a:t>
                      </a:r>
                    </a:p>
                    <a:p>
                      <a:pPr marL="285750" indent="-285750">
                        <a:buFont typeface="Arial" panose="020B0604020202020204" pitchFamily="34" charset="0"/>
                        <a:buChar char="•"/>
                      </a:pPr>
                      <a:r>
                        <a:rPr lang="en-GB" sz="1400" dirty="0">
                          <a:solidFill>
                            <a:srgbClr val="245473"/>
                          </a:solidFill>
                        </a:rPr>
                        <a:t>Bonos</a:t>
                      </a:r>
                    </a:p>
                    <a:p>
                      <a:pPr marL="285750" indent="-285750">
                        <a:buFont typeface="Arial" panose="020B0604020202020204" pitchFamily="34" charset="0"/>
                        <a:buChar char="•"/>
                      </a:pPr>
                      <a:r>
                        <a:rPr lang="en-GB" sz="1400" dirty="0">
                          <a:solidFill>
                            <a:srgbClr val="245473"/>
                          </a:solidFill>
                        </a:rPr>
                        <a:t>Inyección de capital</a:t>
                      </a:r>
                    </a:p>
                    <a:p>
                      <a:pPr marL="285750" indent="-285750">
                        <a:buFont typeface="Arial" panose="020B0604020202020204" pitchFamily="34" charset="0"/>
                        <a:buChar char="•"/>
                      </a:pPr>
                      <a:r>
                        <a:rPr lang="en-GB" sz="1400" dirty="0">
                          <a:solidFill>
                            <a:srgbClr val="245473"/>
                          </a:solidFill>
                        </a:rPr>
                        <a:t>Asociación silenciosa</a:t>
                      </a:r>
                    </a:p>
                    <a:p>
                      <a:pPr marL="285750" indent="-285750">
                        <a:buFont typeface="Arial" panose="020B0604020202020204" pitchFamily="34" charset="0"/>
                        <a:buChar char="•"/>
                      </a:pPr>
                      <a:r>
                        <a:rPr lang="en-GB" sz="1400" dirty="0">
                          <a:solidFill>
                            <a:srgbClr val="245473"/>
                          </a:solidFill>
                        </a:rPr>
                        <a:t>Instrumentos de financiación pública</a:t>
                      </a:r>
                    </a:p>
                  </a:txBody>
                  <a:tcPr/>
                </a:tc>
                <a:extLst>
                  <a:ext uri="{0D108BD9-81ED-4DB2-BD59-A6C34878D82A}">
                    <a16:rowId xmlns:a16="http://schemas.microsoft.com/office/drawing/2014/main" xmlns="" val="3789302034"/>
                  </a:ext>
                </a:extLst>
              </a:tr>
            </a:tbl>
          </a:graphicData>
        </a:graphic>
      </p:graphicFrame>
      <p:graphicFrame>
        <p:nvGraphicFramePr>
          <p:cNvPr id="51" name="Tabelle 4">
            <a:extLst>
              <a:ext uri="{FF2B5EF4-FFF2-40B4-BE49-F238E27FC236}">
                <a16:creationId xmlns:a16="http://schemas.microsoft.com/office/drawing/2014/main" xmlns="" id="{90FEEE21-C77E-4561-B87D-E4130D310B00}"/>
              </a:ext>
            </a:extLst>
          </p:cNvPr>
          <p:cNvGraphicFramePr>
            <a:graphicFrameLocks noGrp="1"/>
          </p:cNvGraphicFramePr>
          <p:nvPr>
            <p:extLst>
              <p:ext uri="{D42A27DB-BD31-4B8C-83A1-F6EECF244321}">
                <p14:modId xmlns:p14="http://schemas.microsoft.com/office/powerpoint/2010/main" val="2798079036"/>
              </p:ext>
            </p:extLst>
          </p:nvPr>
        </p:nvGraphicFramePr>
        <p:xfrm>
          <a:off x="7142883" y="3764102"/>
          <a:ext cx="4657231" cy="2897955"/>
        </p:xfrm>
        <a:graphic>
          <a:graphicData uri="http://schemas.openxmlformats.org/drawingml/2006/table">
            <a:tbl>
              <a:tblPr firstRow="1" bandRow="1">
                <a:tableStyleId>{5C22544A-7EE6-4342-B048-85BDC9FD1C3A}</a:tableStyleId>
              </a:tblPr>
              <a:tblGrid>
                <a:gridCol w="4657231">
                  <a:extLst>
                    <a:ext uri="{9D8B030D-6E8A-4147-A177-3AD203B41FA5}">
                      <a16:colId xmlns:a16="http://schemas.microsoft.com/office/drawing/2014/main" xmlns="" val="1242320083"/>
                    </a:ext>
                  </a:extLst>
                </a:gridCol>
              </a:tblGrid>
              <a:tr h="484876">
                <a:tc>
                  <a:txBody>
                    <a:bodyPr/>
                    <a:lstStyle/>
                    <a:p>
                      <a:pPr algn="ctr"/>
                      <a:r>
                        <a:rPr lang="en-GB" sz="1600" dirty="0">
                          <a:solidFill>
                            <a:schemeClr val="bg1"/>
                          </a:solidFill>
                        </a:rPr>
                        <a:t>Construir una estructura de capital sostenible</a:t>
                      </a:r>
                    </a:p>
                  </a:txBody>
                  <a:tcPr>
                    <a:solidFill>
                      <a:schemeClr val="accent6"/>
                    </a:solidFill>
                  </a:tcPr>
                </a:tc>
                <a:extLst>
                  <a:ext uri="{0D108BD9-81ED-4DB2-BD59-A6C34878D82A}">
                    <a16:rowId xmlns:a16="http://schemas.microsoft.com/office/drawing/2014/main" xmlns="" val="2247858707"/>
                  </a:ext>
                </a:extLst>
              </a:tr>
              <a:tr h="2413079">
                <a:tc>
                  <a:txBody>
                    <a:bodyPr/>
                    <a:lstStyle/>
                    <a:p>
                      <a:pPr marL="285750" indent="-285750">
                        <a:buFont typeface="Arial" panose="020B0604020202020204" pitchFamily="34" charset="0"/>
                        <a:buChar char="•"/>
                      </a:pPr>
                      <a:r>
                        <a:rPr lang="en-GB" sz="1400" dirty="0">
                          <a:solidFill>
                            <a:srgbClr val="245473"/>
                          </a:solidFill>
                        </a:rPr>
                        <a:t>Renuncia a la deuda</a:t>
                      </a:r>
                    </a:p>
                    <a:p>
                      <a:pPr marL="285750" indent="-285750">
                        <a:buFont typeface="Arial" panose="020B0604020202020204" pitchFamily="34" charset="0"/>
                        <a:buChar char="•"/>
                      </a:pPr>
                      <a:r>
                        <a:rPr lang="en-GB" sz="1400" dirty="0">
                          <a:solidFill>
                            <a:srgbClr val="245473"/>
                          </a:solidFill>
                        </a:rPr>
                        <a:t>orden de detención del deudor</a:t>
                      </a:r>
                    </a:p>
                    <a:p>
                      <a:pPr marL="285750" indent="-285750">
                        <a:buFont typeface="Arial" panose="020B0604020202020204" pitchFamily="34" charset="0"/>
                        <a:buChar char="•"/>
                      </a:pPr>
                      <a:r>
                        <a:rPr lang="en-GB" sz="1400" dirty="0">
                          <a:solidFill>
                            <a:srgbClr val="245473"/>
                          </a:solidFill>
                        </a:rPr>
                        <a:t>recompra de créditos  </a:t>
                      </a:r>
                    </a:p>
                    <a:p>
                      <a:pPr marL="285750" indent="-285750">
                        <a:buFont typeface="Arial" panose="020B0604020202020204" pitchFamily="34" charset="0"/>
                        <a:buChar char="•"/>
                      </a:pPr>
                      <a:r>
                        <a:rPr lang="en-GB" sz="1400" dirty="0">
                          <a:solidFill>
                            <a:srgbClr val="245473"/>
                          </a:solidFill>
                        </a:rPr>
                        <a:t>Canje de deuda por acciones</a:t>
                      </a:r>
                    </a:p>
                    <a:p>
                      <a:pPr marL="285750" indent="-285750">
                        <a:buFont typeface="Arial" panose="020B0604020202020204" pitchFamily="34" charset="0"/>
                        <a:buChar char="•"/>
                      </a:pPr>
                      <a:r>
                        <a:rPr lang="en-GB" sz="1400" dirty="0">
                          <a:solidFill>
                            <a:srgbClr val="245473"/>
                          </a:solidFill>
                        </a:rPr>
                        <a:t>Canje de deuda mezzanine</a:t>
                      </a:r>
                    </a:p>
                    <a:p>
                      <a:pPr marL="285750" indent="-285750">
                        <a:buFont typeface="Arial" panose="020B0604020202020204" pitchFamily="34" charset="0"/>
                        <a:buChar char="•"/>
                      </a:pPr>
                      <a:r>
                        <a:rPr lang="en-GB" sz="1400" dirty="0">
                          <a:solidFill>
                            <a:srgbClr val="245473"/>
                          </a:solidFill>
                        </a:rPr>
                        <a:t>Renuncia a los compromisos de pensión / plan de pensiones de la empresa</a:t>
                      </a:r>
                    </a:p>
                    <a:p>
                      <a:pPr marL="285750" indent="-285750">
                        <a:buFont typeface="Arial" panose="020B0604020202020204" pitchFamily="34" charset="0"/>
                        <a:buChar char="•"/>
                      </a:pPr>
                      <a:r>
                        <a:rPr lang="en-GB" sz="1400" dirty="0">
                          <a:solidFill>
                            <a:srgbClr val="245473"/>
                          </a:solidFill>
                        </a:rPr>
                        <a:t>Reestructuración en el Grupo</a:t>
                      </a:r>
                    </a:p>
                    <a:p>
                      <a:pPr marL="285750" indent="-285750">
                        <a:buFont typeface="Arial" panose="020B0604020202020204" pitchFamily="34" charset="0"/>
                        <a:buChar char="•"/>
                      </a:pPr>
                      <a:r>
                        <a:rPr lang="en-GB" sz="1400" dirty="0">
                          <a:solidFill>
                            <a:srgbClr val="245473"/>
                          </a:solidFill>
                        </a:rPr>
                        <a:t>(Dept. empuja hacia abajo)</a:t>
                      </a:r>
                    </a:p>
                  </a:txBody>
                  <a:tcPr/>
                </a:tc>
                <a:extLst>
                  <a:ext uri="{0D108BD9-81ED-4DB2-BD59-A6C34878D82A}">
                    <a16:rowId xmlns:a16="http://schemas.microsoft.com/office/drawing/2014/main" xmlns="" val="3789302034"/>
                  </a:ext>
                </a:extLst>
              </a:tr>
            </a:tbl>
          </a:graphicData>
        </a:graphic>
      </p:graphicFrame>
      <p:sp>
        <p:nvSpPr>
          <p:cNvPr id="12" name="Rechteck 30">
            <a:extLst>
              <a:ext uri="{FF2B5EF4-FFF2-40B4-BE49-F238E27FC236}">
                <a16:creationId xmlns:a16="http://schemas.microsoft.com/office/drawing/2014/main" xmlns="" id="{55CAEEA9-894F-4C76-8A27-3DB51B9E64E7}"/>
              </a:ext>
            </a:extLst>
          </p:cNvPr>
          <p:cNvSpPr/>
          <p:nvPr/>
        </p:nvSpPr>
        <p:spPr>
          <a:xfrm>
            <a:off x="63395" y="4267260"/>
            <a:ext cx="2466701" cy="599695"/>
          </a:xfrm>
          <a:prstGeom prst="rect">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Mantener la solvencia financiera</a:t>
            </a:r>
          </a:p>
        </p:txBody>
      </p:sp>
      <p:sp>
        <p:nvSpPr>
          <p:cNvPr id="13" name="Rechteck 31">
            <a:extLst>
              <a:ext uri="{FF2B5EF4-FFF2-40B4-BE49-F238E27FC236}">
                <a16:creationId xmlns:a16="http://schemas.microsoft.com/office/drawing/2014/main" xmlns="" id="{51AC474F-6C0F-442A-88E2-388E24DCA062}"/>
              </a:ext>
            </a:extLst>
          </p:cNvPr>
          <p:cNvSpPr/>
          <p:nvPr/>
        </p:nvSpPr>
        <p:spPr>
          <a:xfrm>
            <a:off x="40260" y="3428326"/>
            <a:ext cx="2496547" cy="748291"/>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Estabilización de la liquidez</a:t>
            </a:r>
          </a:p>
        </p:txBody>
      </p:sp>
      <p:sp>
        <p:nvSpPr>
          <p:cNvPr id="14" name="Rechteck 32">
            <a:extLst>
              <a:ext uri="{FF2B5EF4-FFF2-40B4-BE49-F238E27FC236}">
                <a16:creationId xmlns:a16="http://schemas.microsoft.com/office/drawing/2014/main" xmlns="" id="{2874DA96-5535-4639-86A6-AB2C2FFAE223}"/>
              </a:ext>
            </a:extLst>
          </p:cNvPr>
          <p:cNvSpPr/>
          <p:nvPr/>
        </p:nvSpPr>
        <p:spPr>
          <a:xfrm>
            <a:off x="48471" y="2703215"/>
            <a:ext cx="2496547" cy="634468"/>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Mejora de la estructura de financiación</a:t>
            </a:r>
          </a:p>
        </p:txBody>
      </p:sp>
      <p:sp>
        <p:nvSpPr>
          <p:cNvPr id="15" name="Rechteck 33">
            <a:extLst>
              <a:ext uri="{FF2B5EF4-FFF2-40B4-BE49-F238E27FC236}">
                <a16:creationId xmlns:a16="http://schemas.microsoft.com/office/drawing/2014/main" xmlns="" id="{8B82417D-C155-4FF2-96C7-19CB3E085439}"/>
              </a:ext>
            </a:extLst>
          </p:cNvPr>
          <p:cNvSpPr/>
          <p:nvPr/>
        </p:nvSpPr>
        <p:spPr>
          <a:xfrm>
            <a:off x="40260" y="2077842"/>
            <a:ext cx="2517883" cy="53473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Construir una estructura de capital sostenible</a:t>
            </a:r>
          </a:p>
        </p:txBody>
      </p:sp>
    </p:spTree>
    <p:extLst>
      <p:ext uri="{BB962C8B-B14F-4D97-AF65-F5344CB8AC3E}">
        <p14:creationId xmlns:p14="http://schemas.microsoft.com/office/powerpoint/2010/main" val="29045437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14468" y="570477"/>
            <a:ext cx="8852375" cy="697353"/>
          </a:xfrm>
        </p:spPr>
        <p:txBody>
          <a:bodyPr>
            <a:normAutofit/>
          </a:bodyPr>
          <a:lstStyle/>
          <a:p>
            <a:r>
              <a:rPr lang="en-GB" dirty="0"/>
              <a:t>Herramientas para la reestructuración financiera</a:t>
            </a:r>
          </a:p>
        </p:txBody>
      </p:sp>
      <p:graphicFrame>
        <p:nvGraphicFramePr>
          <p:cNvPr id="4" name="Tabelle 4">
            <a:extLst>
              <a:ext uri="{FF2B5EF4-FFF2-40B4-BE49-F238E27FC236}">
                <a16:creationId xmlns:a16="http://schemas.microsoft.com/office/drawing/2014/main" xmlns="" id="{01C1D72E-FD22-45AD-A30F-785743AB96E4}"/>
              </a:ext>
            </a:extLst>
          </p:cNvPr>
          <p:cNvGraphicFramePr>
            <a:graphicFrameLocks noGrp="1"/>
          </p:cNvGraphicFramePr>
          <p:nvPr>
            <p:extLst>
              <p:ext uri="{D42A27DB-BD31-4B8C-83A1-F6EECF244321}">
                <p14:modId xmlns:p14="http://schemas.microsoft.com/office/powerpoint/2010/main" val="3033320937"/>
              </p:ext>
            </p:extLst>
          </p:nvPr>
        </p:nvGraphicFramePr>
        <p:xfrm>
          <a:off x="3543823" y="1896177"/>
          <a:ext cx="7294223" cy="4391346"/>
        </p:xfrm>
        <a:graphic>
          <a:graphicData uri="http://schemas.openxmlformats.org/drawingml/2006/table">
            <a:tbl>
              <a:tblPr firstRow="1" bandRow="1">
                <a:tableStyleId>{5C22544A-7EE6-4342-B048-85BDC9FD1C3A}</a:tableStyleId>
              </a:tblPr>
              <a:tblGrid>
                <a:gridCol w="7294223">
                  <a:extLst>
                    <a:ext uri="{9D8B030D-6E8A-4147-A177-3AD203B41FA5}">
                      <a16:colId xmlns:a16="http://schemas.microsoft.com/office/drawing/2014/main" xmlns="" val="1242320083"/>
                    </a:ext>
                  </a:extLst>
                </a:gridCol>
              </a:tblGrid>
              <a:tr h="520509">
                <a:tc>
                  <a:txBody>
                    <a:bodyPr/>
                    <a:lstStyle/>
                    <a:p>
                      <a:r>
                        <a:rPr lang="en-GB" sz="2000" noProof="0" dirty="0">
                          <a:solidFill>
                            <a:schemeClr val="bg1"/>
                          </a:solidFill>
                          <a:latin typeface="+mj-lt"/>
                        </a:rPr>
                        <a:t>Valores</a:t>
                      </a:r>
                      <a:endParaRPr lang="en-GB" sz="2000" dirty="0">
                        <a:solidFill>
                          <a:schemeClr val="bg1"/>
                        </a:solidFill>
                        <a:latin typeface="+mj-lt"/>
                      </a:endParaRPr>
                    </a:p>
                  </a:txBody>
                  <a:tcPr>
                    <a:solidFill>
                      <a:srgbClr val="F95C2C"/>
                    </a:solidFill>
                  </a:tcPr>
                </a:tc>
                <a:extLst>
                  <a:ext uri="{0D108BD9-81ED-4DB2-BD59-A6C34878D82A}">
                    <a16:rowId xmlns:a16="http://schemas.microsoft.com/office/drawing/2014/main" xmlns="" val="2247858707"/>
                  </a:ext>
                </a:extLst>
              </a:tr>
              <a:tr h="3870837">
                <a:tc>
                  <a:txBody>
                    <a:bodyPr/>
                    <a:lstStyle/>
                    <a:p>
                      <a:pPr marL="285750" indent="-285750">
                        <a:buFont typeface="Arial" panose="020B0604020202020204" pitchFamily="34" charset="0"/>
                        <a:buChar char="•"/>
                      </a:pPr>
                      <a:r>
                        <a:rPr lang="en-GB" sz="1800" dirty="0">
                          <a:solidFill>
                            <a:srgbClr val="245473"/>
                          </a:solidFill>
                          <a:latin typeface="+mj-lt"/>
                        </a:rPr>
                        <a:t>Transferencia de la propiedad por medio de una garantía</a:t>
                      </a:r>
                    </a:p>
                    <a:p>
                      <a:pPr marL="285750" indent="-285750">
                        <a:buFont typeface="Arial" panose="020B0604020202020204" pitchFamily="34" charset="0"/>
                        <a:buChar char="•"/>
                      </a:pPr>
                      <a:r>
                        <a:rPr lang="en-GB" sz="1800" dirty="0">
                          <a:solidFill>
                            <a:srgbClr val="245473"/>
                          </a:solidFill>
                          <a:latin typeface="+mj-lt"/>
                        </a:rPr>
                        <a:t>(ampliado) reserva de dominio</a:t>
                      </a:r>
                    </a:p>
                    <a:p>
                      <a:pPr marL="285750" indent="-285750">
                        <a:buFont typeface="Arial" panose="020B0604020202020204" pitchFamily="34" charset="0"/>
                        <a:buChar char="•"/>
                      </a:pPr>
                      <a:r>
                        <a:rPr lang="en-GB" sz="1800" dirty="0">
                          <a:solidFill>
                            <a:srgbClr val="245473"/>
                          </a:solidFill>
                          <a:latin typeface="+mj-lt"/>
                        </a:rPr>
                        <a:t>Cesión de créditos (cesión global)</a:t>
                      </a:r>
                    </a:p>
                    <a:p>
                      <a:pPr marL="285750" indent="-285750">
                        <a:buFont typeface="Arial" panose="020B0604020202020204" pitchFamily="34" charset="0"/>
                        <a:buChar char="•"/>
                      </a:pPr>
                      <a:r>
                        <a:rPr lang="en-GB" sz="1800" dirty="0">
                          <a:solidFill>
                            <a:srgbClr val="245473"/>
                          </a:solidFill>
                          <a:latin typeface="+mj-lt"/>
                        </a:rPr>
                        <a:t>Concesión de hipotecas</a:t>
                      </a:r>
                    </a:p>
                    <a:p>
                      <a:pPr marL="285750" indent="-285750">
                        <a:buFont typeface="Arial" panose="020B0604020202020204" pitchFamily="34" charset="0"/>
                        <a:buChar char="•"/>
                      </a:pPr>
                      <a:r>
                        <a:rPr lang="en-GB" sz="1800" dirty="0">
                          <a:solidFill>
                            <a:srgbClr val="245473"/>
                          </a:solidFill>
                          <a:latin typeface="+mj-lt"/>
                        </a:rPr>
                        <a:t>(hipoteca, carga de la tierra)  </a:t>
                      </a:r>
                    </a:p>
                    <a:p>
                      <a:pPr marL="285750" indent="-285750">
                        <a:buFont typeface="Arial" panose="020B0604020202020204" pitchFamily="34" charset="0"/>
                        <a:buChar char="•"/>
                      </a:pPr>
                      <a:r>
                        <a:rPr lang="en-GB" sz="1800" dirty="0">
                          <a:solidFill>
                            <a:srgbClr val="245473"/>
                          </a:solidFill>
                          <a:latin typeface="+mj-lt"/>
                        </a:rPr>
                        <a:t>Compromiso</a:t>
                      </a:r>
                    </a:p>
                    <a:p>
                      <a:pPr marL="285750" indent="-285750">
                        <a:buFont typeface="Arial" panose="020B0604020202020204" pitchFamily="34" charset="0"/>
                        <a:buChar char="•"/>
                      </a:pPr>
                      <a:r>
                        <a:rPr lang="en-GB" sz="1800" dirty="0">
                          <a:solidFill>
                            <a:srgbClr val="245473"/>
                          </a:solidFill>
                          <a:latin typeface="+mj-lt"/>
                        </a:rPr>
                        <a:t>Garantía</a:t>
                      </a:r>
                    </a:p>
                    <a:p>
                      <a:pPr marL="285750" indent="-285750">
                        <a:buFont typeface="Arial" panose="020B0604020202020204" pitchFamily="34" charset="0"/>
                        <a:buChar char="•"/>
                      </a:pPr>
                      <a:r>
                        <a:rPr lang="en-GB" sz="1800" dirty="0">
                          <a:solidFill>
                            <a:srgbClr val="245473"/>
                          </a:solidFill>
                          <a:latin typeface="+mj-lt"/>
                        </a:rPr>
                        <a:t>Garantías públicas de deficiencia</a:t>
                      </a:r>
                    </a:p>
                    <a:p>
                      <a:pPr marL="285750" indent="-285750">
                        <a:buFont typeface="Arial" panose="020B0604020202020204" pitchFamily="34" charset="0"/>
                        <a:buChar char="•"/>
                      </a:pPr>
                      <a:r>
                        <a:rPr lang="en-GB" sz="1800" dirty="0">
                          <a:solidFill>
                            <a:srgbClr val="245473"/>
                          </a:solidFill>
                          <a:latin typeface="+mj-lt"/>
                        </a:rPr>
                        <a:t>Adhesión a la deuda</a:t>
                      </a:r>
                    </a:p>
                    <a:p>
                      <a:pPr marL="285750" indent="-285750">
                        <a:buFont typeface="Arial" panose="020B0604020202020204" pitchFamily="34" charset="0"/>
                        <a:buChar char="•"/>
                      </a:pPr>
                      <a:r>
                        <a:rPr lang="en-GB" sz="1800" dirty="0">
                          <a:solidFill>
                            <a:srgbClr val="245473"/>
                          </a:solidFill>
                          <a:latin typeface="+mj-lt"/>
                        </a:rPr>
                        <a:t>Garantía</a:t>
                      </a:r>
                    </a:p>
                    <a:p>
                      <a:pPr marL="285750" indent="-285750">
                        <a:buFont typeface="Arial" panose="020B0604020202020204" pitchFamily="34" charset="0"/>
                        <a:buChar char="•"/>
                      </a:pPr>
                      <a:r>
                        <a:rPr lang="en-GB" sz="1800" dirty="0">
                          <a:solidFill>
                            <a:srgbClr val="245473"/>
                          </a:solidFill>
                          <a:latin typeface="+mj-lt"/>
                        </a:rPr>
                        <a:t>Garantías</a:t>
                      </a:r>
                    </a:p>
                    <a:p>
                      <a:pPr marL="285750" indent="-285750">
                        <a:buFont typeface="Arial" panose="020B0604020202020204" pitchFamily="34" charset="0"/>
                        <a:buChar char="•"/>
                      </a:pPr>
                      <a:r>
                        <a:rPr lang="en-GB" sz="1800" dirty="0">
                          <a:solidFill>
                            <a:srgbClr val="245473"/>
                          </a:solidFill>
                          <a:latin typeface="+mj-lt"/>
                        </a:rPr>
                        <a:t>Carta de consuelo</a:t>
                      </a:r>
                    </a:p>
                    <a:p>
                      <a:pPr marL="285750" indent="-285750">
                        <a:buFont typeface="Arial" panose="020B0604020202020204" pitchFamily="34" charset="0"/>
                        <a:buChar char="•"/>
                      </a:pPr>
                      <a:r>
                        <a:rPr lang="en-GB" sz="1800" dirty="0">
                          <a:solidFill>
                            <a:srgbClr val="245473"/>
                          </a:solidFill>
                          <a:latin typeface="+mj-lt"/>
                        </a:rPr>
                        <a:t>Liberación de valores</a:t>
                      </a:r>
                      <a:endParaRPr lang="en-GB" sz="1600" dirty="0">
                        <a:solidFill>
                          <a:srgbClr val="245473"/>
                        </a:solidFill>
                        <a:latin typeface="+mj-lt"/>
                      </a:endParaRPr>
                    </a:p>
                  </a:txBody>
                  <a:tcPr/>
                </a:tc>
                <a:extLst>
                  <a:ext uri="{0D108BD9-81ED-4DB2-BD59-A6C34878D82A}">
                    <a16:rowId xmlns:a16="http://schemas.microsoft.com/office/drawing/2014/main" xmlns="" val="3789302034"/>
                  </a:ext>
                </a:extLst>
              </a:tr>
            </a:tbl>
          </a:graphicData>
        </a:graphic>
      </p:graphicFrame>
      <p:sp>
        <p:nvSpPr>
          <p:cNvPr id="9" name="Subtitle 2">
            <a:extLst>
              <a:ext uri="{FF2B5EF4-FFF2-40B4-BE49-F238E27FC236}">
                <a16:creationId xmlns:a16="http://schemas.microsoft.com/office/drawing/2014/main" xmlns="" id="{A3617C8A-FFA1-4F4F-B387-8850E94C4F5B}"/>
              </a:ext>
            </a:extLst>
          </p:cNvPr>
          <p:cNvSpPr txBox="1">
            <a:spLocks/>
          </p:cNvSpPr>
          <p:nvPr/>
        </p:nvSpPr>
        <p:spPr>
          <a:xfrm>
            <a:off x="550277" y="2142491"/>
            <a:ext cx="2406058" cy="312936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 menudo sus socios financieros exigen garantías para participar en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la reestructuración financiera de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la empresa.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He aquí algunos ejemplos típicos</a:t>
            </a:r>
          </a:p>
        </p:txBody>
      </p:sp>
    </p:spTree>
    <p:extLst>
      <p:ext uri="{BB962C8B-B14F-4D97-AF65-F5344CB8AC3E}">
        <p14:creationId xmlns:p14="http://schemas.microsoft.com/office/powerpoint/2010/main" val="142481187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2439" y="524584"/>
            <a:ext cx="8852375" cy="697353"/>
          </a:xfrm>
        </p:spPr>
        <p:txBody>
          <a:bodyPr>
            <a:normAutofit/>
          </a:bodyPr>
          <a:lstStyle/>
          <a:p>
            <a:r>
              <a:rPr lang="en-GB" sz="2800" dirty="0"/>
              <a:t>Gestión del capital circulante, 3 niveles de actuac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04744" y="1957556"/>
            <a:ext cx="2810071" cy="437586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n concreto, existen tres niveles centrales de actuación para optimizar el capital circulante:</a:t>
            </a:r>
            <a:endParaRPr lang="en-US" dirty="0">
              <a:solidFill>
                <a:srgbClr val="245473"/>
              </a:solidFill>
              <a:latin typeface="+mj-lt"/>
            </a:endParaRPr>
          </a:p>
          <a:p>
            <a:pPr marL="285750" indent="-285750" algn="l">
              <a:lnSpc>
                <a:spcPct val="100000"/>
              </a:lnSpc>
              <a:spcBef>
                <a:spcPts val="600"/>
              </a:spcBef>
              <a:buFont typeface="Arial" panose="020B0604020202020204" pitchFamily="34" charset="0"/>
              <a:buChar char="•"/>
            </a:pPr>
            <a:r>
              <a:rPr lang="en-GB" altLang="de-DE" sz="2200" dirty="0">
                <a:solidFill>
                  <a:srgbClr val="245473"/>
                </a:solidFill>
                <a:latin typeface="+mj-lt"/>
              </a:rPr>
              <a:t>Optimización de las cuentas por cobrar</a:t>
            </a:r>
          </a:p>
          <a:p>
            <a:pPr marL="285750" indent="-285750" algn="l">
              <a:lnSpc>
                <a:spcPct val="100000"/>
              </a:lnSpc>
              <a:spcBef>
                <a:spcPts val="600"/>
              </a:spcBef>
              <a:buFont typeface="Arial" panose="020B0604020202020204" pitchFamily="34" charset="0"/>
              <a:buChar char="•"/>
            </a:pPr>
            <a:r>
              <a:rPr lang="en-GB" altLang="de-DE" sz="2200" dirty="0">
                <a:solidFill>
                  <a:srgbClr val="245473"/>
                </a:solidFill>
                <a:latin typeface="+mj-lt"/>
              </a:rPr>
              <a:t>Optimización de las existencias y el suministro</a:t>
            </a:r>
          </a:p>
          <a:p>
            <a:pPr marL="285750" indent="-285750" algn="l">
              <a:lnSpc>
                <a:spcPct val="100000"/>
              </a:lnSpc>
              <a:spcBef>
                <a:spcPts val="600"/>
              </a:spcBef>
              <a:buFont typeface="Arial" panose="020B0604020202020204" pitchFamily="34" charset="0"/>
              <a:buChar char="•"/>
            </a:pPr>
            <a:r>
              <a:rPr lang="en-GB" altLang="de-DE" sz="2200" dirty="0">
                <a:solidFill>
                  <a:srgbClr val="245473"/>
                </a:solidFill>
                <a:latin typeface="+mj-lt"/>
              </a:rPr>
              <a:t>Optimización de las cuentas por pagar </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grpSp>
        <p:nvGrpSpPr>
          <p:cNvPr id="6" name="Gruppieren 5">
            <a:extLst>
              <a:ext uri="{FF2B5EF4-FFF2-40B4-BE49-F238E27FC236}">
                <a16:creationId xmlns:a16="http://schemas.microsoft.com/office/drawing/2014/main" xmlns="" id="{F371017E-567F-4D1E-894A-4B0D6F3A2B3B}"/>
              </a:ext>
            </a:extLst>
          </p:cNvPr>
          <p:cNvGrpSpPr/>
          <p:nvPr/>
        </p:nvGrpSpPr>
        <p:grpSpPr>
          <a:xfrm>
            <a:off x="4126092" y="3324289"/>
            <a:ext cx="6716080" cy="1388398"/>
            <a:chOff x="4709566" y="3275418"/>
            <a:chExt cx="5012339" cy="1122542"/>
          </a:xfrm>
        </p:grpSpPr>
        <p:sp>
          <p:nvSpPr>
            <p:cNvPr id="7" name="Freeform 43">
              <a:extLst>
                <a:ext uri="{FF2B5EF4-FFF2-40B4-BE49-F238E27FC236}">
                  <a16:creationId xmlns:a16="http://schemas.microsoft.com/office/drawing/2014/main" xmlns="" id="{176304FF-8205-4BC3-9205-1489E2984297}"/>
                </a:ext>
              </a:extLst>
            </p:cNvPr>
            <p:cNvSpPr>
              <a:spLocks/>
            </p:cNvSpPr>
            <p:nvPr/>
          </p:nvSpPr>
          <p:spPr bwMode="auto">
            <a:xfrm>
              <a:off x="5730896" y="3275418"/>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 name="Freeform 36">
              <a:extLst>
                <a:ext uri="{FF2B5EF4-FFF2-40B4-BE49-F238E27FC236}">
                  <a16:creationId xmlns:a16="http://schemas.microsoft.com/office/drawing/2014/main" xmlns="" id="{373577D5-9A68-488F-B6BF-D830D4BE5AF0}"/>
                </a:ext>
              </a:extLst>
            </p:cNvPr>
            <p:cNvSpPr>
              <a:spLocks/>
            </p:cNvSpPr>
            <p:nvPr/>
          </p:nvSpPr>
          <p:spPr bwMode="auto">
            <a:xfrm>
              <a:off x="4709566" y="327541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 name="Freeform 37">
              <a:extLst>
                <a:ext uri="{FF2B5EF4-FFF2-40B4-BE49-F238E27FC236}">
                  <a16:creationId xmlns:a16="http://schemas.microsoft.com/office/drawing/2014/main" xmlns="" id="{AA938810-4814-4500-8C19-410DD80C8CC6}"/>
                </a:ext>
              </a:extLst>
            </p:cNvPr>
            <p:cNvSpPr>
              <a:spLocks/>
            </p:cNvSpPr>
            <p:nvPr/>
          </p:nvSpPr>
          <p:spPr bwMode="auto">
            <a:xfrm>
              <a:off x="4709566" y="327541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 name="Rectangle 48">
              <a:extLst>
                <a:ext uri="{FF2B5EF4-FFF2-40B4-BE49-F238E27FC236}">
                  <a16:creationId xmlns:a16="http://schemas.microsoft.com/office/drawing/2014/main" xmlns="" id="{D5406581-0180-4165-9BA0-F9EBC21AA4D8}"/>
                </a:ext>
              </a:extLst>
            </p:cNvPr>
            <p:cNvSpPr>
              <a:spLocks/>
            </p:cNvSpPr>
            <p:nvPr/>
          </p:nvSpPr>
          <p:spPr bwMode="auto">
            <a:xfrm>
              <a:off x="4959197" y="3627082"/>
              <a:ext cx="748821" cy="398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a:solidFill>
                    <a:schemeClr val="bg1"/>
                  </a:solidFill>
                  <a:latin typeface="+mj-lt"/>
                  <a:ea typeface="Roboto" charset="0"/>
                  <a:cs typeface="Roboto" charset="0"/>
                  <a:sym typeface="Bebas Neue" charset="0"/>
                </a:rPr>
                <a:t>Existencias y</a:t>
              </a:r>
              <a:br>
                <a:rPr lang="en-GB" sz="1600" b="1" spc="113">
                  <a:solidFill>
                    <a:schemeClr val="bg1"/>
                  </a:solidFill>
                  <a:latin typeface="+mj-lt"/>
                  <a:ea typeface="Roboto" charset="0"/>
                  <a:cs typeface="Roboto" charset="0"/>
                  <a:sym typeface="Bebas Neue" charset="0"/>
                </a:rPr>
              </a:br>
              <a:r>
                <a:rPr lang="en-GB" sz="1600" b="1" spc="113">
                  <a:solidFill>
                    <a:schemeClr val="bg1"/>
                  </a:solidFill>
                  <a:latin typeface="+mj-lt"/>
                  <a:ea typeface="Roboto" charset="0"/>
                  <a:cs typeface="Roboto" charset="0"/>
                  <a:sym typeface="Bebas Neue" charset="0"/>
                </a:rPr>
                <a:t>Suministro</a:t>
              </a:r>
              <a:endParaRPr lang="en-GB" sz="1600" b="1" spc="113" dirty="0">
                <a:solidFill>
                  <a:schemeClr val="bg1"/>
                </a:solidFill>
                <a:latin typeface="+mj-lt"/>
                <a:ea typeface="Roboto" charset="0"/>
                <a:cs typeface="Roboto" charset="0"/>
                <a:sym typeface="Bebas Neue" charset="0"/>
              </a:endParaRPr>
            </a:p>
          </p:txBody>
        </p:sp>
        <p:sp>
          <p:nvSpPr>
            <p:cNvPr id="11" name="TextBox 49">
              <a:extLst>
                <a:ext uri="{FF2B5EF4-FFF2-40B4-BE49-F238E27FC236}">
                  <a16:creationId xmlns:a16="http://schemas.microsoft.com/office/drawing/2014/main" xmlns="" id="{284B7E81-0F34-47C6-AA1A-7902864A1427}"/>
                </a:ext>
              </a:extLst>
            </p:cNvPr>
            <p:cNvSpPr txBox="1"/>
            <p:nvPr/>
          </p:nvSpPr>
          <p:spPr>
            <a:xfrm>
              <a:off x="6158751" y="3528504"/>
              <a:ext cx="3499055" cy="603442"/>
            </a:xfrm>
            <a:prstGeom prst="rect">
              <a:avLst/>
            </a:prstGeom>
            <a:noFill/>
          </p:spPr>
          <p:txBody>
            <a:bodyPr wrap="square" lIns="91440" tIns="45720" rIns="91440" bIns="45720" rtlCol="0" anchor="t">
              <a:spAutoFit/>
            </a:bodyPr>
            <a:lstStyle/>
            <a:p>
              <a:pPr marL="182245" indent="-182245">
                <a:lnSpc>
                  <a:spcPts val="1665"/>
                </a:lnSpc>
                <a:buFont typeface="Arial" panose="020B0604020202020204" pitchFamily="34" charset="0"/>
                <a:buChar char="•"/>
              </a:pPr>
              <a:r>
                <a:rPr lang="en-GB" sz="1600" dirty="0">
                  <a:solidFill>
                    <a:schemeClr val="bg1"/>
                  </a:solidFill>
                  <a:latin typeface="+mj-lt"/>
                  <a:ea typeface="Lato Light" charset="0"/>
                  <a:cs typeface="Lato Light" charset="0"/>
                </a:rPr>
                <a:t>Reducción de inventarios</a:t>
              </a:r>
            </a:p>
            <a:p>
              <a:pPr marL="182245" indent="-182245">
                <a:lnSpc>
                  <a:spcPts val="1665"/>
                </a:lnSpc>
                <a:buFont typeface="Arial" panose="020B0604020202020204" pitchFamily="34" charset="0"/>
                <a:buChar char="•"/>
              </a:pPr>
              <a:r>
                <a:rPr lang="en-GB" sz="1600" dirty="0">
                  <a:solidFill>
                    <a:schemeClr val="bg1"/>
                  </a:solidFill>
                  <a:latin typeface="+mj-lt"/>
                  <a:ea typeface="Lato Light" charset="0"/>
                  <a:cs typeface="Lato Light" charset="0"/>
                </a:rPr>
                <a:t>Ventas especiales</a:t>
              </a:r>
            </a:p>
            <a:p>
              <a:pPr marL="182245" indent="-182245">
                <a:lnSpc>
                  <a:spcPts val="1665"/>
                </a:lnSpc>
                <a:buFont typeface="Arial" panose="020B0604020202020204" pitchFamily="34" charset="0"/>
                <a:buChar char="•"/>
              </a:pPr>
              <a:r>
                <a:rPr lang="en-GB" sz="1600" dirty="0">
                  <a:solidFill>
                    <a:schemeClr val="bg1"/>
                  </a:solidFill>
                  <a:latin typeface="+mj-lt"/>
                  <a:ea typeface="Lato Light" charset="0"/>
                  <a:cs typeface="Lato Light" charset="0"/>
                </a:rPr>
                <a:t>Producción "justo a tiempo", existencias en consignación</a:t>
              </a:r>
            </a:p>
          </p:txBody>
        </p:sp>
      </p:grpSp>
      <p:grpSp>
        <p:nvGrpSpPr>
          <p:cNvPr id="24" name="Gruppieren 23">
            <a:extLst>
              <a:ext uri="{FF2B5EF4-FFF2-40B4-BE49-F238E27FC236}">
                <a16:creationId xmlns:a16="http://schemas.microsoft.com/office/drawing/2014/main" xmlns="" id="{96AED455-D17A-4717-91A9-6F085175E00F}"/>
              </a:ext>
            </a:extLst>
          </p:cNvPr>
          <p:cNvGrpSpPr/>
          <p:nvPr/>
        </p:nvGrpSpPr>
        <p:grpSpPr>
          <a:xfrm>
            <a:off x="4126092" y="4794689"/>
            <a:ext cx="6716080" cy="1388398"/>
            <a:chOff x="4709566" y="4505970"/>
            <a:chExt cx="5012339" cy="1122542"/>
          </a:xfrm>
        </p:grpSpPr>
        <p:sp>
          <p:nvSpPr>
            <p:cNvPr id="12" name="Freeform 43">
              <a:extLst>
                <a:ext uri="{FF2B5EF4-FFF2-40B4-BE49-F238E27FC236}">
                  <a16:creationId xmlns:a16="http://schemas.microsoft.com/office/drawing/2014/main" xmlns="" id="{5AFE15C6-BFCC-4FA5-A5F6-1454A152473C}"/>
                </a:ext>
              </a:extLst>
            </p:cNvPr>
            <p:cNvSpPr>
              <a:spLocks/>
            </p:cNvSpPr>
            <p:nvPr/>
          </p:nvSpPr>
          <p:spPr bwMode="auto">
            <a:xfrm>
              <a:off x="5730896" y="4505970"/>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4" name="Freeform 36">
              <a:extLst>
                <a:ext uri="{FF2B5EF4-FFF2-40B4-BE49-F238E27FC236}">
                  <a16:creationId xmlns:a16="http://schemas.microsoft.com/office/drawing/2014/main" xmlns="" id="{5DF4F918-49D8-4DA5-B68B-819A88AA2E02}"/>
                </a:ext>
              </a:extLst>
            </p:cNvPr>
            <p:cNvSpPr>
              <a:spLocks/>
            </p:cNvSpPr>
            <p:nvPr/>
          </p:nvSpPr>
          <p:spPr bwMode="auto">
            <a:xfrm>
              <a:off x="4709566" y="450597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5" name="Freeform 37">
              <a:extLst>
                <a:ext uri="{FF2B5EF4-FFF2-40B4-BE49-F238E27FC236}">
                  <a16:creationId xmlns:a16="http://schemas.microsoft.com/office/drawing/2014/main" xmlns="" id="{060D8EB1-8B82-46C1-9094-78C1EC157643}"/>
                </a:ext>
              </a:extLst>
            </p:cNvPr>
            <p:cNvSpPr>
              <a:spLocks/>
            </p:cNvSpPr>
            <p:nvPr/>
          </p:nvSpPr>
          <p:spPr bwMode="auto">
            <a:xfrm>
              <a:off x="4709566" y="450597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Rectangle 59">
              <a:extLst>
                <a:ext uri="{FF2B5EF4-FFF2-40B4-BE49-F238E27FC236}">
                  <a16:creationId xmlns:a16="http://schemas.microsoft.com/office/drawing/2014/main" xmlns="" id="{545F64AB-285D-454F-92D7-5BE85C7A2C20}"/>
                </a:ext>
              </a:extLst>
            </p:cNvPr>
            <p:cNvSpPr>
              <a:spLocks/>
            </p:cNvSpPr>
            <p:nvPr/>
          </p:nvSpPr>
          <p:spPr bwMode="auto">
            <a:xfrm>
              <a:off x="5014875" y="4857634"/>
              <a:ext cx="637465" cy="398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a:solidFill>
                    <a:schemeClr val="bg1"/>
                  </a:solidFill>
                  <a:latin typeface="+mj-lt"/>
                  <a:ea typeface="Roboto" charset="0"/>
                  <a:cs typeface="Roboto" charset="0"/>
                  <a:sym typeface="Bebas Neue" charset="0"/>
                </a:rPr>
                <a:t>Cuentas</a:t>
              </a:r>
              <a:br>
                <a:rPr lang="en-GB" sz="1600" b="1" spc="113">
                  <a:solidFill>
                    <a:schemeClr val="bg1"/>
                  </a:solidFill>
                  <a:latin typeface="+mj-lt"/>
                  <a:ea typeface="Roboto" charset="0"/>
                  <a:cs typeface="Roboto" charset="0"/>
                  <a:sym typeface="Bebas Neue" charset="0"/>
                </a:rPr>
              </a:br>
              <a:r>
                <a:rPr lang="en-GB" sz="1600" b="1" spc="113">
                  <a:solidFill>
                    <a:schemeClr val="bg1"/>
                  </a:solidFill>
                  <a:latin typeface="+mj-lt"/>
                  <a:ea typeface="Roboto" charset="0"/>
                  <a:cs typeface="Roboto" charset="0"/>
                  <a:sym typeface="Bebas Neue" charset="0"/>
                </a:rPr>
                <a:t>Pagos</a:t>
              </a:r>
              <a:endParaRPr lang="en-GB" sz="1600" b="1" spc="113" dirty="0">
                <a:solidFill>
                  <a:schemeClr val="bg1"/>
                </a:solidFill>
                <a:latin typeface="+mj-lt"/>
                <a:ea typeface="Roboto" charset="0"/>
                <a:cs typeface="Roboto" charset="0"/>
                <a:sym typeface="Bebas Neue" charset="0"/>
              </a:endParaRPr>
            </a:p>
          </p:txBody>
        </p:sp>
        <p:sp>
          <p:nvSpPr>
            <p:cNvPr id="18" name="TextBox 80">
              <a:extLst>
                <a:ext uri="{FF2B5EF4-FFF2-40B4-BE49-F238E27FC236}">
                  <a16:creationId xmlns:a16="http://schemas.microsoft.com/office/drawing/2014/main" xmlns="" id="{D3B4C848-5FA9-4489-8A6B-A6ADD14D0543}"/>
                </a:ext>
              </a:extLst>
            </p:cNvPr>
            <p:cNvSpPr txBox="1"/>
            <p:nvPr/>
          </p:nvSpPr>
          <p:spPr>
            <a:xfrm>
              <a:off x="6158751" y="4935319"/>
              <a:ext cx="3499055" cy="250916"/>
            </a:xfrm>
            <a:prstGeom prst="rect">
              <a:avLst/>
            </a:prstGeom>
            <a:noFill/>
          </p:spPr>
          <p:txBody>
            <a:bodyPr wrap="square" lIns="91440" tIns="45720" rIns="91440" bIns="45720" rtlCol="0" anchor="t">
              <a:spAutoFit/>
            </a:bodyPr>
            <a:lstStyle/>
            <a:p>
              <a:pPr marL="182245" indent="-182245">
                <a:lnSpc>
                  <a:spcPts val="1665"/>
                </a:lnSpc>
                <a:buFont typeface="Arial" panose="020B0604020202020204" pitchFamily="34" charset="0"/>
                <a:buChar char="•"/>
              </a:pPr>
              <a:r>
                <a:rPr lang="en-GB" sz="1600" dirty="0">
                  <a:solidFill>
                    <a:schemeClr val="bg1"/>
                  </a:solidFill>
                  <a:latin typeface="+mj-lt"/>
                  <a:ea typeface="Lato Light" charset="0"/>
                  <a:cs typeface="Lato Light" charset="0"/>
                </a:rPr>
                <a:t>Ampliación de los plazos de pago</a:t>
              </a:r>
            </a:p>
          </p:txBody>
        </p:sp>
      </p:grpSp>
      <p:grpSp>
        <p:nvGrpSpPr>
          <p:cNvPr id="5" name="Gruppieren 4">
            <a:extLst>
              <a:ext uri="{FF2B5EF4-FFF2-40B4-BE49-F238E27FC236}">
                <a16:creationId xmlns:a16="http://schemas.microsoft.com/office/drawing/2014/main" xmlns="" id="{F794DC0C-563E-420B-B303-F5AB71CE8705}"/>
              </a:ext>
            </a:extLst>
          </p:cNvPr>
          <p:cNvGrpSpPr/>
          <p:nvPr/>
        </p:nvGrpSpPr>
        <p:grpSpPr>
          <a:xfrm>
            <a:off x="4126092" y="1853889"/>
            <a:ext cx="6716080" cy="1388398"/>
            <a:chOff x="4709566" y="2030094"/>
            <a:chExt cx="5012339" cy="1122542"/>
          </a:xfrm>
        </p:grpSpPr>
        <p:sp>
          <p:nvSpPr>
            <p:cNvPr id="19" name="Freeform 43">
              <a:extLst>
                <a:ext uri="{FF2B5EF4-FFF2-40B4-BE49-F238E27FC236}">
                  <a16:creationId xmlns:a16="http://schemas.microsoft.com/office/drawing/2014/main" xmlns="" id="{9680277E-2BDD-45B6-B632-0322D2EA4A54}"/>
                </a:ext>
              </a:extLst>
            </p:cNvPr>
            <p:cNvSpPr>
              <a:spLocks/>
            </p:cNvSpPr>
            <p:nvPr/>
          </p:nvSpPr>
          <p:spPr bwMode="auto">
            <a:xfrm>
              <a:off x="5730896" y="2030094"/>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0" name="Freeform 36">
              <a:extLst>
                <a:ext uri="{FF2B5EF4-FFF2-40B4-BE49-F238E27FC236}">
                  <a16:creationId xmlns:a16="http://schemas.microsoft.com/office/drawing/2014/main" xmlns="" id="{E8D72328-1B5F-4A62-94EB-1411BDBCB124}"/>
                </a:ext>
              </a:extLst>
            </p:cNvPr>
            <p:cNvSpPr>
              <a:spLocks/>
            </p:cNvSpPr>
            <p:nvPr/>
          </p:nvSpPr>
          <p:spPr bwMode="auto">
            <a:xfrm>
              <a:off x="4709566" y="203009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1" name="Freeform 37">
              <a:extLst>
                <a:ext uri="{FF2B5EF4-FFF2-40B4-BE49-F238E27FC236}">
                  <a16:creationId xmlns:a16="http://schemas.microsoft.com/office/drawing/2014/main" xmlns="" id="{BA74F4A2-96C8-44C7-B950-189A4E20FAF7}"/>
                </a:ext>
              </a:extLst>
            </p:cNvPr>
            <p:cNvSpPr>
              <a:spLocks/>
            </p:cNvSpPr>
            <p:nvPr/>
          </p:nvSpPr>
          <p:spPr bwMode="auto">
            <a:xfrm>
              <a:off x="4709566" y="203009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2" name="Rectangle 85">
              <a:extLst>
                <a:ext uri="{FF2B5EF4-FFF2-40B4-BE49-F238E27FC236}">
                  <a16:creationId xmlns:a16="http://schemas.microsoft.com/office/drawing/2014/main" xmlns="" id="{ACB5D9E2-9DE2-459F-9543-788538E13AD3}"/>
                </a:ext>
              </a:extLst>
            </p:cNvPr>
            <p:cNvSpPr>
              <a:spLocks/>
            </p:cNvSpPr>
            <p:nvPr/>
          </p:nvSpPr>
          <p:spPr bwMode="auto">
            <a:xfrm>
              <a:off x="4923832" y="2381760"/>
              <a:ext cx="819549" cy="398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a:solidFill>
                    <a:schemeClr val="bg1"/>
                  </a:solidFill>
                  <a:latin typeface="+mj-lt"/>
                  <a:ea typeface="Roboto" charset="0"/>
                  <a:cs typeface="Roboto" charset="0"/>
                  <a:sym typeface="Bebas Neue" charset="0"/>
                </a:rPr>
                <a:t>Cuentas</a:t>
              </a:r>
              <a:br>
                <a:rPr lang="en-GB" sz="1600" b="1" spc="113">
                  <a:solidFill>
                    <a:schemeClr val="bg1"/>
                  </a:solidFill>
                  <a:latin typeface="+mj-lt"/>
                  <a:ea typeface="Roboto" charset="0"/>
                  <a:cs typeface="Roboto" charset="0"/>
                  <a:sym typeface="Bebas Neue" charset="0"/>
                </a:rPr>
              </a:br>
              <a:r>
                <a:rPr lang="en-GB" sz="1600" b="1" spc="113">
                  <a:solidFill>
                    <a:schemeClr val="bg1"/>
                  </a:solidFill>
                  <a:latin typeface="+mj-lt"/>
                  <a:ea typeface="Roboto" charset="0"/>
                  <a:cs typeface="Roboto" charset="0"/>
                  <a:sym typeface="Bebas Neue" charset="0"/>
                </a:rPr>
                <a:t>Cuentas por cobrar</a:t>
              </a:r>
              <a:endParaRPr lang="en-GB" sz="1600" b="1" spc="113" dirty="0">
                <a:solidFill>
                  <a:schemeClr val="bg1"/>
                </a:solidFill>
                <a:latin typeface="+mj-lt"/>
                <a:ea typeface="Roboto" charset="0"/>
                <a:cs typeface="Roboto" charset="0"/>
                <a:sym typeface="Bebas Neue" charset="0"/>
              </a:endParaRPr>
            </a:p>
          </p:txBody>
        </p:sp>
        <p:sp>
          <p:nvSpPr>
            <p:cNvPr id="23" name="TextBox 86">
              <a:extLst>
                <a:ext uri="{FF2B5EF4-FFF2-40B4-BE49-F238E27FC236}">
                  <a16:creationId xmlns:a16="http://schemas.microsoft.com/office/drawing/2014/main" xmlns="" id="{40029B10-5D86-4E1D-87FA-6D028723534F}"/>
                </a:ext>
              </a:extLst>
            </p:cNvPr>
            <p:cNvSpPr txBox="1"/>
            <p:nvPr/>
          </p:nvSpPr>
          <p:spPr>
            <a:xfrm>
              <a:off x="6158751" y="2058985"/>
              <a:ext cx="3499055" cy="1070021"/>
            </a:xfrm>
            <a:prstGeom prst="rect">
              <a:avLst/>
            </a:prstGeom>
            <a:noFill/>
          </p:spPr>
          <p:txBody>
            <a:bodyPr wrap="square" lIns="91440" tIns="45720" rIns="91440" bIns="45720" rtlCol="0" anchor="t">
              <a:spAutoFit/>
            </a:bodyPr>
            <a:lstStyle/>
            <a:p>
              <a:pPr marL="182245" indent="-182245">
                <a:buFont typeface="Arial" panose="020B0604020202020204" pitchFamily="34" charset="0"/>
                <a:buChar char="•"/>
              </a:pPr>
              <a:r>
                <a:rPr lang="en-GB" sz="1600" dirty="0">
                  <a:solidFill>
                    <a:schemeClr val="bg1"/>
                  </a:solidFill>
                  <a:latin typeface="+mj-lt"/>
                  <a:ea typeface="Lato Light" charset="0"/>
                  <a:cs typeface="Lato Light" charset="0"/>
                </a:rPr>
                <a:t>Factorización / Optimización del proceso de reclamación,</a:t>
              </a:r>
            </a:p>
            <a:p>
              <a:pPr marL="182245" indent="-182245">
                <a:buFont typeface="Arial" panose="020B0604020202020204" pitchFamily="34" charset="0"/>
                <a:buChar char="•"/>
              </a:pPr>
              <a:r>
                <a:rPr lang="en-GB" sz="1600" dirty="0">
                  <a:solidFill>
                    <a:schemeClr val="bg1"/>
                  </a:solidFill>
                  <a:latin typeface="+mj-lt"/>
                  <a:ea typeface="Lato Light" charset="0"/>
                  <a:cs typeface="Lato Light" charset="0"/>
                </a:rPr>
                <a:t>Acortar los plazos de pago</a:t>
              </a:r>
            </a:p>
            <a:p>
              <a:pPr marL="182245" indent="-182245">
                <a:buFont typeface="Arial" panose="020B0604020202020204" pitchFamily="34" charset="0"/>
                <a:buChar char="•"/>
              </a:pPr>
              <a:r>
                <a:rPr lang="en-GB" sz="1600" dirty="0">
                  <a:solidFill>
                    <a:schemeClr val="bg1"/>
                  </a:solidFill>
                  <a:latin typeface="+mj-lt"/>
                  <a:ea typeface="Lato Light" charset="0"/>
                  <a:cs typeface="Lato Light" charset="0"/>
                </a:rPr>
                <a:t>Cobertura de riesgos (solvencia, variaciones de precios, riesgos de tipos de interés y de divisas)</a:t>
              </a:r>
            </a:p>
            <a:p>
              <a:pPr marL="182245" indent="-182245">
                <a:buFont typeface="Arial" panose="020B0604020202020204" pitchFamily="34" charset="0"/>
                <a:buChar char="•"/>
              </a:pPr>
              <a:r>
                <a:rPr lang="en-GB" sz="1600" dirty="0">
                  <a:solidFill>
                    <a:schemeClr val="bg1"/>
                  </a:solidFill>
                  <a:latin typeface="+mj-lt"/>
                  <a:ea typeface="Lato Light" charset="0"/>
                  <a:cs typeface="Lato Light" charset="0"/>
                </a:rPr>
                <a:t>agrupación de tesorería</a:t>
              </a:r>
            </a:p>
          </p:txBody>
        </p:sp>
      </p:grpSp>
    </p:spTree>
    <p:extLst>
      <p:ext uri="{BB962C8B-B14F-4D97-AF65-F5344CB8AC3E}">
        <p14:creationId xmlns:p14="http://schemas.microsoft.com/office/powerpoint/2010/main" val="288181551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77491" y="647234"/>
            <a:ext cx="8852375" cy="697353"/>
          </a:xfrm>
        </p:spPr>
        <p:txBody>
          <a:bodyPr>
            <a:normAutofit fontScale="85000" lnSpcReduction="10000"/>
          </a:bodyPr>
          <a:lstStyle/>
          <a:p>
            <a:r>
              <a:rPr lang="en-GB" dirty="0"/>
              <a:t>Gestión del capital circulante: El ciclo de explotació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25257" y="1881673"/>
            <a:ext cx="6013572" cy="51606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El activo circulante es necesario porque las ventas no se convierten en efectivo de forma instantánea; siempre hay un </a:t>
            </a:r>
            <a:r>
              <a:rPr lang="en-GB" altLang="de-DE" sz="2000" b="1" dirty="0">
                <a:solidFill>
                  <a:srgbClr val="245473"/>
                </a:solidFill>
                <a:latin typeface="+mj-lt"/>
              </a:rPr>
              <a:t>ciclo de funcionamiento </a:t>
            </a:r>
            <a:r>
              <a:rPr lang="en-GB" altLang="de-DE" sz="2000" dirty="0">
                <a:solidFill>
                  <a:srgbClr val="245473"/>
                </a:solidFill>
                <a:latin typeface="+mj-lt"/>
              </a:rPr>
              <a:t>en la conversión de las ventas en efectivo</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ciclo operativo se divide en tres fases:</a:t>
            </a:r>
          </a:p>
          <a:p>
            <a:pPr marL="285750" indent="-28575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dquisición de recursos como materias primas, </a:t>
            </a:r>
            <a:r>
              <a:rPr lang="en-GB" sz="2000" dirty="0" err="1">
                <a:solidFill>
                  <a:srgbClr val="245473"/>
                </a:solidFill>
                <a:latin typeface="+mj-lt"/>
                <a:ea typeface="Open Sans Light" panose="020B0306030504020204" pitchFamily="34" charset="0"/>
                <a:cs typeface="Open Sans Light" panose="020B0306030504020204" pitchFamily="34" charset="0"/>
              </a:rPr>
              <a:t>mano de obra </a:t>
            </a:r>
            <a:r>
              <a:rPr lang="en-GB" sz="2000" dirty="0">
                <a:solidFill>
                  <a:srgbClr val="245473"/>
                </a:solidFill>
                <a:latin typeface="+mj-lt"/>
                <a:ea typeface="Open Sans Light" panose="020B0306030504020204" pitchFamily="34" charset="0"/>
                <a:cs typeface="Open Sans Light" panose="020B0306030504020204" pitchFamily="34" charset="0"/>
              </a:rPr>
              <a:t>y gastos generales.</a:t>
            </a:r>
          </a:p>
          <a:p>
            <a:pPr marL="285750" indent="-28575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La fabricación de productos, que incluye la conversión de materias primas en productos en curso y productos acabados.</a:t>
            </a:r>
          </a:p>
          <a:p>
            <a:pPr marL="285750" indent="-28575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Venta del producto terminado al contado o a crédito (cuentas por cobrar)</a:t>
            </a:r>
          </a:p>
          <a:p>
            <a:pPr marL="285750" indent="-28575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La duración del ciclo de explotación de una empresa es la suma del período de conversión de las existencias y del período de conversión de los deudores. (Ciclos operativos brutos)</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17" name="Freeform 34">
            <a:extLst>
              <a:ext uri="{FF2B5EF4-FFF2-40B4-BE49-F238E27FC236}">
                <a16:creationId xmlns:a16="http://schemas.microsoft.com/office/drawing/2014/main" xmlns="" id="{688E9AD6-F413-406F-8F6C-DE04405AD8E5}"/>
              </a:ext>
            </a:extLst>
          </p:cNvPr>
          <p:cNvSpPr/>
          <p:nvPr/>
        </p:nvSpPr>
        <p:spPr>
          <a:xfrm>
            <a:off x="7444075" y="2238222"/>
            <a:ext cx="2783922" cy="1588283"/>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18" name="Freeform 36">
            <a:extLst>
              <a:ext uri="{FF2B5EF4-FFF2-40B4-BE49-F238E27FC236}">
                <a16:creationId xmlns:a16="http://schemas.microsoft.com/office/drawing/2014/main" xmlns="" id="{561D7EE2-D46A-4A5E-B3DB-D326AF94BAFB}"/>
              </a:ext>
            </a:extLst>
          </p:cNvPr>
          <p:cNvSpPr/>
          <p:nvPr/>
        </p:nvSpPr>
        <p:spPr>
          <a:xfrm>
            <a:off x="9211687" y="2510673"/>
            <a:ext cx="1636358" cy="3054156"/>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19" name="Freeform 35">
            <a:extLst>
              <a:ext uri="{FF2B5EF4-FFF2-40B4-BE49-F238E27FC236}">
                <a16:creationId xmlns:a16="http://schemas.microsoft.com/office/drawing/2014/main" xmlns="" id="{CFDF103C-8F33-4927-8D1E-C63A7BDD4D32}"/>
              </a:ext>
            </a:extLst>
          </p:cNvPr>
          <p:cNvSpPr/>
          <p:nvPr/>
        </p:nvSpPr>
        <p:spPr>
          <a:xfrm>
            <a:off x="7205478" y="3312394"/>
            <a:ext cx="2684248" cy="229673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26" name="TextBox 44">
            <a:extLst>
              <a:ext uri="{FF2B5EF4-FFF2-40B4-BE49-F238E27FC236}">
                <a16:creationId xmlns:a16="http://schemas.microsoft.com/office/drawing/2014/main" xmlns="" id="{46C2998B-3164-4A16-A246-43DFC73A96DF}"/>
              </a:ext>
            </a:extLst>
          </p:cNvPr>
          <p:cNvSpPr txBox="1"/>
          <p:nvPr/>
        </p:nvSpPr>
        <p:spPr>
          <a:xfrm>
            <a:off x="6678637" y="2340682"/>
            <a:ext cx="1115049" cy="338554"/>
          </a:xfrm>
          <a:prstGeom prst="rect">
            <a:avLst/>
          </a:prstGeom>
          <a:noFill/>
        </p:spPr>
        <p:txBody>
          <a:bodyPr wrap="square" rtlCol="0" anchor="b" anchorCtr="0">
            <a:spAutoFit/>
          </a:bodyPr>
          <a:lstStyle/>
          <a:p>
            <a:pPr algn="r"/>
            <a:r>
              <a:rPr lang="en-GB" sz="1600" b="1">
                <a:solidFill>
                  <a:schemeClr val="tx2"/>
                </a:solidFill>
                <a:latin typeface="+mj-lt"/>
                <a:ea typeface="League Spartan" charset="0"/>
                <a:cs typeface="Poppins" pitchFamily="2" charset="77"/>
              </a:rPr>
              <a:t>Efectivo</a:t>
            </a:r>
            <a:endParaRPr lang="en-GB" sz="1600" b="1" dirty="0">
              <a:solidFill>
                <a:schemeClr val="tx2"/>
              </a:solidFill>
              <a:latin typeface="+mj-lt"/>
              <a:ea typeface="League Spartan" charset="0"/>
              <a:cs typeface="Poppins" pitchFamily="2" charset="77"/>
            </a:endParaRPr>
          </a:p>
        </p:txBody>
      </p:sp>
      <p:sp>
        <p:nvSpPr>
          <p:cNvPr id="28" name="TextBox 46">
            <a:extLst>
              <a:ext uri="{FF2B5EF4-FFF2-40B4-BE49-F238E27FC236}">
                <a16:creationId xmlns:a16="http://schemas.microsoft.com/office/drawing/2014/main" xmlns="" id="{A380563E-0AF1-4184-965D-5CBD3D87DE74}"/>
              </a:ext>
            </a:extLst>
          </p:cNvPr>
          <p:cNvSpPr txBox="1"/>
          <p:nvPr/>
        </p:nvSpPr>
        <p:spPr>
          <a:xfrm>
            <a:off x="6467194" y="4493199"/>
            <a:ext cx="1115049" cy="584775"/>
          </a:xfrm>
          <a:prstGeom prst="rect">
            <a:avLst/>
          </a:prstGeom>
          <a:noFill/>
        </p:spPr>
        <p:txBody>
          <a:bodyPr wrap="square" rtlCol="0" anchor="b" anchorCtr="0">
            <a:spAutoFit/>
          </a:bodyPr>
          <a:lstStyle/>
          <a:p>
            <a:pPr algn="r"/>
            <a:r>
              <a:rPr lang="en-GB" sz="1600" b="1">
                <a:solidFill>
                  <a:schemeClr val="tx2"/>
                </a:solidFill>
                <a:latin typeface="+mj-lt"/>
                <a:ea typeface="League Spartan" charset="0"/>
                <a:cs typeface="Poppins" pitchFamily="2" charset="77"/>
              </a:rPr>
              <a:t>Cuentas por cobrar</a:t>
            </a:r>
            <a:endParaRPr lang="en-GB" sz="1600" b="1" dirty="0">
              <a:solidFill>
                <a:schemeClr val="tx2"/>
              </a:solidFill>
              <a:latin typeface="+mj-lt"/>
              <a:ea typeface="League Spartan" charset="0"/>
              <a:cs typeface="Poppins" pitchFamily="2" charset="77"/>
            </a:endParaRPr>
          </a:p>
        </p:txBody>
      </p:sp>
      <p:sp>
        <p:nvSpPr>
          <p:cNvPr id="30" name="TextBox 48">
            <a:extLst>
              <a:ext uri="{FF2B5EF4-FFF2-40B4-BE49-F238E27FC236}">
                <a16:creationId xmlns:a16="http://schemas.microsoft.com/office/drawing/2014/main" xmlns="" id="{E86582D1-C360-40E0-B38C-FFE9CEAEE3E2}"/>
              </a:ext>
            </a:extLst>
          </p:cNvPr>
          <p:cNvSpPr txBox="1"/>
          <p:nvPr/>
        </p:nvSpPr>
        <p:spPr>
          <a:xfrm>
            <a:off x="10771334" y="3167136"/>
            <a:ext cx="1115049" cy="338554"/>
          </a:xfrm>
          <a:prstGeom prst="rect">
            <a:avLst/>
          </a:prstGeom>
          <a:noFill/>
        </p:spPr>
        <p:txBody>
          <a:bodyPr wrap="square" rtlCol="0" anchor="b" anchorCtr="0">
            <a:spAutoFit/>
          </a:bodyPr>
          <a:lstStyle/>
          <a:p>
            <a:r>
              <a:rPr lang="en-GB" sz="1600" b="1">
                <a:solidFill>
                  <a:schemeClr val="tx2"/>
                </a:solidFill>
                <a:latin typeface="+mj-lt"/>
                <a:ea typeface="League Spartan" charset="0"/>
                <a:cs typeface="Poppins" pitchFamily="2" charset="77"/>
              </a:rPr>
              <a:t>Inventario</a:t>
            </a:r>
            <a:endParaRPr lang="en-GB" sz="1600" b="1" dirty="0">
              <a:solidFill>
                <a:schemeClr val="tx2"/>
              </a:solidFill>
              <a:latin typeface="+mj-lt"/>
              <a:ea typeface="League Spartan" charset="0"/>
              <a:cs typeface="Poppins" pitchFamily="2" charset="77"/>
            </a:endParaRPr>
          </a:p>
        </p:txBody>
      </p:sp>
      <p:sp>
        <p:nvSpPr>
          <p:cNvPr id="32" name="TextBox 46">
            <a:extLst>
              <a:ext uri="{FF2B5EF4-FFF2-40B4-BE49-F238E27FC236}">
                <a16:creationId xmlns:a16="http://schemas.microsoft.com/office/drawing/2014/main" xmlns="" id="{48DB6A5B-4FD1-44E6-8E89-DF050B6B456D}"/>
              </a:ext>
            </a:extLst>
          </p:cNvPr>
          <p:cNvSpPr txBox="1"/>
          <p:nvPr/>
        </p:nvSpPr>
        <p:spPr>
          <a:xfrm>
            <a:off x="8515624" y="3606879"/>
            <a:ext cx="1115049" cy="584775"/>
          </a:xfrm>
          <a:prstGeom prst="rect">
            <a:avLst/>
          </a:prstGeom>
          <a:noFill/>
        </p:spPr>
        <p:txBody>
          <a:bodyPr wrap="square" rtlCol="0" anchor="b" anchorCtr="0">
            <a:spAutoFit/>
          </a:bodyPr>
          <a:lstStyle/>
          <a:p>
            <a:pPr algn="ctr"/>
            <a:r>
              <a:rPr lang="en-GB" sz="1600" b="1">
                <a:solidFill>
                  <a:schemeClr val="tx2"/>
                </a:solidFill>
                <a:latin typeface="+mj-lt"/>
                <a:ea typeface="League Spartan" charset="0"/>
                <a:cs typeface="Poppins" pitchFamily="2" charset="77"/>
              </a:rPr>
              <a:t>Funcionamiento</a:t>
            </a:r>
          </a:p>
          <a:p>
            <a:pPr algn="ctr"/>
            <a:r>
              <a:rPr lang="en-GB" sz="1600" b="1">
                <a:solidFill>
                  <a:schemeClr val="tx2"/>
                </a:solidFill>
                <a:latin typeface="+mj-lt"/>
                <a:ea typeface="League Spartan" charset="0"/>
                <a:cs typeface="Poppins" pitchFamily="2" charset="77"/>
              </a:rPr>
              <a:t>Ciclo</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191737991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1296" y="591884"/>
            <a:ext cx="9268475" cy="975659"/>
          </a:xfrm>
        </p:spPr>
        <p:txBody>
          <a:bodyPr>
            <a:normAutofit/>
          </a:bodyPr>
          <a:lstStyle/>
          <a:p>
            <a:r>
              <a:rPr lang="en-GB" sz="2800" dirty="0"/>
              <a:t>Gestión del capital circulante - Periodo de conversión de las existencia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810071" cy="422197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l periodo de conversión del inventario es el tiempo total necesario para la producción y las ventas. Incluye el periodo de conversión de la materia prima, el periodo de conversión del trabajo en curso y el periodo de conversión de los productos acabados.</a:t>
            </a:r>
            <a:endParaRPr lang="en-US" dirty="0">
              <a:solidFill>
                <a:srgbClr val="245473"/>
              </a:solidFill>
              <a:latin typeface="+mj-lt"/>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mc:AlternateContent xmlns:mc="http://schemas.openxmlformats.org/markup-compatibility/2006" xmlns:a14="http://schemas.microsoft.com/office/drawing/2010/main">
        <mc:Choice Requires="a14">
          <p:sp>
            <p:nvSpPr>
              <p:cNvPr id="4" name="Textfeld 3">
                <a:extLst>
                  <a:ext uri="{FF2B5EF4-FFF2-40B4-BE49-F238E27FC236}">
                    <a16:creationId xmlns:a16="http://schemas.microsoft.com/office/drawing/2014/main" xmlns="" id="{015F034D-E5CC-4B6A-A14A-6742BFAF38C4}"/>
                  </a:ext>
                </a:extLst>
              </p:cNvPr>
              <p:cNvSpPr txBox="1"/>
              <p:nvPr/>
            </p:nvSpPr>
            <p:spPr>
              <a:xfrm>
                <a:off x="3973285" y="2142491"/>
                <a:ext cx="7595785" cy="572657"/>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𝑅𝑎𝑤</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𝑀𝑎𝑡𝑒𝑟𝑖𝑎𝑙</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𝑣𝑒𝑟𝑠𝑖𝑜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𝑅𝑎𝑤</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𝑀𝑎𝑡𝑒𝑟𝑖𝑎𝑙</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𝐼𝑛𝑣𝑒𝑛𝑡𝑜𝑟𝑦</m:t>
                          </m:r>
                        </m:num>
                        <m:den>
                          <m:r>
                            <a:rPr lang="en-GB" b="0" i="1" smtClean="0">
                              <a:solidFill>
                                <a:srgbClr val="245473"/>
                              </a:solidFill>
                              <a:latin typeface="Cambria Math" panose="02040503050406030204" pitchFamily="18" charset="0"/>
                            </a:rPr>
                            <m:t>𝑅𝑎𝑤</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𝑀𝑎𝑡𝑒𝑟𝑖𝑎𝑙</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𝑠𝑢𝑝𝑡𝑖𝑜𝑛</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4" name="Textfeld 3">
                <a:extLst>
                  <a:ext uri="{FF2B5EF4-FFF2-40B4-BE49-F238E27FC236}">
                    <a16:creationId xmlns:a16="http://schemas.microsoft.com/office/drawing/2014/main" id="{015F034D-E5CC-4B6A-A14A-6742BFAF38C4}"/>
                  </a:ext>
                </a:extLst>
              </p:cNvPr>
              <p:cNvSpPr txBox="1">
                <a:spLocks noRot="1" noChangeAspect="1" noMove="1" noResize="1" noEditPoints="1" noAdjustHandles="1" noChangeArrowheads="1" noChangeShapeType="1" noTextEdit="1"/>
              </p:cNvSpPr>
              <p:nvPr/>
            </p:nvSpPr>
            <p:spPr>
              <a:xfrm>
                <a:off x="3973285" y="2142491"/>
                <a:ext cx="7595785" cy="572657"/>
              </a:xfrm>
              <a:prstGeom prst="rect">
                <a:avLst/>
              </a:prstGeom>
              <a:blipFill>
                <a:blip r:embed="rId7"/>
                <a:stretch>
                  <a:fillRect/>
                </a:stretch>
              </a:blipFill>
            </p:spPr>
            <p:txBody>
              <a:bodyPr/>
              <a:lstStyle/>
              <a:p>
                <a:r>
                  <a:rPr lang="en-IE">
                    <a:noFill/>
                  </a:rPr>
                  <a:t> </a:t>
                </a:r>
              </a:p>
            </p:txBody>
          </p:sp>
        </mc:Fallback>
      </mc:AlternateContent>
      <mc:AlternateContent xmlns:mc="http://schemas.openxmlformats.org/markup-compatibility/2006" xmlns:a14="http://schemas.microsoft.com/office/drawing/2010/main">
        <mc:Choice Requires="a14">
          <p:sp>
            <p:nvSpPr>
              <p:cNvPr id="13" name="Textfeld 12">
                <a:extLst>
                  <a:ext uri="{FF2B5EF4-FFF2-40B4-BE49-F238E27FC236}">
                    <a16:creationId xmlns:a16="http://schemas.microsoft.com/office/drawing/2014/main" xmlns="" id="{395C971B-5CB3-49E9-B427-ED6C0B7A50F1}"/>
                  </a:ext>
                </a:extLst>
              </p:cNvPr>
              <p:cNvSpPr txBox="1"/>
              <p:nvPr/>
            </p:nvSpPr>
            <p:spPr>
              <a:xfrm>
                <a:off x="3892289" y="3142671"/>
                <a:ext cx="7456913" cy="57458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𝑊𝑜𝑟𝑘</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𝑖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𝑟𝑜𝑔𝑟𝑎𝑠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𝑣𝑒𝑟𝑠𝑖𝑜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𝑊𝑜𝑟𝑘</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𝑖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𝑟𝑜𝑔𝑟𝑒𝑠𝑠</m:t>
                          </m:r>
                        </m:num>
                        <m:den>
                          <m:r>
                            <a:rPr lang="en-GB" b="0" i="1" smtClean="0">
                              <a:solidFill>
                                <a:srgbClr val="245473"/>
                              </a:solidFill>
                              <a:latin typeface="Cambria Math" panose="02040503050406030204" pitchFamily="18" charset="0"/>
                            </a:rPr>
                            <m:t>𝐶𝑜𝑠𝑡</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𝑜𝑓</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𝑟𝑜𝑑𝑢𝑐𝑡𝑖𝑜𝑛</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13" name="Textfeld 12">
                <a:extLst>
                  <a:ext uri="{FF2B5EF4-FFF2-40B4-BE49-F238E27FC236}">
                    <a16:creationId xmlns:a16="http://schemas.microsoft.com/office/drawing/2014/main" id="{395C971B-5CB3-49E9-B427-ED6C0B7A50F1}"/>
                  </a:ext>
                </a:extLst>
              </p:cNvPr>
              <p:cNvSpPr txBox="1">
                <a:spLocks noRot="1" noChangeAspect="1" noMove="1" noResize="1" noEditPoints="1" noAdjustHandles="1" noChangeArrowheads="1" noChangeShapeType="1" noTextEdit="1"/>
              </p:cNvSpPr>
              <p:nvPr/>
            </p:nvSpPr>
            <p:spPr>
              <a:xfrm>
                <a:off x="3892289" y="3142671"/>
                <a:ext cx="7456913" cy="574581"/>
              </a:xfrm>
              <a:prstGeom prst="rect">
                <a:avLst/>
              </a:prstGeom>
              <a:blipFill>
                <a:blip r:embed="rId8"/>
                <a:stretch>
                  <a:fillRect/>
                </a:stretch>
              </a:blipFill>
            </p:spPr>
            <p:txBody>
              <a:bodyPr/>
              <a:lstStyle/>
              <a:p>
                <a:r>
                  <a:rPr lang="en-IE">
                    <a:noFill/>
                  </a:rPr>
                  <a:t> </a:t>
                </a:r>
              </a:p>
            </p:txBody>
          </p:sp>
        </mc:Fallback>
      </mc:AlternateContent>
      <mc:AlternateContent xmlns:mc="http://schemas.openxmlformats.org/markup-compatibility/2006" xmlns:a14="http://schemas.microsoft.com/office/drawing/2010/main">
        <mc:Choice Requires="a14">
          <p:sp>
            <p:nvSpPr>
              <p:cNvPr id="14" name="Textfeld 13">
                <a:extLst>
                  <a:ext uri="{FF2B5EF4-FFF2-40B4-BE49-F238E27FC236}">
                    <a16:creationId xmlns:a16="http://schemas.microsoft.com/office/drawing/2014/main" xmlns="" id="{897E6434-CC52-48E7-9A19-F287356DA4CC}"/>
                  </a:ext>
                </a:extLst>
              </p:cNvPr>
              <p:cNvSpPr txBox="1"/>
              <p:nvPr/>
            </p:nvSpPr>
            <p:spPr>
              <a:xfrm>
                <a:off x="3892288" y="4142853"/>
                <a:ext cx="7890814" cy="57458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𝐹𝑖𝑛𝑖𝑠h𝑒𝑑</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𝐺𝑜𝑜𝑑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𝑣𝑒𝑟𝑠𝑖𝑜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𝐹𝑖𝑛𝑖𝑠h𝑒𝑑</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𝐺𝑜𝑜𝑑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𝐼𝑛𝑣𝑒𝑛𝑡𝑜𝑟𝑦</m:t>
                          </m:r>
                        </m:num>
                        <m:den>
                          <m:r>
                            <a:rPr lang="en-GB" b="0" i="1" smtClean="0">
                              <a:solidFill>
                                <a:srgbClr val="245473"/>
                              </a:solidFill>
                              <a:latin typeface="Cambria Math" panose="02040503050406030204" pitchFamily="18" charset="0"/>
                            </a:rPr>
                            <m:t>𝐶𝑜𝑠𝑡</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𝑜𝑓</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𝐺𝑜𝑜𝑑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𝑆𝑜𝑙𝑑</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14" name="Textfeld 13">
                <a:extLst>
                  <a:ext uri="{FF2B5EF4-FFF2-40B4-BE49-F238E27FC236}">
                    <a16:creationId xmlns:a16="http://schemas.microsoft.com/office/drawing/2014/main" id="{897E6434-CC52-48E7-9A19-F287356DA4CC}"/>
                  </a:ext>
                </a:extLst>
              </p:cNvPr>
              <p:cNvSpPr txBox="1">
                <a:spLocks noRot="1" noChangeAspect="1" noMove="1" noResize="1" noEditPoints="1" noAdjustHandles="1" noChangeArrowheads="1" noChangeShapeType="1" noTextEdit="1"/>
              </p:cNvSpPr>
              <p:nvPr/>
            </p:nvSpPr>
            <p:spPr>
              <a:xfrm>
                <a:off x="3892288" y="4142853"/>
                <a:ext cx="7890814" cy="574581"/>
              </a:xfrm>
              <a:prstGeom prst="rect">
                <a:avLst/>
              </a:prstGeom>
              <a:blipFill>
                <a:blip r:embed="rId9"/>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84225225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75724" y="608893"/>
            <a:ext cx="9703905" cy="947764"/>
          </a:xfrm>
        </p:spPr>
        <p:txBody>
          <a:bodyPr>
            <a:normAutofit fontScale="92500" lnSpcReduction="10000"/>
          </a:bodyPr>
          <a:lstStyle/>
          <a:p>
            <a:r>
              <a:rPr lang="en-GB" dirty="0"/>
              <a:t>Gestión del capital circulante - Período de conversión de los deudor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58392" y="1798107"/>
            <a:ext cx="3733897"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El periodo de conversión de los deudores es el tiempo necesario para cobrar las deudas pendientes de los clientes. Sin embargo, una empresa puede adquirir bienes o servicios a crédito, posicionando así el pago.</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l periodo durante el cual se aplaza el pago se conoce como periodo de aplazamiento del pago. Es el tiempo que la empresa puede aplazar los pagos de diversas compras. La diferencia entre el ciclo de explotación (bruto) y el periodo de aplazamiento de los pagos se denomina ciclo de explotación neto o ciclo de conversión de la tesorería. </a:t>
            </a:r>
          </a:p>
        </p:txBody>
      </p:sp>
      <mc:AlternateContent xmlns:mc="http://schemas.openxmlformats.org/markup-compatibility/2006" xmlns:a14="http://schemas.microsoft.com/office/drawing/2010/main">
        <mc:Choice Requires="a14">
          <p:sp>
            <p:nvSpPr>
              <p:cNvPr id="4" name="Textfeld 3">
                <a:extLst>
                  <a:ext uri="{FF2B5EF4-FFF2-40B4-BE49-F238E27FC236}">
                    <a16:creationId xmlns:a16="http://schemas.microsoft.com/office/drawing/2014/main" xmlns="" id="{015F034D-E5CC-4B6A-A14A-6742BFAF38C4}"/>
                  </a:ext>
                </a:extLst>
              </p:cNvPr>
              <p:cNvSpPr txBox="1"/>
              <p:nvPr/>
            </p:nvSpPr>
            <p:spPr>
              <a:xfrm>
                <a:off x="4082294" y="2831260"/>
                <a:ext cx="7627152" cy="52764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𝐷𝑒𝑏𝑡𝑜𝑟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𝐶𝑜𝑛𝑣𝑒𝑟𝑠𝑖𝑜𝑛</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𝐷𝑒𝑏𝑡𝑜𝑟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𝐴𝑐𝑐𝑜𝑢𝑛𝑡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𝑅𝑒𝑐𝑒𝑖𝑣𝑎𝑏𝑙𝑒</m:t>
                          </m:r>
                          <m:r>
                            <a:rPr lang="en-GB" b="0" i="1" smtClean="0">
                              <a:solidFill>
                                <a:srgbClr val="245473"/>
                              </a:solidFill>
                              <a:latin typeface="Cambria Math" panose="02040503050406030204" pitchFamily="18" charset="0"/>
                            </a:rPr>
                            <m:t>)</m:t>
                          </m:r>
                        </m:num>
                        <m:den>
                          <m:r>
                            <a:rPr lang="en-GB" b="0" i="1" smtClean="0">
                              <a:solidFill>
                                <a:srgbClr val="245473"/>
                              </a:solidFill>
                              <a:latin typeface="Cambria Math" panose="02040503050406030204" pitchFamily="18" charset="0"/>
                            </a:rPr>
                            <m:t>𝐶𝑟𝑒𝑑𝑖𝑡</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𝑆𝑎𝑙𝑒𝑠</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4" name="Textfeld 3">
                <a:extLst>
                  <a:ext uri="{FF2B5EF4-FFF2-40B4-BE49-F238E27FC236}">
                    <a16:creationId xmlns:a16="http://schemas.microsoft.com/office/drawing/2014/main" id="{015F034D-E5CC-4B6A-A14A-6742BFAF38C4}"/>
                  </a:ext>
                </a:extLst>
              </p:cNvPr>
              <p:cNvSpPr txBox="1">
                <a:spLocks noRot="1" noChangeAspect="1" noMove="1" noResize="1" noEditPoints="1" noAdjustHandles="1" noChangeArrowheads="1" noChangeShapeType="1" noTextEdit="1"/>
              </p:cNvSpPr>
              <p:nvPr/>
            </p:nvSpPr>
            <p:spPr>
              <a:xfrm>
                <a:off x="4082294" y="2831260"/>
                <a:ext cx="7627152" cy="527645"/>
              </a:xfrm>
              <a:prstGeom prst="rect">
                <a:avLst/>
              </a:prstGeom>
              <a:blipFill>
                <a:blip r:embed="rId7"/>
                <a:stretch>
                  <a:fillRect/>
                </a:stretch>
              </a:blipFill>
            </p:spPr>
            <p:txBody>
              <a:bodyPr/>
              <a:lstStyle/>
              <a:p>
                <a:r>
                  <a:rPr lang="en-IE">
                    <a:noFill/>
                  </a:rPr>
                  <a:t> </a:t>
                </a:r>
              </a:p>
            </p:txBody>
          </p:sp>
        </mc:Fallback>
      </mc:AlternateContent>
      <mc:AlternateContent xmlns:mc="http://schemas.openxmlformats.org/markup-compatibility/2006" xmlns:a14="http://schemas.microsoft.com/office/drawing/2010/main">
        <mc:Choice Requires="a14">
          <p:sp>
            <p:nvSpPr>
              <p:cNvPr id="13" name="Textfeld 12">
                <a:extLst>
                  <a:ext uri="{FF2B5EF4-FFF2-40B4-BE49-F238E27FC236}">
                    <a16:creationId xmlns:a16="http://schemas.microsoft.com/office/drawing/2014/main" xmlns="" id="{395C971B-5CB3-49E9-B427-ED6C0B7A50F1}"/>
                  </a:ext>
                </a:extLst>
              </p:cNvPr>
              <p:cNvSpPr txBox="1"/>
              <p:nvPr/>
            </p:nvSpPr>
            <p:spPr>
              <a:xfrm>
                <a:off x="4082294" y="3831440"/>
                <a:ext cx="7390035" cy="52758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b="0" i="1" smtClean="0">
                          <a:solidFill>
                            <a:srgbClr val="245473"/>
                          </a:solidFill>
                          <a:latin typeface="Cambria Math" panose="02040503050406030204" pitchFamily="18" charset="0"/>
                        </a:rPr>
                        <m:t>𝑃𝑎𝑦𝑎𝑏𝑙𝑒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𝐷𝑒𝑓𝑒𝑟𝑟𝑎𝑙</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𝑒𝑟𝑖𝑜𝑑</m:t>
                      </m:r>
                      <m:r>
                        <a:rPr lang="en-GB" b="0" i="1"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𝐶𝑟𝑒𝑑𝑖𝑡𝑜𝑟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𝐴𝑐𝑐𝑜𝑢𝑛𝑡𝑠</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𝑎𝑦𝑎𝑏𝑙𝑒</m:t>
                          </m:r>
                          <m:r>
                            <a:rPr lang="en-GB" b="0" i="1" smtClean="0">
                              <a:solidFill>
                                <a:srgbClr val="245473"/>
                              </a:solidFill>
                              <a:latin typeface="Cambria Math" panose="02040503050406030204" pitchFamily="18" charset="0"/>
                            </a:rPr>
                            <m:t>)</m:t>
                          </m:r>
                        </m:num>
                        <m:den>
                          <m:r>
                            <a:rPr lang="en-GB" b="0" i="1" smtClean="0">
                              <a:solidFill>
                                <a:srgbClr val="245473"/>
                              </a:solidFill>
                              <a:latin typeface="Cambria Math" panose="02040503050406030204" pitchFamily="18" charset="0"/>
                            </a:rPr>
                            <m:t>𝐶𝑟𝑒𝑑𝑖𝑡</m:t>
                          </m:r>
                          <m:r>
                            <a:rPr lang="en-GB" b="0" i="1" smtClean="0">
                              <a:solidFill>
                                <a:srgbClr val="245473"/>
                              </a:solidFill>
                              <a:latin typeface="Cambria Math" panose="02040503050406030204" pitchFamily="18" charset="0"/>
                            </a:rPr>
                            <m:t> </m:t>
                          </m:r>
                          <m:r>
                            <a:rPr lang="en-GB" b="0" i="1" smtClean="0">
                              <a:solidFill>
                                <a:srgbClr val="245473"/>
                              </a:solidFill>
                              <a:latin typeface="Cambria Math" panose="02040503050406030204" pitchFamily="18" charset="0"/>
                            </a:rPr>
                            <m:t>𝑃𝑢𝑟𝑐h𝑎𝑠𝑒𝑠</m:t>
                          </m:r>
                        </m:den>
                      </m:f>
                      <m:r>
                        <a:rPr lang="en-GB" b="0" i="0" smtClean="0">
                          <a:solidFill>
                            <a:srgbClr val="245473"/>
                          </a:solidFill>
                          <a:latin typeface="Cambria Math" panose="02040503050406030204" pitchFamily="18" charset="0"/>
                        </a:rPr>
                        <m:t>∗ </m:t>
                      </m:r>
                      <m:f>
                        <m:fPr>
                          <m:ctrlPr>
                            <a:rPr lang="en-GB" b="0" i="1" smtClean="0">
                              <a:solidFill>
                                <a:srgbClr val="245473"/>
                              </a:solidFill>
                              <a:latin typeface="Cambria Math"/>
                            </a:rPr>
                          </m:ctrlPr>
                        </m:fPr>
                        <m:num>
                          <m:r>
                            <a:rPr lang="en-GB" b="0" i="1" smtClean="0">
                              <a:solidFill>
                                <a:srgbClr val="245473"/>
                              </a:solidFill>
                              <a:latin typeface="Cambria Math" panose="02040503050406030204" pitchFamily="18" charset="0"/>
                            </a:rPr>
                            <m:t>365</m:t>
                          </m:r>
                        </m:num>
                        <m:den>
                          <m:r>
                            <a:rPr lang="en-GB" b="0" i="1" smtClean="0">
                              <a:solidFill>
                                <a:srgbClr val="245473"/>
                              </a:solidFill>
                              <a:latin typeface="Cambria Math" panose="02040503050406030204" pitchFamily="18" charset="0"/>
                            </a:rPr>
                            <m:t>1</m:t>
                          </m:r>
                        </m:den>
                      </m:f>
                      <m:r>
                        <a:rPr lang="en-GB" b="0" i="1" smtClean="0">
                          <a:solidFill>
                            <a:srgbClr val="245473"/>
                          </a:solidFill>
                          <a:latin typeface="Cambria Math" panose="02040503050406030204" pitchFamily="18" charset="0"/>
                        </a:rPr>
                        <m:t>𝑑𝑎𝑦𝑠</m:t>
                      </m:r>
                    </m:oMath>
                  </m:oMathPara>
                </a14:m>
                <a:endParaRPr lang="en-GB" dirty="0">
                  <a:solidFill>
                    <a:srgbClr val="245473"/>
                  </a:solidFill>
                </a:endParaRPr>
              </a:p>
            </p:txBody>
          </p:sp>
        </mc:Choice>
        <mc:Fallback xmlns="">
          <p:sp>
            <p:nvSpPr>
              <p:cNvPr id="13" name="Textfeld 12">
                <a:extLst>
                  <a:ext uri="{FF2B5EF4-FFF2-40B4-BE49-F238E27FC236}">
                    <a16:creationId xmlns:a16="http://schemas.microsoft.com/office/drawing/2014/main" id="{395C971B-5CB3-49E9-B427-ED6C0B7A50F1}"/>
                  </a:ext>
                </a:extLst>
              </p:cNvPr>
              <p:cNvSpPr txBox="1">
                <a:spLocks noRot="1" noChangeAspect="1" noMove="1" noResize="1" noEditPoints="1" noAdjustHandles="1" noChangeArrowheads="1" noChangeShapeType="1" noTextEdit="1"/>
              </p:cNvSpPr>
              <p:nvPr/>
            </p:nvSpPr>
            <p:spPr>
              <a:xfrm>
                <a:off x="4082294" y="3831440"/>
                <a:ext cx="7390035" cy="527580"/>
              </a:xfrm>
              <a:prstGeom prst="rect">
                <a:avLst/>
              </a:prstGeom>
              <a:blipFill>
                <a:blip r:embed="rId8"/>
                <a:stretch>
                  <a:fillRect/>
                </a:stretch>
              </a:blipFill>
            </p:spPr>
            <p:txBody>
              <a:bodyPr/>
              <a:lstStyle/>
              <a:p>
                <a:r>
                  <a:rPr lang="en-IE">
                    <a:noFill/>
                  </a:rPr>
                  <a:t> </a:t>
                </a:r>
              </a:p>
            </p:txBody>
          </p:sp>
        </mc:Fallback>
      </mc:AlternateContent>
    </p:spTree>
    <p:extLst>
      <p:ext uri="{BB962C8B-B14F-4D97-AF65-F5344CB8AC3E}">
        <p14:creationId xmlns:p14="http://schemas.microsoft.com/office/powerpoint/2010/main" val="11057056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97819" y="619983"/>
            <a:ext cx="8852375" cy="697353"/>
          </a:xfrm>
        </p:spPr>
        <p:txBody>
          <a:bodyPr>
            <a:normAutofit fontScale="92500"/>
          </a:bodyPr>
          <a:lstStyle/>
          <a:p>
            <a:r>
              <a:rPr lang="en-GB" dirty="0"/>
              <a:t>Medidas financieras ejemplares: Venta y arrendamiento posterior</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13225" y="1798107"/>
            <a:ext cx="4046068"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600" dirty="0">
                <a:solidFill>
                  <a:srgbClr val="245473"/>
                </a:solidFill>
                <a:latin typeface="+mj-lt"/>
              </a:rPr>
              <a:t>Lease-back, sale-lease-back y sale-and-rent-back son términos sinónimos para una forma especial de leasing en la que una organización vende un activo (propiedad, maquinaria o vehículo, pero también activos intangibles como marcas o patentes) a una empresa de leasing y simultáneamente los arrienda para su uso posterior.</a:t>
            </a:r>
          </a:p>
          <a:p>
            <a:pPr marL="285750" indent="-285750" algn="l">
              <a:lnSpc>
                <a:spcPct val="100000"/>
              </a:lnSpc>
              <a:spcBef>
                <a:spcPts val="600"/>
              </a:spcBef>
              <a:buFont typeface="Wingdings" panose="05000000000000000000" pitchFamily="2" charset="2"/>
              <a:buChar char="à"/>
            </a:pPr>
            <a:r>
              <a:rPr lang="en-GB" sz="1600" dirty="0">
                <a:solidFill>
                  <a:srgbClr val="245473"/>
                </a:solidFill>
                <a:latin typeface="+mj-lt"/>
                <a:sym typeface="Wingdings" panose="05000000000000000000" pitchFamily="2" charset="2"/>
              </a:rPr>
              <a:t>Efecto puntual de liquidez / realización de reservas ocultas</a:t>
            </a:r>
          </a:p>
          <a:p>
            <a:pPr marL="285750" indent="-285750" algn="l">
              <a:lnSpc>
                <a:spcPct val="100000"/>
              </a:lnSpc>
              <a:spcBef>
                <a:spcPts val="600"/>
              </a:spcBef>
              <a:buFont typeface="Wingdings" panose="05000000000000000000" pitchFamily="2" charset="2"/>
              <a:buChar char="à"/>
            </a:pPr>
            <a:r>
              <a:rPr lang="en-GB" sz="1600" dirty="0">
                <a:solidFill>
                  <a:srgbClr val="245473"/>
                </a:solidFill>
                <a:latin typeface="+mj-lt"/>
                <a:sym typeface="Wingdings" panose="05000000000000000000" pitchFamily="2" charset="2"/>
              </a:rPr>
              <a:t>Carga de liquidez a largo plazo por los pagos de arrendamiento</a:t>
            </a:r>
          </a:p>
          <a:p>
            <a:pPr marL="285750" indent="-285750" algn="l">
              <a:lnSpc>
                <a:spcPct val="100000"/>
              </a:lnSpc>
              <a:spcBef>
                <a:spcPts val="600"/>
              </a:spcBef>
              <a:buFont typeface="Wingdings" panose="05000000000000000000" pitchFamily="2" charset="2"/>
              <a:buChar char="à"/>
            </a:pPr>
            <a:r>
              <a:rPr lang="en-GB" sz="1600" dirty="0">
                <a:solidFill>
                  <a:srgbClr val="245473"/>
                </a:solidFill>
                <a:latin typeface="+mj-lt"/>
                <a:sym typeface="Wingdings" panose="05000000000000000000" pitchFamily="2" charset="2"/>
              </a:rPr>
              <a:t>Mucho más difícil con los bienes usados que con la adquisición de bienes nuevos (leasing del fabricante)</a:t>
            </a:r>
          </a:p>
          <a:p>
            <a:pPr marL="285750" indent="-285750" algn="l">
              <a:lnSpc>
                <a:spcPct val="100000"/>
              </a:lnSpc>
              <a:spcBef>
                <a:spcPts val="600"/>
              </a:spcBef>
              <a:buFont typeface="Wingdings" panose="05000000000000000000" pitchFamily="2" charset="2"/>
              <a:buChar char="à"/>
            </a:pPr>
            <a:r>
              <a:rPr lang="en-GB" sz="1600" dirty="0">
                <a:solidFill>
                  <a:srgbClr val="245473"/>
                </a:solidFill>
                <a:latin typeface="+mj-lt"/>
                <a:sym typeface="Wingdings" panose="05000000000000000000" pitchFamily="2" charset="2"/>
              </a:rPr>
              <a:t>Consideración del valor del objeto en lugar de la valoración de la empresa (al menos en el punto de partida "solvencia del objeto")</a:t>
            </a:r>
          </a:p>
        </p:txBody>
      </p:sp>
      <p:grpSp>
        <p:nvGrpSpPr>
          <p:cNvPr id="4" name="Gruppieren 3">
            <a:extLst>
              <a:ext uri="{FF2B5EF4-FFF2-40B4-BE49-F238E27FC236}">
                <a16:creationId xmlns:a16="http://schemas.microsoft.com/office/drawing/2014/main" xmlns="" id="{B7113CFC-50D6-4771-8929-B4768E5FF974}"/>
              </a:ext>
            </a:extLst>
          </p:cNvPr>
          <p:cNvGrpSpPr/>
          <p:nvPr/>
        </p:nvGrpSpPr>
        <p:grpSpPr>
          <a:xfrm rot="16200000">
            <a:off x="5752155" y="3537890"/>
            <a:ext cx="966322" cy="860359"/>
            <a:chOff x="2290684" y="1670769"/>
            <a:chExt cx="1808891" cy="1606818"/>
          </a:xfrm>
        </p:grpSpPr>
        <p:sp>
          <p:nvSpPr>
            <p:cNvPr id="36" name="Rounded Rectangle 60">
              <a:extLst>
                <a:ext uri="{FF2B5EF4-FFF2-40B4-BE49-F238E27FC236}">
                  <a16:creationId xmlns:a16="http://schemas.microsoft.com/office/drawing/2014/main" xmlns="" id="{A42F091A-733A-44EE-A253-C9D37022F2D1}"/>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7" name="Rounded Rectangle 63">
              <a:extLst>
                <a:ext uri="{FF2B5EF4-FFF2-40B4-BE49-F238E27FC236}">
                  <a16:creationId xmlns:a16="http://schemas.microsoft.com/office/drawing/2014/main" xmlns="" id="{240C0B9A-23D5-4EAF-907B-0F07ABAEB8B2}"/>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8" name="Rounded Rectangle 62">
              <a:extLst>
                <a:ext uri="{FF2B5EF4-FFF2-40B4-BE49-F238E27FC236}">
                  <a16:creationId xmlns:a16="http://schemas.microsoft.com/office/drawing/2014/main" xmlns="" id="{3B6275D4-A8D3-437E-96C5-69CD38D59340}"/>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grpSp>
      <p:grpSp>
        <p:nvGrpSpPr>
          <p:cNvPr id="48" name="Gruppieren 47">
            <a:extLst>
              <a:ext uri="{FF2B5EF4-FFF2-40B4-BE49-F238E27FC236}">
                <a16:creationId xmlns:a16="http://schemas.microsoft.com/office/drawing/2014/main" xmlns="" id="{47EC9967-B83B-42C3-82FA-4159B4C4D903}"/>
              </a:ext>
            </a:extLst>
          </p:cNvPr>
          <p:cNvGrpSpPr/>
          <p:nvPr/>
        </p:nvGrpSpPr>
        <p:grpSpPr>
          <a:xfrm rot="5400000">
            <a:off x="5170557" y="3537891"/>
            <a:ext cx="966322" cy="860359"/>
            <a:chOff x="2290684" y="3390989"/>
            <a:chExt cx="1808891" cy="1606818"/>
          </a:xfrm>
        </p:grpSpPr>
        <p:sp>
          <p:nvSpPr>
            <p:cNvPr id="39" name="Rounded Rectangle 70">
              <a:extLst>
                <a:ext uri="{FF2B5EF4-FFF2-40B4-BE49-F238E27FC236}">
                  <a16:creationId xmlns:a16="http://schemas.microsoft.com/office/drawing/2014/main" xmlns="" id="{AB451E66-22AE-46B0-AA03-6F1057D6934B}"/>
                </a:ext>
              </a:extLst>
            </p:cNvPr>
            <p:cNvSpPr/>
            <p:nvPr/>
          </p:nvSpPr>
          <p:spPr>
            <a:xfrm>
              <a:off x="2290684" y="3967677"/>
              <a:ext cx="1808891"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0" name="Rounded Rectangle 71">
              <a:extLst>
                <a:ext uri="{FF2B5EF4-FFF2-40B4-BE49-F238E27FC236}">
                  <a16:creationId xmlns:a16="http://schemas.microsoft.com/office/drawing/2014/main" xmlns="" id="{B485BA47-4328-41A5-974F-98AD4285FF3D}"/>
                </a:ext>
              </a:extLst>
            </p:cNvPr>
            <p:cNvSpPr/>
            <p:nvPr/>
          </p:nvSpPr>
          <p:spPr>
            <a:xfrm rot="18893649">
              <a:off x="3082077" y="4207067"/>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1" name="Rounded Rectangle 72">
              <a:extLst>
                <a:ext uri="{FF2B5EF4-FFF2-40B4-BE49-F238E27FC236}">
                  <a16:creationId xmlns:a16="http://schemas.microsoft.com/office/drawing/2014/main" xmlns="" id="{FC85B1C7-8099-486E-8053-DE7F341709C2}"/>
                </a:ext>
              </a:extLst>
            </p:cNvPr>
            <p:cNvSpPr/>
            <p:nvPr/>
          </p:nvSpPr>
          <p:spPr>
            <a:xfrm rot="2717866">
              <a:off x="3082874" y="3724731"/>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grpSp>
      <p:grpSp>
        <p:nvGrpSpPr>
          <p:cNvPr id="13" name="Gruppieren 12">
            <a:extLst>
              <a:ext uri="{FF2B5EF4-FFF2-40B4-BE49-F238E27FC236}">
                <a16:creationId xmlns:a16="http://schemas.microsoft.com/office/drawing/2014/main" xmlns="" id="{9544CCB5-5F3F-48C0-9C60-FC8398C0F81E}"/>
              </a:ext>
            </a:extLst>
          </p:cNvPr>
          <p:cNvGrpSpPr/>
          <p:nvPr/>
        </p:nvGrpSpPr>
        <p:grpSpPr>
          <a:xfrm rot="16200000">
            <a:off x="9258414" y="3532890"/>
            <a:ext cx="966322" cy="860358"/>
            <a:chOff x="3772626" y="2531562"/>
            <a:chExt cx="1808891" cy="1606817"/>
          </a:xfrm>
        </p:grpSpPr>
        <p:sp>
          <p:nvSpPr>
            <p:cNvPr id="42" name="Rounded Rectangle 74">
              <a:extLst>
                <a:ext uri="{FF2B5EF4-FFF2-40B4-BE49-F238E27FC236}">
                  <a16:creationId xmlns:a16="http://schemas.microsoft.com/office/drawing/2014/main" xmlns="" id="{7D7FCF3B-1C04-4EA8-A596-80EEF8F68486}"/>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3" name="Rounded Rectangle 75">
              <a:extLst>
                <a:ext uri="{FF2B5EF4-FFF2-40B4-BE49-F238E27FC236}">
                  <a16:creationId xmlns:a16="http://schemas.microsoft.com/office/drawing/2014/main" xmlns="" id="{503A7FFA-634F-4460-93F6-3987C22ABC5A}"/>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4" name="Rounded Rectangle 76">
              <a:extLst>
                <a:ext uri="{FF2B5EF4-FFF2-40B4-BE49-F238E27FC236}">
                  <a16:creationId xmlns:a16="http://schemas.microsoft.com/office/drawing/2014/main" xmlns="" id="{5A66564E-7962-42DD-B888-D729D3B2F719}"/>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grpSp>
      <p:grpSp>
        <p:nvGrpSpPr>
          <p:cNvPr id="49" name="Gruppieren 48">
            <a:extLst>
              <a:ext uri="{FF2B5EF4-FFF2-40B4-BE49-F238E27FC236}">
                <a16:creationId xmlns:a16="http://schemas.microsoft.com/office/drawing/2014/main" xmlns="" id="{2F487212-340D-4CF0-B44E-4145DD561C41}"/>
              </a:ext>
            </a:extLst>
          </p:cNvPr>
          <p:cNvGrpSpPr/>
          <p:nvPr/>
        </p:nvGrpSpPr>
        <p:grpSpPr>
          <a:xfrm rot="5400000">
            <a:off x="8725432" y="3532888"/>
            <a:ext cx="966322" cy="860359"/>
            <a:chOff x="3749667" y="4263234"/>
            <a:chExt cx="1808891" cy="1606818"/>
          </a:xfrm>
        </p:grpSpPr>
        <p:sp>
          <p:nvSpPr>
            <p:cNvPr id="45" name="Rounded Rectangle 78">
              <a:extLst>
                <a:ext uri="{FF2B5EF4-FFF2-40B4-BE49-F238E27FC236}">
                  <a16:creationId xmlns:a16="http://schemas.microsoft.com/office/drawing/2014/main" xmlns="" id="{FDB31B0F-FB78-47DC-ACC8-2E783ED8999D}"/>
                </a:ext>
              </a:extLst>
            </p:cNvPr>
            <p:cNvSpPr/>
            <p:nvPr/>
          </p:nvSpPr>
          <p:spPr>
            <a:xfrm rot="10800000">
              <a:off x="3749667" y="4836366"/>
              <a:ext cx="1808891"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6" name="Rounded Rectangle 79">
              <a:extLst>
                <a:ext uri="{FF2B5EF4-FFF2-40B4-BE49-F238E27FC236}">
                  <a16:creationId xmlns:a16="http://schemas.microsoft.com/office/drawing/2014/main" xmlns="" id="{3F4B8CBF-889C-4678-AD7F-FE0DE261FE67}"/>
                </a:ext>
              </a:extLst>
            </p:cNvPr>
            <p:cNvSpPr/>
            <p:nvPr/>
          </p:nvSpPr>
          <p:spPr>
            <a:xfrm rot="8093649">
              <a:off x="3642680" y="4596976"/>
              <a:ext cx="1124482"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7" name="Rounded Rectangle 80">
              <a:extLst>
                <a:ext uri="{FF2B5EF4-FFF2-40B4-BE49-F238E27FC236}">
                  <a16:creationId xmlns:a16="http://schemas.microsoft.com/office/drawing/2014/main" xmlns="" id="{3FDEBEE2-13A9-4881-9A10-2FA426100107}"/>
                </a:ext>
              </a:extLst>
            </p:cNvPr>
            <p:cNvSpPr/>
            <p:nvPr/>
          </p:nvSpPr>
          <p:spPr>
            <a:xfrm rot="13517866">
              <a:off x="3641883" y="5079312"/>
              <a:ext cx="1124482"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grpSp>
      <p:sp>
        <p:nvSpPr>
          <p:cNvPr id="51" name="TextBox 99">
            <a:extLst>
              <a:ext uri="{FF2B5EF4-FFF2-40B4-BE49-F238E27FC236}">
                <a16:creationId xmlns:a16="http://schemas.microsoft.com/office/drawing/2014/main" xmlns="" id="{0E43B186-B2EB-4085-B18C-52389F54BE89}"/>
              </a:ext>
            </a:extLst>
          </p:cNvPr>
          <p:cNvSpPr txBox="1"/>
          <p:nvPr/>
        </p:nvSpPr>
        <p:spPr>
          <a:xfrm>
            <a:off x="9944721" y="3424154"/>
            <a:ext cx="2309671" cy="530915"/>
          </a:xfrm>
          <a:prstGeom prst="rect">
            <a:avLst/>
          </a:prstGeom>
          <a:noFill/>
        </p:spPr>
        <p:txBody>
          <a:bodyPr wrap="none" rtlCol="0" anchor="ctr" anchorCtr="0">
            <a:spAutoFit/>
          </a:bodyPr>
          <a:lstStyle/>
          <a:p>
            <a:r>
              <a:rPr lang="en-GB" sz="1425" b="1" spc="113">
                <a:solidFill>
                  <a:srgbClr val="C7621B"/>
                </a:solidFill>
                <a:latin typeface="+mj-lt"/>
                <a:ea typeface="League Spartan" charset="0"/>
                <a:cs typeface="Poppins" pitchFamily="2" charset="77"/>
              </a:rPr>
              <a:t>Paga cuotas de leasing </a:t>
            </a:r>
            <a:br>
              <a:rPr lang="en-GB" sz="1425" b="1" spc="113">
                <a:solidFill>
                  <a:srgbClr val="C7621B"/>
                </a:solidFill>
                <a:latin typeface="+mj-lt"/>
                <a:ea typeface="League Spartan" charset="0"/>
                <a:cs typeface="Poppins" pitchFamily="2" charset="77"/>
              </a:rPr>
            </a:br>
            <a:r>
              <a:rPr lang="en-GB" sz="1425" b="1" spc="113">
                <a:solidFill>
                  <a:srgbClr val="C7621B"/>
                </a:solidFill>
                <a:latin typeface="+mj-lt"/>
                <a:ea typeface="League Spartan" charset="0"/>
                <a:cs typeface="Poppins" pitchFamily="2" charset="77"/>
              </a:rPr>
              <a:t>a lo largo del periodo contractual</a:t>
            </a:r>
            <a:endParaRPr lang="en-GB" sz="1425" b="1" spc="113" dirty="0">
              <a:solidFill>
                <a:srgbClr val="C7621B"/>
              </a:solidFill>
              <a:latin typeface="+mj-lt"/>
              <a:ea typeface="League Spartan" charset="0"/>
              <a:cs typeface="Poppins" pitchFamily="2" charset="77"/>
            </a:endParaRPr>
          </a:p>
        </p:txBody>
      </p:sp>
      <p:sp>
        <p:nvSpPr>
          <p:cNvPr id="52" name="TextBox 99">
            <a:extLst>
              <a:ext uri="{FF2B5EF4-FFF2-40B4-BE49-F238E27FC236}">
                <a16:creationId xmlns:a16="http://schemas.microsoft.com/office/drawing/2014/main" xmlns="" id="{7B4249D3-375B-4919-8085-2A85BC07D596}"/>
              </a:ext>
            </a:extLst>
          </p:cNvPr>
          <p:cNvSpPr txBox="1"/>
          <p:nvPr/>
        </p:nvSpPr>
        <p:spPr>
          <a:xfrm>
            <a:off x="7396991" y="3937571"/>
            <a:ext cx="1690206" cy="530915"/>
          </a:xfrm>
          <a:prstGeom prst="rect">
            <a:avLst/>
          </a:prstGeom>
          <a:noFill/>
        </p:spPr>
        <p:txBody>
          <a:bodyPr wrap="none" rtlCol="0" anchor="ctr" anchorCtr="0">
            <a:spAutoFit/>
          </a:bodyPr>
          <a:lstStyle/>
          <a:p>
            <a:pPr algn="r"/>
            <a:r>
              <a:rPr lang="en-GB" sz="1425" b="1" spc="113">
                <a:solidFill>
                  <a:srgbClr val="C1950B"/>
                </a:solidFill>
                <a:latin typeface="+mj-lt"/>
                <a:ea typeface="League Spartan" charset="0"/>
                <a:cs typeface="Poppins" pitchFamily="2" charset="77"/>
              </a:rPr>
              <a:t>Arrendamiento de maquinaria</a:t>
            </a:r>
            <a:br>
              <a:rPr lang="en-GB" sz="1425" b="1" spc="113">
                <a:solidFill>
                  <a:srgbClr val="C1950B"/>
                </a:solidFill>
                <a:latin typeface="+mj-lt"/>
                <a:ea typeface="League Spartan" charset="0"/>
                <a:cs typeface="Poppins" pitchFamily="2" charset="77"/>
              </a:rPr>
            </a:br>
            <a:r>
              <a:rPr lang="en-GB" sz="1425" b="1" spc="113">
                <a:solidFill>
                  <a:srgbClr val="C1950B"/>
                </a:solidFill>
                <a:latin typeface="+mj-lt"/>
                <a:ea typeface="League Spartan" charset="0"/>
                <a:cs typeface="Poppins" pitchFamily="2" charset="77"/>
              </a:rPr>
              <a:t>o bienes inmuebles</a:t>
            </a:r>
            <a:endParaRPr lang="en-GB" sz="1425" b="1" spc="113" dirty="0">
              <a:solidFill>
                <a:srgbClr val="C1950B"/>
              </a:solidFill>
              <a:latin typeface="+mj-lt"/>
              <a:ea typeface="League Spartan" charset="0"/>
              <a:cs typeface="Poppins" pitchFamily="2" charset="77"/>
            </a:endParaRPr>
          </a:p>
        </p:txBody>
      </p:sp>
      <p:sp>
        <p:nvSpPr>
          <p:cNvPr id="53" name="TextBox 99">
            <a:extLst>
              <a:ext uri="{FF2B5EF4-FFF2-40B4-BE49-F238E27FC236}">
                <a16:creationId xmlns:a16="http://schemas.microsoft.com/office/drawing/2014/main" xmlns="" id="{F5391221-69CF-459C-82E9-C0A8DC7324FA}"/>
              </a:ext>
            </a:extLst>
          </p:cNvPr>
          <p:cNvSpPr txBox="1"/>
          <p:nvPr/>
        </p:nvSpPr>
        <p:spPr>
          <a:xfrm>
            <a:off x="6631852" y="3424155"/>
            <a:ext cx="1403141" cy="530915"/>
          </a:xfrm>
          <a:prstGeom prst="rect">
            <a:avLst/>
          </a:prstGeom>
          <a:noFill/>
        </p:spPr>
        <p:txBody>
          <a:bodyPr wrap="none" rtlCol="0" anchor="ctr" anchorCtr="0">
            <a:spAutoFit/>
          </a:bodyPr>
          <a:lstStyle/>
          <a:p>
            <a:r>
              <a:rPr lang="en-GB" sz="1425" b="1" spc="113">
                <a:solidFill>
                  <a:srgbClr val="395C9B"/>
                </a:solidFill>
                <a:latin typeface="+mj-lt"/>
                <a:ea typeface="League Spartan" charset="0"/>
                <a:cs typeface="Poppins" pitchFamily="2" charset="77"/>
              </a:rPr>
              <a:t>Recibe dinero en efectivo</a:t>
            </a:r>
            <a:br>
              <a:rPr lang="en-GB" sz="1425" b="1" spc="113">
                <a:solidFill>
                  <a:srgbClr val="395C9B"/>
                </a:solidFill>
                <a:latin typeface="+mj-lt"/>
                <a:ea typeface="League Spartan" charset="0"/>
                <a:cs typeface="Poppins" pitchFamily="2" charset="77"/>
              </a:rPr>
            </a:br>
            <a:r>
              <a:rPr lang="en-GB" sz="1425" b="1" spc="113">
                <a:solidFill>
                  <a:srgbClr val="395C9B"/>
                </a:solidFill>
                <a:latin typeface="+mj-lt"/>
                <a:ea typeface="League Spartan" charset="0"/>
                <a:cs typeface="Poppins" pitchFamily="2" charset="77"/>
              </a:rPr>
              <a:t>pago</a:t>
            </a:r>
            <a:endParaRPr lang="en-GB" sz="1425" b="1" spc="113" dirty="0">
              <a:solidFill>
                <a:srgbClr val="395C9B"/>
              </a:solidFill>
              <a:latin typeface="+mj-lt"/>
              <a:ea typeface="League Spartan" charset="0"/>
              <a:cs typeface="Poppins" pitchFamily="2" charset="77"/>
            </a:endParaRPr>
          </a:p>
        </p:txBody>
      </p:sp>
      <p:sp>
        <p:nvSpPr>
          <p:cNvPr id="54" name="TextBox 99">
            <a:extLst>
              <a:ext uri="{FF2B5EF4-FFF2-40B4-BE49-F238E27FC236}">
                <a16:creationId xmlns:a16="http://schemas.microsoft.com/office/drawing/2014/main" xmlns="" id="{FE40F179-6849-4803-A3A9-D604F29FCCA9}"/>
              </a:ext>
            </a:extLst>
          </p:cNvPr>
          <p:cNvSpPr txBox="1"/>
          <p:nvPr/>
        </p:nvSpPr>
        <p:spPr>
          <a:xfrm>
            <a:off x="4013524" y="3457222"/>
            <a:ext cx="1520223" cy="530915"/>
          </a:xfrm>
          <a:prstGeom prst="rect">
            <a:avLst/>
          </a:prstGeom>
          <a:noFill/>
        </p:spPr>
        <p:txBody>
          <a:bodyPr wrap="none" rtlCol="0" anchor="ctr" anchorCtr="0">
            <a:spAutoFit/>
          </a:bodyPr>
          <a:lstStyle/>
          <a:p>
            <a:pPr algn="r"/>
            <a:r>
              <a:rPr lang="en-GB" sz="1425" b="1" spc="113">
                <a:solidFill>
                  <a:srgbClr val="828282"/>
                </a:solidFill>
                <a:latin typeface="+mj-lt"/>
                <a:ea typeface="League Spartan" charset="0"/>
                <a:cs typeface="Poppins" pitchFamily="2" charset="77"/>
              </a:rPr>
              <a:t>Vende maquinaria</a:t>
            </a:r>
            <a:br>
              <a:rPr lang="en-GB" sz="1425" b="1" spc="113">
                <a:solidFill>
                  <a:srgbClr val="828282"/>
                </a:solidFill>
                <a:latin typeface="+mj-lt"/>
                <a:ea typeface="League Spartan" charset="0"/>
                <a:cs typeface="Poppins" pitchFamily="2" charset="77"/>
              </a:rPr>
            </a:br>
            <a:r>
              <a:rPr lang="en-GB" sz="1425" b="1" spc="113">
                <a:solidFill>
                  <a:srgbClr val="828282"/>
                </a:solidFill>
                <a:latin typeface="+mj-lt"/>
                <a:ea typeface="League Spartan" charset="0"/>
                <a:cs typeface="Poppins" pitchFamily="2" charset="77"/>
              </a:rPr>
              <a:t> o propiedad</a:t>
            </a:r>
            <a:endParaRPr lang="en-GB" sz="1425" b="1" spc="113" dirty="0">
              <a:solidFill>
                <a:srgbClr val="828282"/>
              </a:solidFill>
              <a:latin typeface="+mj-lt"/>
              <a:ea typeface="League Spartan" charset="0"/>
              <a:cs typeface="Poppins" pitchFamily="2" charset="77"/>
            </a:endParaRPr>
          </a:p>
        </p:txBody>
      </p:sp>
      <p:sp>
        <p:nvSpPr>
          <p:cNvPr id="55" name="Rechteck 54">
            <a:extLst>
              <a:ext uri="{FF2B5EF4-FFF2-40B4-BE49-F238E27FC236}">
                <a16:creationId xmlns:a16="http://schemas.microsoft.com/office/drawing/2014/main" xmlns="" id="{A457F789-2FFF-40C5-8D0D-465BB56C23DD}"/>
              </a:ext>
            </a:extLst>
          </p:cNvPr>
          <p:cNvSpPr/>
          <p:nvPr/>
        </p:nvSpPr>
        <p:spPr>
          <a:xfrm>
            <a:off x="5225166" y="2279859"/>
            <a:ext cx="4945379" cy="597049"/>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t>Empresa</a:t>
            </a:r>
          </a:p>
        </p:txBody>
      </p:sp>
      <p:sp>
        <p:nvSpPr>
          <p:cNvPr id="56" name="Rechteck 55">
            <a:extLst>
              <a:ext uri="{FF2B5EF4-FFF2-40B4-BE49-F238E27FC236}">
                <a16:creationId xmlns:a16="http://schemas.microsoft.com/office/drawing/2014/main" xmlns="" id="{EDDECBE0-55F0-47A4-840A-EFFF7DBEC60A}"/>
              </a:ext>
            </a:extLst>
          </p:cNvPr>
          <p:cNvSpPr/>
          <p:nvPr/>
        </p:nvSpPr>
        <p:spPr>
          <a:xfrm>
            <a:off x="5225167" y="5015306"/>
            <a:ext cx="4945379" cy="597049"/>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Organización de la venta y el arrendamiento posterior</a:t>
            </a:r>
          </a:p>
        </p:txBody>
      </p:sp>
    </p:spTree>
    <p:extLst>
      <p:ext uri="{BB962C8B-B14F-4D97-AF65-F5344CB8AC3E}">
        <p14:creationId xmlns:p14="http://schemas.microsoft.com/office/powerpoint/2010/main" val="5222263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34383" y="695124"/>
            <a:ext cx="8852375" cy="697353"/>
          </a:xfrm>
        </p:spPr>
        <p:txBody>
          <a:bodyPr>
            <a:normAutofit fontScale="92500"/>
          </a:bodyPr>
          <a:lstStyle/>
          <a:p>
            <a:r>
              <a:rPr lang="en-GB" dirty="0"/>
              <a:t>Requisitos generales de los conceptos de reestructuració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6126" y="1764385"/>
            <a:ext cx="3414053"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n el contexto de una crisis empresarial</a:t>
            </a:r>
            <a:br>
              <a:rPr lang="en-GB" sz="1800" dirty="0">
                <a:solidFill>
                  <a:srgbClr val="245473"/>
                </a:solidFill>
                <a:latin typeface="+mj-lt"/>
                <a:ea typeface="Open Sans Light" panose="020B0306030504020204" pitchFamily="34" charset="0"/>
                <a:cs typeface="Open Sans Light" panose="020B0306030504020204" pitchFamily="34" charset="0"/>
              </a:rPr>
            </a:br>
            <a:r>
              <a:rPr lang="en-GB" sz="1800" dirty="0">
                <a:solidFill>
                  <a:srgbClr val="245473"/>
                </a:solidFill>
                <a:latin typeface="+mj-lt"/>
                <a:ea typeface="Open Sans Light" panose="020B0306030504020204" pitchFamily="34" charset="0"/>
                <a:cs typeface="Open Sans Light" panose="020B0306030504020204" pitchFamily="34" charset="0"/>
              </a:rPr>
              <a:t>es importante que todos los implicados mantengan la cabeza fría. Los esfuerzos y las medidas de reestructuración no deben llevarse a cabo de forma precipitada. </a:t>
            </a:r>
            <a:endParaRPr lang="en-US" sz="2800" dirty="0">
              <a:solidFill>
                <a:srgbClr val="245473"/>
              </a:solidFill>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Más bien, los directores generales y los acreedores (por ejemplo, bancos, acreedores comerciales, proveedores), que son el centro de atención, deberían establecer conjuntamente un marco sobre cuya base se pueda reestructurar la empresa de forma transparente y orientada a los objetivos, evitando los riesgos (de responsabilidad). </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Para ello se puede utilizar un concepto de reestructuración.</a:t>
            </a: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8980644"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ció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graphicFrame>
        <p:nvGraphicFramePr>
          <p:cNvPr id="9" name="object 9">
            <a:extLst>
              <a:ext uri="{FF2B5EF4-FFF2-40B4-BE49-F238E27FC236}">
                <a16:creationId xmlns:a16="http://schemas.microsoft.com/office/drawing/2014/main" xmlns="" id="{4084F88F-310F-4939-89AE-ABB1BEA6E22B}"/>
              </a:ext>
            </a:extLst>
          </p:cNvPr>
          <p:cNvGraphicFramePr>
            <a:graphicFrameLocks noGrp="1"/>
          </p:cNvGraphicFramePr>
          <p:nvPr>
            <p:extLst>
              <p:ext uri="{D42A27DB-BD31-4B8C-83A1-F6EECF244321}">
                <p14:modId xmlns:p14="http://schemas.microsoft.com/office/powerpoint/2010/main" val="1486499723"/>
              </p:ext>
            </p:extLst>
          </p:nvPr>
        </p:nvGraphicFramePr>
        <p:xfrm>
          <a:off x="3636380" y="1778026"/>
          <a:ext cx="8229600" cy="4036173"/>
        </p:xfrm>
        <a:graphic>
          <a:graphicData uri="http://schemas.openxmlformats.org/drawingml/2006/table">
            <a:tbl>
              <a:tblPr firstRow="1" bandRow="1">
                <a:tableStyleId>{72833802-FEF1-4C79-8D5D-14CF1EAF98D9}</a:tableStyleId>
              </a:tblPr>
              <a:tblGrid>
                <a:gridCol w="2436495">
                  <a:extLst>
                    <a:ext uri="{9D8B030D-6E8A-4147-A177-3AD203B41FA5}">
                      <a16:colId xmlns:a16="http://schemas.microsoft.com/office/drawing/2014/main" xmlns="" val="20000"/>
                    </a:ext>
                  </a:extLst>
                </a:gridCol>
                <a:gridCol w="5793105">
                  <a:extLst>
                    <a:ext uri="{9D8B030D-6E8A-4147-A177-3AD203B41FA5}">
                      <a16:colId xmlns:a16="http://schemas.microsoft.com/office/drawing/2014/main" xmlns="" val="20001"/>
                    </a:ext>
                  </a:extLst>
                </a:gridCol>
              </a:tblGrid>
              <a:tr h="477579">
                <a:tc gridSpan="2">
                  <a:txBody>
                    <a:bodyPr/>
                    <a:lstStyle/>
                    <a:p>
                      <a:pPr marL="91440">
                        <a:lnSpc>
                          <a:spcPct val="100000"/>
                        </a:lnSpc>
                        <a:spcBef>
                          <a:spcPts val="745"/>
                        </a:spcBef>
                      </a:pPr>
                      <a:r>
                        <a:rPr lang="en-GB" sz="1800" b="1" dirty="0">
                          <a:solidFill>
                            <a:srgbClr val="FFFFFF"/>
                          </a:solidFill>
                          <a:latin typeface="+mj-lt"/>
                        </a:rPr>
                        <a:t>Principios</a:t>
                      </a:r>
                      <a:endParaRPr lang="en-GB" sz="1800" dirty="0">
                        <a:latin typeface="+mj-lt"/>
                        <a:cs typeface="Arial"/>
                      </a:endParaRPr>
                    </a:p>
                  </a:txBody>
                  <a:tcPr marL="0" marR="0" marT="94615" marB="0"/>
                </a:tc>
                <a:tc hMerge="1">
                  <a:txBody>
                    <a:bodyPr/>
                    <a:lstStyle/>
                    <a:p>
                      <a:endParaRPr/>
                    </a:p>
                  </a:txBody>
                  <a:tcPr marL="0" marR="0" marT="0" marB="0"/>
                </a:tc>
                <a:extLst>
                  <a:ext uri="{0D108BD9-81ED-4DB2-BD59-A6C34878D82A}">
                    <a16:rowId xmlns:a16="http://schemas.microsoft.com/office/drawing/2014/main" xmlns="" val="10000"/>
                  </a:ext>
                </a:extLst>
              </a:tr>
              <a:tr h="471125">
                <a:tc>
                  <a:txBody>
                    <a:bodyPr/>
                    <a:lstStyle/>
                    <a:p>
                      <a:pPr marL="91440">
                        <a:lnSpc>
                          <a:spcPct val="100000"/>
                        </a:lnSpc>
                        <a:spcBef>
                          <a:spcPts val="800"/>
                        </a:spcBef>
                      </a:pPr>
                      <a:r>
                        <a:rPr lang="en-GB" sz="2000" b="1" spc="-10" dirty="0">
                          <a:solidFill>
                            <a:srgbClr val="245473"/>
                          </a:solidFill>
                          <a:latin typeface="+mj-lt"/>
                        </a:rPr>
                        <a:t>La verdad</a:t>
                      </a:r>
                      <a:endParaRPr lang="en-GB" sz="2000" b="1" spc="-10" dirty="0">
                        <a:solidFill>
                          <a:srgbClr val="245473"/>
                        </a:solidFill>
                        <a:latin typeface="+mj-lt"/>
                        <a:cs typeface="Arial"/>
                      </a:endParaRPr>
                    </a:p>
                  </a:txBody>
                  <a:tcPr marL="0" marR="0" marT="101600" marB="0" anchor="ctr"/>
                </a:tc>
                <a:tc>
                  <a:txBody>
                    <a:bodyPr/>
                    <a:lstStyle/>
                    <a:p>
                      <a:pPr marL="91440">
                        <a:lnSpc>
                          <a:spcPct val="100000"/>
                        </a:lnSpc>
                        <a:spcBef>
                          <a:spcPts val="800"/>
                        </a:spcBef>
                      </a:pPr>
                      <a:r>
                        <a:rPr lang="en-GB" sz="2000" dirty="0">
                          <a:solidFill>
                            <a:srgbClr val="245473"/>
                          </a:solidFill>
                          <a:latin typeface="+mj-lt"/>
                        </a:rPr>
                        <a:t>Exposición implacable de las causas de la crisis</a:t>
                      </a:r>
                      <a:endParaRPr lang="en-GB" sz="2000" dirty="0">
                        <a:solidFill>
                          <a:srgbClr val="245473"/>
                        </a:solidFill>
                        <a:latin typeface="+mj-lt"/>
                        <a:cs typeface="Arial"/>
                      </a:endParaRPr>
                    </a:p>
                  </a:txBody>
                  <a:tcPr marL="0" marR="0" marT="101600" marB="0"/>
                </a:tc>
                <a:extLst>
                  <a:ext uri="{0D108BD9-81ED-4DB2-BD59-A6C34878D82A}">
                    <a16:rowId xmlns:a16="http://schemas.microsoft.com/office/drawing/2014/main" xmlns="" val="10001"/>
                  </a:ext>
                </a:extLst>
              </a:tr>
              <a:tr h="722819">
                <a:tc>
                  <a:txBody>
                    <a:bodyPr/>
                    <a:lstStyle/>
                    <a:p>
                      <a:pPr marL="91440">
                        <a:lnSpc>
                          <a:spcPct val="100000"/>
                        </a:lnSpc>
                        <a:spcBef>
                          <a:spcPts val="800"/>
                        </a:spcBef>
                      </a:pPr>
                      <a:r>
                        <a:rPr lang="en-GB" sz="2000" b="1" spc="-10" dirty="0">
                          <a:solidFill>
                            <a:srgbClr val="245473"/>
                          </a:solidFill>
                          <a:latin typeface="+mj-lt"/>
                        </a:rPr>
                        <a:t>Claridad</a:t>
                      </a:r>
                      <a:endParaRPr lang="en-GB" sz="2000" b="1" spc="-10" dirty="0">
                        <a:solidFill>
                          <a:srgbClr val="245473"/>
                        </a:solidFill>
                        <a:latin typeface="+mj-lt"/>
                        <a:cs typeface="Arial"/>
                      </a:endParaRPr>
                    </a:p>
                  </a:txBody>
                  <a:tcPr marL="0" marR="0" marT="6985" marB="0" anchor="ctr"/>
                </a:tc>
                <a:tc>
                  <a:txBody>
                    <a:bodyPr/>
                    <a:lstStyle/>
                    <a:p>
                      <a:pPr marL="91440" marR="565150">
                        <a:lnSpc>
                          <a:spcPts val="1870"/>
                        </a:lnSpc>
                        <a:spcBef>
                          <a:spcPts val="980"/>
                        </a:spcBef>
                      </a:pPr>
                      <a:r>
                        <a:rPr lang="en-GB" sz="2000" dirty="0">
                          <a:solidFill>
                            <a:srgbClr val="245473"/>
                          </a:solidFill>
                          <a:latin typeface="+mj-lt"/>
                        </a:rPr>
                        <a:t>El concepto debe ser comprensible para terceros neutrales, por ejemplo, empleados del banco, comité de empresa</a:t>
                      </a:r>
                      <a:endParaRPr lang="en-GB" sz="2000" dirty="0">
                        <a:solidFill>
                          <a:srgbClr val="245473"/>
                        </a:solidFill>
                        <a:latin typeface="+mj-lt"/>
                        <a:cs typeface="Arial"/>
                      </a:endParaRPr>
                    </a:p>
                  </a:txBody>
                  <a:tcPr marL="0" marR="0" marT="124460" marB="0"/>
                </a:tc>
                <a:extLst>
                  <a:ext uri="{0D108BD9-81ED-4DB2-BD59-A6C34878D82A}">
                    <a16:rowId xmlns:a16="http://schemas.microsoft.com/office/drawing/2014/main" xmlns="" val="10002"/>
                  </a:ext>
                </a:extLst>
              </a:tr>
              <a:tr h="471125">
                <a:tc>
                  <a:txBody>
                    <a:bodyPr/>
                    <a:lstStyle/>
                    <a:p>
                      <a:pPr marL="91440">
                        <a:lnSpc>
                          <a:spcPct val="100000"/>
                        </a:lnSpc>
                        <a:spcBef>
                          <a:spcPts val="800"/>
                        </a:spcBef>
                      </a:pPr>
                      <a:r>
                        <a:rPr lang="en-GB" sz="2000" b="1" spc="-10">
                          <a:solidFill>
                            <a:srgbClr val="245473"/>
                          </a:solidFill>
                          <a:latin typeface="+mj-lt"/>
                        </a:rPr>
                        <a:t>Alcance</a:t>
                      </a:r>
                      <a:endParaRPr lang="en-GB" sz="2000" dirty="0">
                        <a:solidFill>
                          <a:srgbClr val="245473"/>
                        </a:solidFill>
                        <a:latin typeface="+mj-lt"/>
                        <a:cs typeface="Arial"/>
                      </a:endParaRPr>
                    </a:p>
                  </a:txBody>
                  <a:tcPr marL="0" marR="0" marT="101600" marB="0" anchor="ctr"/>
                </a:tc>
                <a:tc>
                  <a:txBody>
                    <a:bodyPr/>
                    <a:lstStyle/>
                    <a:p>
                      <a:pPr marL="91440">
                        <a:lnSpc>
                          <a:spcPct val="100000"/>
                        </a:lnSpc>
                        <a:spcBef>
                          <a:spcPts val="800"/>
                        </a:spcBef>
                      </a:pPr>
                      <a:r>
                        <a:rPr lang="en-GB" sz="2000" spc="-5" dirty="0">
                          <a:solidFill>
                            <a:srgbClr val="245473"/>
                          </a:solidFill>
                          <a:latin typeface="+mj-lt"/>
                        </a:rPr>
                        <a:t>En términos de contenido, todas las áreas de negocio, no el número de páginas</a:t>
                      </a:r>
                      <a:endParaRPr lang="en-GB" sz="2000" dirty="0">
                        <a:solidFill>
                          <a:srgbClr val="245473"/>
                        </a:solidFill>
                        <a:latin typeface="+mj-lt"/>
                        <a:cs typeface="Arial"/>
                      </a:endParaRPr>
                    </a:p>
                  </a:txBody>
                  <a:tcPr marL="0" marR="0" marT="101600" marB="0"/>
                </a:tc>
                <a:extLst>
                  <a:ext uri="{0D108BD9-81ED-4DB2-BD59-A6C34878D82A}">
                    <a16:rowId xmlns:a16="http://schemas.microsoft.com/office/drawing/2014/main" xmlns="" val="10003"/>
                  </a:ext>
                </a:extLst>
              </a:tr>
              <a:tr h="471125">
                <a:tc>
                  <a:txBody>
                    <a:bodyPr/>
                    <a:lstStyle/>
                    <a:p>
                      <a:pPr marL="91440">
                        <a:lnSpc>
                          <a:spcPct val="100000"/>
                        </a:lnSpc>
                        <a:spcBef>
                          <a:spcPts val="800"/>
                        </a:spcBef>
                      </a:pPr>
                      <a:r>
                        <a:rPr lang="en-GB" sz="2000" b="1" spc="-10">
                          <a:solidFill>
                            <a:srgbClr val="245473"/>
                          </a:solidFill>
                          <a:latin typeface="+mj-lt"/>
                        </a:rPr>
                        <a:t>Viabilidad</a:t>
                      </a:r>
                      <a:endParaRPr lang="en-GB" sz="2000" dirty="0">
                        <a:solidFill>
                          <a:srgbClr val="245473"/>
                        </a:solidFill>
                        <a:latin typeface="+mj-lt"/>
                        <a:cs typeface="Arial"/>
                      </a:endParaRPr>
                    </a:p>
                  </a:txBody>
                  <a:tcPr marL="0" marR="0" marT="101600" marB="0" anchor="ctr"/>
                </a:tc>
                <a:tc>
                  <a:txBody>
                    <a:bodyPr/>
                    <a:lstStyle/>
                    <a:p>
                      <a:pPr marL="91440">
                        <a:lnSpc>
                          <a:spcPct val="100000"/>
                        </a:lnSpc>
                        <a:spcBef>
                          <a:spcPts val="800"/>
                        </a:spcBef>
                      </a:pPr>
                      <a:r>
                        <a:rPr lang="en-GB" sz="2000" spc="-5" dirty="0">
                          <a:solidFill>
                            <a:srgbClr val="245473"/>
                          </a:solidFill>
                          <a:latin typeface="+mj-lt"/>
                        </a:rPr>
                        <a:t>Orientado a la práctica y a las posibilidades, de forma realista</a:t>
                      </a:r>
                      <a:endParaRPr lang="en-GB" sz="2000" dirty="0">
                        <a:solidFill>
                          <a:srgbClr val="245473"/>
                        </a:solidFill>
                        <a:latin typeface="+mj-lt"/>
                        <a:cs typeface="Arial"/>
                      </a:endParaRPr>
                    </a:p>
                  </a:txBody>
                  <a:tcPr marL="0" marR="0" marT="101600" marB="0"/>
                </a:tc>
                <a:extLst>
                  <a:ext uri="{0D108BD9-81ED-4DB2-BD59-A6C34878D82A}">
                    <a16:rowId xmlns:a16="http://schemas.microsoft.com/office/drawing/2014/main" xmlns="" val="10004"/>
                  </a:ext>
                </a:extLst>
              </a:tr>
              <a:tr h="471125">
                <a:tc>
                  <a:txBody>
                    <a:bodyPr/>
                    <a:lstStyle/>
                    <a:p>
                      <a:pPr marL="91440">
                        <a:lnSpc>
                          <a:spcPct val="100000"/>
                        </a:lnSpc>
                        <a:spcBef>
                          <a:spcPts val="800"/>
                        </a:spcBef>
                      </a:pPr>
                      <a:r>
                        <a:rPr lang="en-GB" sz="2000" b="1" spc="-10">
                          <a:solidFill>
                            <a:srgbClr val="245473"/>
                          </a:solidFill>
                          <a:latin typeface="+mj-lt"/>
                        </a:rPr>
                        <a:t>Plausibilidad</a:t>
                      </a:r>
                      <a:endParaRPr lang="en-GB" sz="2000" b="1" spc="-10" dirty="0">
                        <a:solidFill>
                          <a:srgbClr val="245473"/>
                        </a:solidFill>
                        <a:latin typeface="+mj-lt"/>
                        <a:cs typeface="Arial"/>
                      </a:endParaRPr>
                    </a:p>
                  </a:txBody>
                  <a:tcPr marL="0" marR="0" marT="101600" marB="0" anchor="ctr"/>
                </a:tc>
                <a:tc>
                  <a:txBody>
                    <a:bodyPr/>
                    <a:lstStyle/>
                    <a:p>
                      <a:pPr marL="91440">
                        <a:lnSpc>
                          <a:spcPct val="100000"/>
                        </a:lnSpc>
                        <a:spcBef>
                          <a:spcPts val="800"/>
                        </a:spcBef>
                      </a:pPr>
                      <a:r>
                        <a:rPr lang="en-GB" sz="2000" spc="-5" dirty="0">
                          <a:solidFill>
                            <a:srgbClr val="245473"/>
                          </a:solidFill>
                          <a:latin typeface="+mj-lt"/>
                        </a:rPr>
                        <a:t>Orientado a la práctica y a las posibilidades, comprensible</a:t>
                      </a:r>
                      <a:endParaRPr lang="en-GB" sz="2000" dirty="0">
                        <a:solidFill>
                          <a:srgbClr val="245473"/>
                        </a:solidFill>
                        <a:latin typeface="+mj-lt"/>
                        <a:cs typeface="Arial"/>
                      </a:endParaRPr>
                    </a:p>
                  </a:txBody>
                  <a:tcPr marL="0" marR="0" marT="101600" marB="0"/>
                </a:tc>
                <a:extLst>
                  <a:ext uri="{0D108BD9-81ED-4DB2-BD59-A6C34878D82A}">
                    <a16:rowId xmlns:a16="http://schemas.microsoft.com/office/drawing/2014/main" xmlns="" val="10005"/>
                  </a:ext>
                </a:extLst>
              </a:tr>
              <a:tr h="471125">
                <a:tc>
                  <a:txBody>
                    <a:bodyPr/>
                    <a:lstStyle/>
                    <a:p>
                      <a:pPr marL="91440">
                        <a:lnSpc>
                          <a:spcPct val="100000"/>
                        </a:lnSpc>
                        <a:spcBef>
                          <a:spcPts val="800"/>
                        </a:spcBef>
                      </a:pPr>
                      <a:r>
                        <a:rPr lang="en-GB" sz="2000" b="1" spc="-10">
                          <a:solidFill>
                            <a:srgbClr val="245473"/>
                          </a:solidFill>
                          <a:latin typeface="+mj-lt"/>
                        </a:rPr>
                        <a:t>Significado</a:t>
                      </a:r>
                      <a:endParaRPr lang="en-GB" sz="2000" dirty="0">
                        <a:solidFill>
                          <a:srgbClr val="245473"/>
                        </a:solidFill>
                        <a:latin typeface="+mj-lt"/>
                        <a:cs typeface="Arial"/>
                      </a:endParaRPr>
                    </a:p>
                  </a:txBody>
                  <a:tcPr marL="0" marR="0" marT="101600" marB="0" anchor="ctr"/>
                </a:tc>
                <a:tc>
                  <a:txBody>
                    <a:bodyPr/>
                    <a:lstStyle/>
                    <a:p>
                      <a:pPr marL="91440">
                        <a:lnSpc>
                          <a:spcPct val="100000"/>
                        </a:lnSpc>
                        <a:spcBef>
                          <a:spcPts val="800"/>
                        </a:spcBef>
                      </a:pPr>
                      <a:r>
                        <a:rPr lang="en-GB" sz="2000" spc="-5" dirty="0">
                          <a:solidFill>
                            <a:srgbClr val="245473"/>
                          </a:solidFill>
                          <a:latin typeface="+mj-lt"/>
                        </a:rPr>
                        <a:t>Los objetivos, métodos y medidas deben ser reconocibles</a:t>
                      </a:r>
                      <a:endParaRPr lang="en-GB" sz="2000" dirty="0">
                        <a:solidFill>
                          <a:srgbClr val="245473"/>
                        </a:solidFill>
                        <a:latin typeface="+mj-lt"/>
                        <a:cs typeface="Arial"/>
                      </a:endParaRPr>
                    </a:p>
                  </a:txBody>
                  <a:tcPr marL="0" marR="0" marT="101600" marB="0"/>
                </a:tc>
                <a:extLst>
                  <a:ext uri="{0D108BD9-81ED-4DB2-BD59-A6C34878D82A}">
                    <a16:rowId xmlns:a16="http://schemas.microsoft.com/office/drawing/2014/main" xmlns="" val="10006"/>
                  </a:ext>
                </a:extLst>
              </a:tr>
            </a:tbl>
          </a:graphicData>
        </a:graphic>
      </p:graphicFrame>
      <p:sp>
        <p:nvSpPr>
          <p:cNvPr id="8" name="TextBox 7">
            <a:extLst>
              <a:ext uri="{FF2B5EF4-FFF2-40B4-BE49-F238E27FC236}">
                <a16:creationId xmlns:a16="http://schemas.microsoft.com/office/drawing/2014/main" xmlns="" id="{9AD0F6BC-6C7E-4D86-B4AE-9C849ADE17D5}"/>
              </a:ext>
            </a:extLst>
          </p:cNvPr>
          <p:cNvSpPr txBox="1"/>
          <p:nvPr/>
        </p:nvSpPr>
        <p:spPr>
          <a:xfrm>
            <a:off x="3453494" y="6160423"/>
            <a:ext cx="6101442" cy="369332"/>
          </a:xfrm>
          <a:prstGeom prst="rect">
            <a:avLst/>
          </a:prstGeom>
          <a:noFill/>
        </p:spPr>
        <p:txBody>
          <a:bodyPr wrap="square">
            <a:spAutoFit/>
          </a:bodyPr>
          <a:lstStyle/>
          <a:p>
            <a:pPr marL="285750" indent="-285750" algn="l">
              <a:lnSpc>
                <a:spcPct val="100000"/>
              </a:lnSpc>
              <a:spcBef>
                <a:spcPts val="600"/>
              </a:spcBef>
              <a:buFont typeface="Wingdings" panose="05000000000000000000" pitchFamily="2" charset="2"/>
              <a:buChar char="à"/>
            </a:pPr>
            <a:r>
              <a:rPr lang="en-GB"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ocumentado por escrito, ¡comprensible en sí mismo!</a:t>
            </a:r>
            <a:endParaRPr lang="en-GB" sz="1800" b="1" dirty="0">
              <a:solidFill>
                <a:srgbClr val="245473"/>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1940913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7003" y="547647"/>
            <a:ext cx="8852375" cy="697353"/>
          </a:xfrm>
        </p:spPr>
        <p:txBody>
          <a:bodyPr>
            <a:normAutofit/>
          </a:bodyPr>
          <a:lstStyle/>
          <a:p>
            <a:r>
              <a:rPr lang="en-GB"/>
              <a:t>Medidas financieras ejemplares: Factoring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52169" y="2122764"/>
            <a:ext cx="4368753" cy="43758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l factoring es un método de financiación de las ventas en el que el proveedor vende sus créditos por la entrega de mercancías a una institución financiera.</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sym typeface="Wingdings" panose="05000000000000000000" pitchFamily="2" charset="2"/>
              </a:rPr>
              <a:t>Venta de créditos con transferencia del riesgo de crédito (auténtico factoring)</a:t>
            </a:r>
            <a:br>
              <a:rPr lang="en-GB" sz="2200" dirty="0">
                <a:solidFill>
                  <a:srgbClr val="245473"/>
                </a:solidFill>
                <a:latin typeface="+mj-lt"/>
                <a:sym typeface="Wingdings" panose="05000000000000000000" pitchFamily="2" charset="2"/>
              </a:rPr>
            </a:br>
            <a:r>
              <a:rPr lang="en-GB" sz="2200" dirty="0">
                <a:solidFill>
                  <a:srgbClr val="245473"/>
                </a:solidFill>
                <a:latin typeface="+mj-lt"/>
                <a:sym typeface="Wingdings" panose="05000000000000000000" pitchFamily="2" charset="2"/>
              </a:rPr>
              <a:t/>
            </a:r>
            <a:br>
              <a:rPr lang="en-GB" sz="2200" dirty="0">
                <a:solidFill>
                  <a:srgbClr val="245473"/>
                </a:solidFill>
                <a:latin typeface="+mj-lt"/>
                <a:sym typeface="Wingdings" panose="05000000000000000000" pitchFamily="2" charset="2"/>
              </a:rPr>
            </a:br>
            <a:r>
              <a:rPr lang="en-GB" sz="2200" dirty="0">
                <a:solidFill>
                  <a:srgbClr val="245473"/>
                </a:solidFill>
                <a:latin typeface="+mj-lt"/>
                <a:sym typeface="Wingdings" panose="05000000000000000000" pitchFamily="2" charset="2"/>
              </a:rPr>
              <a:t>o</a:t>
            </a:r>
            <a:br>
              <a:rPr lang="en-GB" sz="2200" dirty="0">
                <a:solidFill>
                  <a:srgbClr val="245473"/>
                </a:solidFill>
                <a:latin typeface="+mj-lt"/>
                <a:sym typeface="Wingdings" panose="05000000000000000000" pitchFamily="2" charset="2"/>
              </a:rPr>
            </a:br>
            <a:endParaRPr lang="en-GB" sz="2200" dirty="0">
              <a:solidFill>
                <a:srgbClr val="245473"/>
              </a:solidFill>
              <a:latin typeface="+mj-lt"/>
              <a:sym typeface="Wingdings" panose="05000000000000000000" pitchFamily="2" charset="2"/>
            </a:endParaRP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sym typeface="Wingdings" panose="05000000000000000000" pitchFamily="2" charset="2"/>
              </a:rPr>
              <a:t>sin transferencia del riesgo de crédito (falso factoring)</a:t>
            </a:r>
          </a:p>
          <a:p>
            <a:pPr algn="l">
              <a:lnSpc>
                <a:spcPct val="100000"/>
              </a:lnSpc>
              <a:spcBef>
                <a:spcPts val="600"/>
              </a:spcBef>
            </a:pPr>
            <a:endParaRPr lang="en-GB" sz="2200" dirty="0">
              <a:latin typeface="+mj-lt"/>
              <a:sym typeface="Wingdings" panose="05000000000000000000" pitchFamily="2" charset="2"/>
            </a:endParaRPr>
          </a:p>
        </p:txBody>
      </p:sp>
      <p:grpSp>
        <p:nvGrpSpPr>
          <p:cNvPr id="5" name="Gruppieren 4">
            <a:extLst>
              <a:ext uri="{FF2B5EF4-FFF2-40B4-BE49-F238E27FC236}">
                <a16:creationId xmlns:a16="http://schemas.microsoft.com/office/drawing/2014/main" xmlns="" id="{EC268B96-03AD-4D8B-ADA0-DF27D878A2B9}"/>
              </a:ext>
            </a:extLst>
          </p:cNvPr>
          <p:cNvGrpSpPr>
            <a:grpSpLocks noChangeAspect="1"/>
          </p:cNvGrpSpPr>
          <p:nvPr/>
        </p:nvGrpSpPr>
        <p:grpSpPr>
          <a:xfrm>
            <a:off x="5588686" y="2022693"/>
            <a:ext cx="4135032" cy="3782223"/>
            <a:chOff x="5781897" y="2420011"/>
            <a:chExt cx="3264914" cy="2986345"/>
          </a:xfrm>
        </p:grpSpPr>
        <p:sp>
          <p:nvSpPr>
            <p:cNvPr id="27" name="Freeform: Shape 6624">
              <a:extLst>
                <a:ext uri="{FF2B5EF4-FFF2-40B4-BE49-F238E27FC236}">
                  <a16:creationId xmlns:a16="http://schemas.microsoft.com/office/drawing/2014/main" xmlns="" id="{9412888F-5B30-4812-B44A-F43DE173F256}"/>
                </a:ext>
              </a:extLst>
            </p:cNvPr>
            <p:cNvSpPr/>
            <p:nvPr/>
          </p:nvSpPr>
          <p:spPr>
            <a:xfrm>
              <a:off x="6182040" y="3798688"/>
              <a:ext cx="1499075" cy="1455397"/>
            </a:xfrm>
            <a:custGeom>
              <a:avLst/>
              <a:gdLst/>
              <a:ahLst/>
              <a:cxnLst>
                <a:cxn ang="3cd4">
                  <a:pos x="hc" y="t"/>
                </a:cxn>
                <a:cxn ang="cd2">
                  <a:pos x="l" y="vc"/>
                </a:cxn>
                <a:cxn ang="cd4">
                  <a:pos x="hc" y="b"/>
                </a:cxn>
                <a:cxn ang="0">
                  <a:pos x="r" y="vc"/>
                </a:cxn>
              </a:cxnLst>
              <a:rect l="l" t="t" r="r" b="b"/>
              <a:pathLst>
                <a:path w="1271" h="1234">
                  <a:moveTo>
                    <a:pt x="1050" y="785"/>
                  </a:moveTo>
                  <a:cubicBezTo>
                    <a:pt x="804" y="785"/>
                    <a:pt x="605" y="586"/>
                    <a:pt x="605" y="341"/>
                  </a:cubicBezTo>
                  <a:cubicBezTo>
                    <a:pt x="605" y="204"/>
                    <a:pt x="667" y="82"/>
                    <a:pt x="764" y="0"/>
                  </a:cubicBezTo>
                  <a:lnTo>
                    <a:pt x="0" y="441"/>
                  </a:lnTo>
                  <a:cubicBezTo>
                    <a:pt x="206" y="348"/>
                    <a:pt x="452" y="425"/>
                    <a:pt x="567" y="625"/>
                  </a:cubicBezTo>
                  <a:cubicBezTo>
                    <a:pt x="690" y="837"/>
                    <a:pt x="617" y="1109"/>
                    <a:pt x="405" y="1232"/>
                  </a:cubicBezTo>
                  <a:lnTo>
                    <a:pt x="405" y="1234"/>
                  </a:lnTo>
                  <a:lnTo>
                    <a:pt x="1271" y="727"/>
                  </a:lnTo>
                  <a:cubicBezTo>
                    <a:pt x="1206" y="764"/>
                    <a:pt x="1130" y="785"/>
                    <a:pt x="1050" y="785"/>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28" name="Freeform: Shape 6625">
              <a:extLst>
                <a:ext uri="{FF2B5EF4-FFF2-40B4-BE49-F238E27FC236}">
                  <a16:creationId xmlns:a16="http://schemas.microsoft.com/office/drawing/2014/main" xmlns="" id="{265CCCDF-1648-4C27-880F-663467B8E765}"/>
                </a:ext>
              </a:extLst>
            </p:cNvPr>
            <p:cNvSpPr/>
            <p:nvPr/>
          </p:nvSpPr>
          <p:spPr>
            <a:xfrm>
              <a:off x="6894988" y="2513735"/>
              <a:ext cx="1048172" cy="1048172"/>
            </a:xfrm>
            <a:custGeom>
              <a:avLst/>
              <a:gdLst/>
              <a:ahLst/>
              <a:cxnLst>
                <a:cxn ang="3cd4">
                  <a:pos x="hc" y="t"/>
                </a:cxn>
                <a:cxn ang="cd2">
                  <a:pos x="l" y="vc"/>
                </a:cxn>
                <a:cxn ang="cd4">
                  <a:pos x="hc" y="b"/>
                </a:cxn>
                <a:cxn ang="0">
                  <a:pos x="r" y="vc"/>
                </a:cxn>
              </a:cxnLst>
              <a:rect l="l" t="t" r="r" b="b"/>
              <a:pathLst>
                <a:path w="889" h="889">
                  <a:moveTo>
                    <a:pt x="445" y="806"/>
                  </a:moveTo>
                  <a:cubicBezTo>
                    <a:pt x="245" y="806"/>
                    <a:pt x="83" y="644"/>
                    <a:pt x="83" y="444"/>
                  </a:cubicBezTo>
                  <a:cubicBezTo>
                    <a:pt x="83" y="245"/>
                    <a:pt x="245" y="83"/>
                    <a:pt x="445" y="83"/>
                  </a:cubicBezTo>
                  <a:cubicBezTo>
                    <a:pt x="644" y="83"/>
                    <a:pt x="806" y="245"/>
                    <a:pt x="806" y="444"/>
                  </a:cubicBezTo>
                  <a:cubicBezTo>
                    <a:pt x="806" y="644"/>
                    <a:pt x="644" y="806"/>
                    <a:pt x="445" y="806"/>
                  </a:cubicBezTo>
                  <a:close/>
                  <a:moveTo>
                    <a:pt x="445" y="0"/>
                  </a:moveTo>
                  <a:cubicBezTo>
                    <a:pt x="199" y="0"/>
                    <a:pt x="0" y="199"/>
                    <a:pt x="0" y="444"/>
                  </a:cubicBezTo>
                  <a:cubicBezTo>
                    <a:pt x="0" y="690"/>
                    <a:pt x="199" y="889"/>
                    <a:pt x="445" y="889"/>
                  </a:cubicBezTo>
                  <a:cubicBezTo>
                    <a:pt x="690" y="889"/>
                    <a:pt x="889" y="690"/>
                    <a:pt x="889" y="444"/>
                  </a:cubicBezTo>
                  <a:cubicBezTo>
                    <a:pt x="889" y="199"/>
                    <a:pt x="690" y="0"/>
                    <a:pt x="445" y="0"/>
                  </a:cubicBezTo>
                  <a:close/>
                </a:path>
              </a:pathLst>
            </a:custGeom>
            <a:solidFill>
              <a:schemeClr val="accent1">
                <a:lumMod val="75000"/>
              </a:schemeClr>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29" name="Freeform: Shape 6626">
              <a:extLst>
                <a:ext uri="{FF2B5EF4-FFF2-40B4-BE49-F238E27FC236}">
                  <a16:creationId xmlns:a16="http://schemas.microsoft.com/office/drawing/2014/main" xmlns="" id="{76E32BB4-B0B3-492B-9D79-EA90E32CC434}"/>
                </a:ext>
              </a:extLst>
            </p:cNvPr>
            <p:cNvSpPr/>
            <p:nvPr/>
          </p:nvSpPr>
          <p:spPr>
            <a:xfrm>
              <a:off x="6992959" y="2606509"/>
              <a:ext cx="852230" cy="852230"/>
            </a:xfrm>
            <a:custGeom>
              <a:avLst/>
              <a:gdLst/>
              <a:ahLst/>
              <a:cxnLst>
                <a:cxn ang="3cd4">
                  <a:pos x="hc" y="t"/>
                </a:cxn>
                <a:cxn ang="cd2">
                  <a:pos x="l" y="vc"/>
                </a:cxn>
                <a:cxn ang="cd4">
                  <a:pos x="hc" y="b"/>
                </a:cxn>
                <a:cxn ang="0">
                  <a:pos x="r" y="vc"/>
                </a:cxn>
              </a:cxnLst>
              <a:rect l="l" t="t" r="r" b="b"/>
              <a:pathLst>
                <a:path w="723" h="723">
                  <a:moveTo>
                    <a:pt x="0" y="361"/>
                  </a:moveTo>
                  <a:cubicBezTo>
                    <a:pt x="0" y="162"/>
                    <a:pt x="162" y="0"/>
                    <a:pt x="362" y="0"/>
                  </a:cubicBezTo>
                  <a:cubicBezTo>
                    <a:pt x="561" y="0"/>
                    <a:pt x="723" y="162"/>
                    <a:pt x="723" y="361"/>
                  </a:cubicBezTo>
                  <a:cubicBezTo>
                    <a:pt x="723" y="561"/>
                    <a:pt x="561" y="723"/>
                    <a:pt x="362" y="723"/>
                  </a:cubicBezTo>
                  <a:cubicBezTo>
                    <a:pt x="162" y="723"/>
                    <a:pt x="0" y="561"/>
                    <a:pt x="0" y="361"/>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30" name="Freeform: Shape 6644">
              <a:extLst>
                <a:ext uri="{FF2B5EF4-FFF2-40B4-BE49-F238E27FC236}">
                  <a16:creationId xmlns:a16="http://schemas.microsoft.com/office/drawing/2014/main" xmlns="" id="{AB68CA9D-2E88-4064-9656-184DB7484900}"/>
                </a:ext>
              </a:extLst>
            </p:cNvPr>
            <p:cNvSpPr/>
            <p:nvPr/>
          </p:nvSpPr>
          <p:spPr>
            <a:xfrm>
              <a:off x="7908929" y="4274374"/>
              <a:ext cx="1048172" cy="1048172"/>
            </a:xfrm>
            <a:custGeom>
              <a:avLst/>
              <a:gdLst/>
              <a:ahLst/>
              <a:cxnLst>
                <a:cxn ang="3cd4">
                  <a:pos x="hc" y="t"/>
                </a:cxn>
                <a:cxn ang="cd2">
                  <a:pos x="l" y="vc"/>
                </a:cxn>
                <a:cxn ang="cd4">
                  <a:pos x="hc" y="b"/>
                </a:cxn>
                <a:cxn ang="0">
                  <a:pos x="r" y="vc"/>
                </a:cxn>
              </a:cxnLst>
              <a:rect l="l" t="t" r="r" b="b"/>
              <a:pathLst>
                <a:path w="889" h="889">
                  <a:moveTo>
                    <a:pt x="758" y="626"/>
                  </a:moveTo>
                  <a:cubicBezTo>
                    <a:pt x="658" y="799"/>
                    <a:pt x="437" y="858"/>
                    <a:pt x="264" y="758"/>
                  </a:cubicBezTo>
                  <a:cubicBezTo>
                    <a:pt x="91" y="658"/>
                    <a:pt x="32" y="437"/>
                    <a:pt x="131" y="264"/>
                  </a:cubicBezTo>
                  <a:cubicBezTo>
                    <a:pt x="232" y="91"/>
                    <a:pt x="452" y="32"/>
                    <a:pt x="625" y="132"/>
                  </a:cubicBezTo>
                  <a:cubicBezTo>
                    <a:pt x="799" y="232"/>
                    <a:pt x="858" y="453"/>
                    <a:pt x="758" y="626"/>
                  </a:cubicBezTo>
                  <a:close/>
                  <a:moveTo>
                    <a:pt x="667" y="60"/>
                  </a:moveTo>
                  <a:cubicBezTo>
                    <a:pt x="454" y="-63"/>
                    <a:pt x="182" y="10"/>
                    <a:pt x="60" y="223"/>
                  </a:cubicBezTo>
                  <a:cubicBezTo>
                    <a:pt x="-63" y="435"/>
                    <a:pt x="10" y="707"/>
                    <a:pt x="222" y="830"/>
                  </a:cubicBezTo>
                  <a:cubicBezTo>
                    <a:pt x="435" y="953"/>
                    <a:pt x="707" y="880"/>
                    <a:pt x="829" y="667"/>
                  </a:cubicBezTo>
                  <a:cubicBezTo>
                    <a:pt x="952" y="455"/>
                    <a:pt x="880" y="183"/>
                    <a:pt x="667" y="60"/>
                  </a:cubicBezTo>
                  <a:close/>
                </a:path>
              </a:pathLst>
            </a:custGeom>
            <a:solidFill>
              <a:schemeClr val="accent2">
                <a:lumMod val="75000"/>
              </a:schemeClr>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31" name="Freeform: Shape 6645">
              <a:extLst>
                <a:ext uri="{FF2B5EF4-FFF2-40B4-BE49-F238E27FC236}">
                  <a16:creationId xmlns:a16="http://schemas.microsoft.com/office/drawing/2014/main" xmlns="" id="{4D45E1C7-CE98-40DB-BF0C-BEF2B5CBFE54}"/>
                </a:ext>
              </a:extLst>
            </p:cNvPr>
            <p:cNvSpPr/>
            <p:nvPr/>
          </p:nvSpPr>
          <p:spPr>
            <a:xfrm>
              <a:off x="8005720" y="4372348"/>
              <a:ext cx="853410" cy="852230"/>
            </a:xfrm>
            <a:custGeom>
              <a:avLst/>
              <a:gdLst/>
              <a:ahLst/>
              <a:cxnLst>
                <a:cxn ang="3cd4">
                  <a:pos x="hc" y="t"/>
                </a:cxn>
                <a:cxn ang="cd2">
                  <a:pos x="l" y="vc"/>
                </a:cxn>
                <a:cxn ang="cd4">
                  <a:pos x="hc" y="b"/>
                </a:cxn>
                <a:cxn ang="0">
                  <a:pos x="r" y="vc"/>
                </a:cxn>
              </a:cxnLst>
              <a:rect l="l" t="t" r="r" b="b"/>
              <a:pathLst>
                <a:path w="724" h="723">
                  <a:moveTo>
                    <a:pt x="181" y="675"/>
                  </a:moveTo>
                  <a:cubicBezTo>
                    <a:pt x="8" y="575"/>
                    <a:pt x="-51" y="354"/>
                    <a:pt x="48" y="181"/>
                  </a:cubicBezTo>
                  <a:cubicBezTo>
                    <a:pt x="149" y="8"/>
                    <a:pt x="369" y="-51"/>
                    <a:pt x="542" y="49"/>
                  </a:cubicBezTo>
                  <a:cubicBezTo>
                    <a:pt x="716" y="149"/>
                    <a:pt x="775" y="370"/>
                    <a:pt x="675" y="543"/>
                  </a:cubicBezTo>
                  <a:cubicBezTo>
                    <a:pt x="575" y="716"/>
                    <a:pt x="354" y="775"/>
                    <a:pt x="181" y="675"/>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32" name="Freeform: Shape 6646">
              <a:extLst>
                <a:ext uri="{FF2B5EF4-FFF2-40B4-BE49-F238E27FC236}">
                  <a16:creationId xmlns:a16="http://schemas.microsoft.com/office/drawing/2014/main" xmlns="" id="{6518C653-664C-4247-BA19-FBF89FD95C05}"/>
                </a:ext>
              </a:extLst>
            </p:cNvPr>
            <p:cNvSpPr/>
            <p:nvPr/>
          </p:nvSpPr>
          <p:spPr>
            <a:xfrm>
              <a:off x="5969575" y="4372348"/>
              <a:ext cx="852230" cy="852230"/>
            </a:xfrm>
            <a:custGeom>
              <a:avLst/>
              <a:gdLst/>
              <a:ahLst/>
              <a:cxnLst>
                <a:cxn ang="3cd4">
                  <a:pos x="hc" y="t"/>
                </a:cxn>
                <a:cxn ang="cd2">
                  <a:pos x="l" y="vc"/>
                </a:cxn>
                <a:cxn ang="cd4">
                  <a:pos x="hc" y="b"/>
                </a:cxn>
                <a:cxn ang="0">
                  <a:pos x="r" y="vc"/>
                </a:cxn>
              </a:cxnLst>
              <a:rect l="l" t="t" r="r" b="b"/>
              <a:pathLst>
                <a:path w="723" h="723">
                  <a:moveTo>
                    <a:pt x="181" y="49"/>
                  </a:moveTo>
                  <a:cubicBezTo>
                    <a:pt x="354" y="-51"/>
                    <a:pt x="575" y="8"/>
                    <a:pt x="675" y="181"/>
                  </a:cubicBezTo>
                  <a:cubicBezTo>
                    <a:pt x="775" y="354"/>
                    <a:pt x="715" y="575"/>
                    <a:pt x="543" y="675"/>
                  </a:cubicBezTo>
                  <a:cubicBezTo>
                    <a:pt x="370" y="775"/>
                    <a:pt x="148" y="716"/>
                    <a:pt x="49" y="543"/>
                  </a:cubicBezTo>
                  <a:cubicBezTo>
                    <a:pt x="-51" y="370"/>
                    <a:pt x="8" y="149"/>
                    <a:pt x="181" y="49"/>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nvGrpSpPr>
            <p:cNvPr id="33" name="Group 367">
              <a:extLst>
                <a:ext uri="{FF2B5EF4-FFF2-40B4-BE49-F238E27FC236}">
                  <a16:creationId xmlns:a16="http://schemas.microsoft.com/office/drawing/2014/main" xmlns="" id="{23DDAF74-E6DD-4094-98C7-6C318A079396}"/>
                </a:ext>
              </a:extLst>
            </p:cNvPr>
            <p:cNvGrpSpPr/>
            <p:nvPr/>
          </p:nvGrpSpPr>
          <p:grpSpPr>
            <a:xfrm>
              <a:off x="5781897" y="4554126"/>
              <a:ext cx="550051" cy="852230"/>
              <a:chOff x="9497936" y="9385018"/>
              <a:chExt cx="1466421" cy="2272021"/>
            </a:xfrm>
            <a:solidFill>
              <a:schemeClr val="accent3">
                <a:lumMod val="75000"/>
              </a:schemeClr>
            </a:solidFill>
          </p:grpSpPr>
          <p:sp>
            <p:nvSpPr>
              <p:cNvPr id="34" name="Freeform: Shape 6647">
                <a:extLst>
                  <a:ext uri="{FF2B5EF4-FFF2-40B4-BE49-F238E27FC236}">
                    <a16:creationId xmlns:a16="http://schemas.microsoft.com/office/drawing/2014/main" xmlns="" id="{C5CD1041-72CC-4D73-901D-FA4D2375A07B}"/>
                  </a:ext>
                </a:extLst>
              </p:cNvPr>
              <p:cNvSpPr/>
              <p:nvPr/>
            </p:nvSpPr>
            <p:spPr>
              <a:xfrm>
                <a:off x="9708774" y="10788510"/>
                <a:ext cx="88112" cy="88112"/>
              </a:xfrm>
              <a:custGeom>
                <a:avLst/>
                <a:gdLst/>
                <a:ahLst/>
                <a:cxnLst>
                  <a:cxn ang="3cd4">
                    <a:pos x="hc" y="t"/>
                  </a:cxn>
                  <a:cxn ang="cd2">
                    <a:pos x="l" y="vc"/>
                  </a:cxn>
                  <a:cxn ang="cd4">
                    <a:pos x="hc" y="b"/>
                  </a:cxn>
                  <a:cxn ang="0">
                    <a:pos x="r" y="vc"/>
                  </a:cxn>
                </a:cxnLst>
                <a:rect l="l" t="t" r="r" b="b"/>
                <a:pathLst>
                  <a:path w="29" h="29">
                    <a:moveTo>
                      <a:pt x="8" y="2"/>
                    </a:moveTo>
                    <a:cubicBezTo>
                      <a:pt x="14" y="-2"/>
                      <a:pt x="23" y="0"/>
                      <a:pt x="27" y="7"/>
                    </a:cubicBezTo>
                    <a:cubicBezTo>
                      <a:pt x="32" y="14"/>
                      <a:pt x="29" y="23"/>
                      <a:pt x="22" y="27"/>
                    </a:cubicBezTo>
                    <a:cubicBezTo>
                      <a:pt x="15" y="31"/>
                      <a:pt x="6" y="28"/>
                      <a:pt x="2" y="22"/>
                    </a:cubicBezTo>
                    <a:cubicBezTo>
                      <a:pt x="-2" y="15"/>
                      <a:pt x="1" y="6"/>
                      <a:pt x="8" y="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35" name="Freeform: Shape 6648">
                <a:extLst>
                  <a:ext uri="{FF2B5EF4-FFF2-40B4-BE49-F238E27FC236}">
                    <a16:creationId xmlns:a16="http://schemas.microsoft.com/office/drawing/2014/main" xmlns="" id="{C3361ACE-6A30-4EA3-B3FD-40C45F7FCC42}"/>
                  </a:ext>
                </a:extLst>
              </p:cNvPr>
              <p:cNvSpPr/>
              <p:nvPr/>
            </p:nvSpPr>
            <p:spPr>
              <a:xfrm>
                <a:off x="9822061" y="10961587"/>
                <a:ext cx="88112" cy="88112"/>
              </a:xfrm>
              <a:custGeom>
                <a:avLst/>
                <a:gdLst/>
                <a:ahLst/>
                <a:cxnLst>
                  <a:cxn ang="3cd4">
                    <a:pos x="hc" y="t"/>
                  </a:cxn>
                  <a:cxn ang="cd2">
                    <a:pos x="l" y="vc"/>
                  </a:cxn>
                  <a:cxn ang="cd4">
                    <a:pos x="hc" y="b"/>
                  </a:cxn>
                  <a:cxn ang="0">
                    <a:pos x="r" y="vc"/>
                  </a:cxn>
                </a:cxnLst>
                <a:rect l="l" t="t" r="r" b="b"/>
                <a:pathLst>
                  <a:path w="29" h="29">
                    <a:moveTo>
                      <a:pt x="6" y="3"/>
                    </a:moveTo>
                    <a:cubicBezTo>
                      <a:pt x="12" y="-2"/>
                      <a:pt x="21" y="-1"/>
                      <a:pt x="26" y="5"/>
                    </a:cubicBezTo>
                    <a:cubicBezTo>
                      <a:pt x="31" y="12"/>
                      <a:pt x="30" y="21"/>
                      <a:pt x="23" y="26"/>
                    </a:cubicBezTo>
                    <a:cubicBezTo>
                      <a:pt x="17" y="31"/>
                      <a:pt x="8" y="29"/>
                      <a:pt x="3" y="23"/>
                    </a:cubicBezTo>
                    <a:cubicBezTo>
                      <a:pt x="-2" y="17"/>
                      <a:pt x="-1" y="8"/>
                      <a:pt x="6"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50" name="Freeform: Shape 6649">
                <a:extLst>
                  <a:ext uri="{FF2B5EF4-FFF2-40B4-BE49-F238E27FC236}">
                    <a16:creationId xmlns:a16="http://schemas.microsoft.com/office/drawing/2014/main" xmlns="" id="{BCE687FD-1AA9-43D8-B789-D586DB467C40}"/>
                  </a:ext>
                </a:extLst>
              </p:cNvPr>
              <p:cNvSpPr/>
              <p:nvPr/>
            </p:nvSpPr>
            <p:spPr>
              <a:xfrm>
                <a:off x="9960522" y="11118929"/>
                <a:ext cx="88112" cy="88112"/>
              </a:xfrm>
              <a:custGeom>
                <a:avLst/>
                <a:gdLst/>
                <a:ahLst/>
                <a:cxnLst>
                  <a:cxn ang="3cd4">
                    <a:pos x="hc" y="t"/>
                  </a:cxn>
                  <a:cxn ang="cd2">
                    <a:pos x="l" y="vc"/>
                  </a:cxn>
                  <a:cxn ang="cd4">
                    <a:pos x="hc" y="b"/>
                  </a:cxn>
                  <a:cxn ang="0">
                    <a:pos x="r" y="vc"/>
                  </a:cxn>
                </a:cxnLst>
                <a:rect l="l" t="t" r="r" b="b"/>
                <a:pathLst>
                  <a:path w="29" h="29">
                    <a:moveTo>
                      <a:pt x="4" y="4"/>
                    </a:moveTo>
                    <a:cubicBezTo>
                      <a:pt x="9" y="-1"/>
                      <a:pt x="19" y="-1"/>
                      <a:pt x="25" y="4"/>
                    </a:cubicBezTo>
                    <a:cubicBezTo>
                      <a:pt x="30" y="11"/>
                      <a:pt x="30" y="19"/>
                      <a:pt x="25" y="25"/>
                    </a:cubicBezTo>
                    <a:cubicBezTo>
                      <a:pt x="19" y="31"/>
                      <a:pt x="9" y="31"/>
                      <a:pt x="4" y="25"/>
                    </a:cubicBezTo>
                    <a:cubicBezTo>
                      <a:pt x="-1" y="19"/>
                      <a:pt x="-1" y="11"/>
                      <a:pt x="4"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57" name="Freeform: Shape 6650">
                <a:extLst>
                  <a:ext uri="{FF2B5EF4-FFF2-40B4-BE49-F238E27FC236}">
                    <a16:creationId xmlns:a16="http://schemas.microsoft.com/office/drawing/2014/main" xmlns="" id="{3B8C6698-5401-4A8D-A2CD-AFF8A4AA57E6}"/>
                  </a:ext>
                </a:extLst>
              </p:cNvPr>
              <p:cNvSpPr/>
              <p:nvPr/>
            </p:nvSpPr>
            <p:spPr>
              <a:xfrm>
                <a:off x="10117864" y="11254234"/>
                <a:ext cx="88112" cy="88112"/>
              </a:xfrm>
              <a:custGeom>
                <a:avLst/>
                <a:gdLst/>
                <a:ahLst/>
                <a:cxnLst>
                  <a:cxn ang="3cd4">
                    <a:pos x="hc" y="t"/>
                  </a:cxn>
                  <a:cxn ang="cd2">
                    <a:pos x="l" y="vc"/>
                  </a:cxn>
                  <a:cxn ang="cd4">
                    <a:pos x="hc" y="b"/>
                  </a:cxn>
                  <a:cxn ang="0">
                    <a:pos x="r" y="vc"/>
                  </a:cxn>
                </a:cxnLst>
                <a:rect l="l" t="t" r="r" b="b"/>
                <a:pathLst>
                  <a:path w="29" h="29">
                    <a:moveTo>
                      <a:pt x="3" y="6"/>
                    </a:moveTo>
                    <a:cubicBezTo>
                      <a:pt x="8" y="-1"/>
                      <a:pt x="17" y="-2"/>
                      <a:pt x="24" y="3"/>
                    </a:cubicBezTo>
                    <a:cubicBezTo>
                      <a:pt x="30" y="8"/>
                      <a:pt x="31" y="17"/>
                      <a:pt x="26" y="23"/>
                    </a:cubicBezTo>
                    <a:cubicBezTo>
                      <a:pt x="21" y="30"/>
                      <a:pt x="13" y="31"/>
                      <a:pt x="6" y="26"/>
                    </a:cubicBezTo>
                    <a:cubicBezTo>
                      <a:pt x="0" y="21"/>
                      <a:pt x="-2" y="12"/>
                      <a:pt x="3" y="6"/>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58" name="Freeform: Shape 6651">
                <a:extLst>
                  <a:ext uri="{FF2B5EF4-FFF2-40B4-BE49-F238E27FC236}">
                    <a16:creationId xmlns:a16="http://schemas.microsoft.com/office/drawing/2014/main" xmlns="" id="{34B04918-A40E-4574-9DDB-569897F2E140}"/>
                  </a:ext>
                </a:extLst>
              </p:cNvPr>
              <p:cNvSpPr/>
              <p:nvPr/>
            </p:nvSpPr>
            <p:spPr>
              <a:xfrm>
                <a:off x="10287785" y="11370676"/>
                <a:ext cx="88112" cy="88112"/>
              </a:xfrm>
              <a:custGeom>
                <a:avLst/>
                <a:gdLst/>
                <a:ahLst/>
                <a:cxnLst>
                  <a:cxn ang="3cd4">
                    <a:pos x="hc" y="t"/>
                  </a:cxn>
                  <a:cxn ang="cd2">
                    <a:pos x="l" y="vc"/>
                  </a:cxn>
                  <a:cxn ang="cd4">
                    <a:pos x="hc" y="b"/>
                  </a:cxn>
                  <a:cxn ang="0">
                    <a:pos x="r" y="vc"/>
                  </a:cxn>
                </a:cxnLst>
                <a:rect l="l" t="t" r="r" b="b"/>
                <a:pathLst>
                  <a:path w="29" h="29">
                    <a:moveTo>
                      <a:pt x="2" y="7"/>
                    </a:moveTo>
                    <a:cubicBezTo>
                      <a:pt x="6" y="0"/>
                      <a:pt x="15" y="-3"/>
                      <a:pt x="22" y="2"/>
                    </a:cubicBezTo>
                    <a:cubicBezTo>
                      <a:pt x="29" y="5"/>
                      <a:pt x="31" y="15"/>
                      <a:pt x="28" y="21"/>
                    </a:cubicBezTo>
                    <a:cubicBezTo>
                      <a:pt x="23" y="28"/>
                      <a:pt x="15" y="31"/>
                      <a:pt x="7" y="27"/>
                    </a:cubicBezTo>
                    <a:cubicBezTo>
                      <a:pt x="0" y="23"/>
                      <a:pt x="-2" y="14"/>
                      <a:pt x="2" y="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59" name="Freeform: Shape 6652">
                <a:extLst>
                  <a:ext uri="{FF2B5EF4-FFF2-40B4-BE49-F238E27FC236}">
                    <a16:creationId xmlns:a16="http://schemas.microsoft.com/office/drawing/2014/main" xmlns="" id="{AADC6630-39A2-4898-91DF-EA80BA1DFA1C}"/>
                  </a:ext>
                </a:extLst>
              </p:cNvPr>
              <p:cNvSpPr/>
              <p:nvPr/>
            </p:nvSpPr>
            <p:spPr>
              <a:xfrm>
                <a:off x="10476604" y="11461935"/>
                <a:ext cx="88112" cy="88112"/>
              </a:xfrm>
              <a:custGeom>
                <a:avLst/>
                <a:gdLst/>
                <a:ahLst/>
                <a:cxnLst>
                  <a:cxn ang="3cd4">
                    <a:pos x="hc" y="t"/>
                  </a:cxn>
                  <a:cxn ang="cd2">
                    <a:pos x="l" y="vc"/>
                  </a:cxn>
                  <a:cxn ang="cd4">
                    <a:pos x="hc" y="b"/>
                  </a:cxn>
                  <a:cxn ang="0">
                    <a:pos x="r" y="vc"/>
                  </a:cxn>
                </a:cxnLst>
                <a:rect l="l" t="t" r="r" b="b"/>
                <a:pathLst>
                  <a:path w="29" h="29">
                    <a:moveTo>
                      <a:pt x="1" y="9"/>
                    </a:moveTo>
                    <a:cubicBezTo>
                      <a:pt x="3" y="1"/>
                      <a:pt x="12" y="-2"/>
                      <a:pt x="19" y="1"/>
                    </a:cubicBezTo>
                    <a:cubicBezTo>
                      <a:pt x="27" y="4"/>
                      <a:pt x="31" y="13"/>
                      <a:pt x="27" y="20"/>
                    </a:cubicBezTo>
                    <a:cubicBezTo>
                      <a:pt x="24" y="27"/>
                      <a:pt x="16" y="31"/>
                      <a:pt x="8" y="28"/>
                    </a:cubicBezTo>
                    <a:cubicBezTo>
                      <a:pt x="1" y="25"/>
                      <a:pt x="-2" y="16"/>
                      <a:pt x="1" y="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0" name="Freeform: Shape 6653">
                <a:extLst>
                  <a:ext uri="{FF2B5EF4-FFF2-40B4-BE49-F238E27FC236}">
                    <a16:creationId xmlns:a16="http://schemas.microsoft.com/office/drawing/2014/main" xmlns="" id="{F04AF908-518B-45FE-96D2-B2AA47C0BC12}"/>
                  </a:ext>
                </a:extLst>
              </p:cNvPr>
              <p:cNvSpPr/>
              <p:nvPr/>
            </p:nvSpPr>
            <p:spPr>
              <a:xfrm>
                <a:off x="10671709" y="11528018"/>
                <a:ext cx="88112" cy="88112"/>
              </a:xfrm>
              <a:custGeom>
                <a:avLst/>
                <a:gdLst/>
                <a:ahLst/>
                <a:cxnLst>
                  <a:cxn ang="3cd4">
                    <a:pos x="hc" y="t"/>
                  </a:cxn>
                  <a:cxn ang="cd2">
                    <a:pos x="l" y="vc"/>
                  </a:cxn>
                  <a:cxn ang="cd4">
                    <a:pos x="hc" y="b"/>
                  </a:cxn>
                  <a:cxn ang="0">
                    <a:pos x="r" y="vc"/>
                  </a:cxn>
                </a:cxnLst>
                <a:rect l="l" t="t" r="r" b="b"/>
                <a:pathLst>
                  <a:path w="29" h="29">
                    <a:moveTo>
                      <a:pt x="0" y="11"/>
                    </a:moveTo>
                    <a:cubicBezTo>
                      <a:pt x="3" y="3"/>
                      <a:pt x="10" y="-2"/>
                      <a:pt x="18" y="1"/>
                    </a:cubicBezTo>
                    <a:cubicBezTo>
                      <a:pt x="26" y="3"/>
                      <a:pt x="31" y="10"/>
                      <a:pt x="28" y="18"/>
                    </a:cubicBezTo>
                    <a:cubicBezTo>
                      <a:pt x="27" y="26"/>
                      <a:pt x="18" y="31"/>
                      <a:pt x="11" y="29"/>
                    </a:cubicBezTo>
                    <a:cubicBezTo>
                      <a:pt x="3" y="26"/>
                      <a:pt x="-2" y="19"/>
                      <a:pt x="0"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1" name="Freeform: Shape 6654">
                <a:extLst>
                  <a:ext uri="{FF2B5EF4-FFF2-40B4-BE49-F238E27FC236}">
                    <a16:creationId xmlns:a16="http://schemas.microsoft.com/office/drawing/2014/main" xmlns="" id="{53BB139F-705E-47B5-83E6-9C48AD4AC3F4}"/>
                  </a:ext>
                </a:extLst>
              </p:cNvPr>
              <p:cNvSpPr/>
              <p:nvPr/>
            </p:nvSpPr>
            <p:spPr>
              <a:xfrm>
                <a:off x="10876245" y="11568927"/>
                <a:ext cx="88112" cy="88112"/>
              </a:xfrm>
              <a:custGeom>
                <a:avLst/>
                <a:gdLst/>
                <a:ahLst/>
                <a:cxnLst>
                  <a:cxn ang="3cd4">
                    <a:pos x="hc" y="t"/>
                  </a:cxn>
                  <a:cxn ang="cd2">
                    <a:pos x="l" y="vc"/>
                  </a:cxn>
                  <a:cxn ang="cd4">
                    <a:pos x="hc" y="b"/>
                  </a:cxn>
                  <a:cxn ang="0">
                    <a:pos x="r" y="vc"/>
                  </a:cxn>
                </a:cxnLst>
                <a:rect l="l" t="t" r="r" b="b"/>
                <a:pathLst>
                  <a:path w="29" h="29">
                    <a:moveTo>
                      <a:pt x="0" y="12"/>
                    </a:moveTo>
                    <a:cubicBezTo>
                      <a:pt x="1" y="5"/>
                      <a:pt x="8" y="-1"/>
                      <a:pt x="16" y="0"/>
                    </a:cubicBezTo>
                    <a:cubicBezTo>
                      <a:pt x="24" y="1"/>
                      <a:pt x="29" y="8"/>
                      <a:pt x="29" y="16"/>
                    </a:cubicBezTo>
                    <a:cubicBezTo>
                      <a:pt x="28" y="24"/>
                      <a:pt x="20" y="30"/>
                      <a:pt x="12" y="29"/>
                    </a:cubicBezTo>
                    <a:cubicBezTo>
                      <a:pt x="5" y="28"/>
                      <a:pt x="-2" y="21"/>
                      <a:pt x="0"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2" name="Freeform: Shape 6655">
                <a:extLst>
                  <a:ext uri="{FF2B5EF4-FFF2-40B4-BE49-F238E27FC236}">
                    <a16:creationId xmlns:a16="http://schemas.microsoft.com/office/drawing/2014/main" xmlns="" id="{0585147B-6492-4C0B-A53D-8893543428A5}"/>
                  </a:ext>
                </a:extLst>
              </p:cNvPr>
              <p:cNvSpPr/>
              <p:nvPr/>
            </p:nvSpPr>
            <p:spPr>
              <a:xfrm>
                <a:off x="10671709" y="11528018"/>
                <a:ext cx="88112" cy="88112"/>
              </a:xfrm>
              <a:custGeom>
                <a:avLst/>
                <a:gdLst/>
                <a:ahLst/>
                <a:cxnLst>
                  <a:cxn ang="3cd4">
                    <a:pos x="hc" y="t"/>
                  </a:cxn>
                  <a:cxn ang="cd2">
                    <a:pos x="l" y="vc"/>
                  </a:cxn>
                  <a:cxn ang="cd4">
                    <a:pos x="hc" y="b"/>
                  </a:cxn>
                  <a:cxn ang="0">
                    <a:pos x="r" y="vc"/>
                  </a:cxn>
                </a:cxnLst>
                <a:rect l="l" t="t" r="r" b="b"/>
                <a:pathLst>
                  <a:path w="29" h="29">
                    <a:moveTo>
                      <a:pt x="0" y="11"/>
                    </a:moveTo>
                    <a:cubicBezTo>
                      <a:pt x="3" y="3"/>
                      <a:pt x="10" y="-2"/>
                      <a:pt x="18" y="1"/>
                    </a:cubicBezTo>
                    <a:cubicBezTo>
                      <a:pt x="26" y="3"/>
                      <a:pt x="31" y="10"/>
                      <a:pt x="28" y="18"/>
                    </a:cubicBezTo>
                    <a:cubicBezTo>
                      <a:pt x="27" y="26"/>
                      <a:pt x="18" y="31"/>
                      <a:pt x="11" y="29"/>
                    </a:cubicBezTo>
                    <a:cubicBezTo>
                      <a:pt x="3" y="26"/>
                      <a:pt x="-2" y="19"/>
                      <a:pt x="0"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3" name="Freeform: Shape 6656">
                <a:extLst>
                  <a:ext uri="{FF2B5EF4-FFF2-40B4-BE49-F238E27FC236}">
                    <a16:creationId xmlns:a16="http://schemas.microsoft.com/office/drawing/2014/main" xmlns="" id="{D603865B-3E68-42B3-8769-077495E2ED03}"/>
                  </a:ext>
                </a:extLst>
              </p:cNvPr>
              <p:cNvSpPr/>
              <p:nvPr/>
            </p:nvSpPr>
            <p:spPr>
              <a:xfrm>
                <a:off x="10876245" y="11568927"/>
                <a:ext cx="88112" cy="88112"/>
              </a:xfrm>
              <a:custGeom>
                <a:avLst/>
                <a:gdLst/>
                <a:ahLst/>
                <a:cxnLst>
                  <a:cxn ang="3cd4">
                    <a:pos x="hc" y="t"/>
                  </a:cxn>
                  <a:cxn ang="cd2">
                    <a:pos x="l" y="vc"/>
                  </a:cxn>
                  <a:cxn ang="cd4">
                    <a:pos x="hc" y="b"/>
                  </a:cxn>
                  <a:cxn ang="0">
                    <a:pos x="r" y="vc"/>
                  </a:cxn>
                </a:cxnLst>
                <a:rect l="l" t="t" r="r" b="b"/>
                <a:pathLst>
                  <a:path w="29" h="29">
                    <a:moveTo>
                      <a:pt x="0" y="12"/>
                    </a:moveTo>
                    <a:cubicBezTo>
                      <a:pt x="1" y="5"/>
                      <a:pt x="8" y="-1"/>
                      <a:pt x="16" y="0"/>
                    </a:cubicBezTo>
                    <a:cubicBezTo>
                      <a:pt x="24" y="1"/>
                      <a:pt x="29" y="8"/>
                      <a:pt x="29" y="16"/>
                    </a:cubicBezTo>
                    <a:cubicBezTo>
                      <a:pt x="28" y="24"/>
                      <a:pt x="20" y="30"/>
                      <a:pt x="12" y="29"/>
                    </a:cubicBezTo>
                    <a:cubicBezTo>
                      <a:pt x="5" y="28"/>
                      <a:pt x="-2" y="21"/>
                      <a:pt x="0"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4" name="Freeform: Shape 6657">
                <a:extLst>
                  <a:ext uri="{FF2B5EF4-FFF2-40B4-BE49-F238E27FC236}">
                    <a16:creationId xmlns:a16="http://schemas.microsoft.com/office/drawing/2014/main" xmlns="" id="{627FF9E5-6D30-450A-A4BD-624E6523F5E9}"/>
                  </a:ext>
                </a:extLst>
              </p:cNvPr>
              <p:cNvSpPr/>
              <p:nvPr/>
            </p:nvSpPr>
            <p:spPr>
              <a:xfrm>
                <a:off x="9617516" y="10602846"/>
                <a:ext cx="88112" cy="84965"/>
              </a:xfrm>
              <a:custGeom>
                <a:avLst/>
                <a:gdLst/>
                <a:ahLst/>
                <a:cxnLst>
                  <a:cxn ang="3cd4">
                    <a:pos x="hc" y="t"/>
                  </a:cxn>
                  <a:cxn ang="cd2">
                    <a:pos x="l" y="vc"/>
                  </a:cxn>
                  <a:cxn ang="cd4">
                    <a:pos x="hc" y="b"/>
                  </a:cxn>
                  <a:cxn ang="0">
                    <a:pos x="r" y="vc"/>
                  </a:cxn>
                </a:cxnLst>
                <a:rect l="l" t="t" r="r" b="b"/>
                <a:pathLst>
                  <a:path w="29" h="28">
                    <a:moveTo>
                      <a:pt x="20" y="27"/>
                    </a:moveTo>
                    <a:cubicBezTo>
                      <a:pt x="28" y="24"/>
                      <a:pt x="31" y="16"/>
                      <a:pt x="28" y="9"/>
                    </a:cubicBezTo>
                    <a:cubicBezTo>
                      <a:pt x="25" y="1"/>
                      <a:pt x="16" y="-2"/>
                      <a:pt x="9" y="1"/>
                    </a:cubicBezTo>
                    <a:cubicBezTo>
                      <a:pt x="2" y="4"/>
                      <a:pt x="-2" y="12"/>
                      <a:pt x="1" y="20"/>
                    </a:cubicBezTo>
                    <a:cubicBezTo>
                      <a:pt x="4" y="27"/>
                      <a:pt x="13" y="30"/>
                      <a:pt x="20" y="2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5" name="Freeform: Shape 6658">
                <a:extLst>
                  <a:ext uri="{FF2B5EF4-FFF2-40B4-BE49-F238E27FC236}">
                    <a16:creationId xmlns:a16="http://schemas.microsoft.com/office/drawing/2014/main" xmlns="" id="{0DA66E59-BF97-41E6-8688-E36E7C5E764D}"/>
                  </a:ext>
                </a:extLst>
              </p:cNvPr>
              <p:cNvSpPr/>
              <p:nvPr/>
            </p:nvSpPr>
            <p:spPr>
              <a:xfrm>
                <a:off x="9548285" y="10404587"/>
                <a:ext cx="88112" cy="88112"/>
              </a:xfrm>
              <a:custGeom>
                <a:avLst/>
                <a:gdLst/>
                <a:ahLst/>
                <a:cxnLst>
                  <a:cxn ang="3cd4">
                    <a:pos x="hc" y="t"/>
                  </a:cxn>
                  <a:cxn ang="cd2">
                    <a:pos x="l" y="vc"/>
                  </a:cxn>
                  <a:cxn ang="cd4">
                    <a:pos x="hc" y="b"/>
                  </a:cxn>
                  <a:cxn ang="0">
                    <a:pos x="r" y="vc"/>
                  </a:cxn>
                </a:cxnLst>
                <a:rect l="l" t="t" r="r" b="b"/>
                <a:pathLst>
                  <a:path w="29" h="29">
                    <a:moveTo>
                      <a:pt x="18" y="28"/>
                    </a:moveTo>
                    <a:cubicBezTo>
                      <a:pt x="26" y="26"/>
                      <a:pt x="31" y="19"/>
                      <a:pt x="28" y="11"/>
                    </a:cubicBezTo>
                    <a:cubicBezTo>
                      <a:pt x="27" y="3"/>
                      <a:pt x="18" y="-2"/>
                      <a:pt x="11" y="1"/>
                    </a:cubicBezTo>
                    <a:cubicBezTo>
                      <a:pt x="3" y="3"/>
                      <a:pt x="-2" y="10"/>
                      <a:pt x="0" y="18"/>
                    </a:cubicBezTo>
                    <a:cubicBezTo>
                      <a:pt x="3" y="26"/>
                      <a:pt x="10" y="31"/>
                      <a:pt x="18"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6" name="Freeform: Shape 6659">
                <a:extLst>
                  <a:ext uri="{FF2B5EF4-FFF2-40B4-BE49-F238E27FC236}">
                    <a16:creationId xmlns:a16="http://schemas.microsoft.com/office/drawing/2014/main" xmlns="" id="{0F2409AA-331A-43A7-823A-301DC2220764}"/>
                  </a:ext>
                </a:extLst>
              </p:cNvPr>
              <p:cNvSpPr/>
              <p:nvPr/>
            </p:nvSpPr>
            <p:spPr>
              <a:xfrm>
                <a:off x="9507376" y="10200042"/>
                <a:ext cx="88112" cy="88112"/>
              </a:xfrm>
              <a:custGeom>
                <a:avLst/>
                <a:gdLst/>
                <a:ahLst/>
                <a:cxnLst>
                  <a:cxn ang="3cd4">
                    <a:pos x="hc" y="t"/>
                  </a:cxn>
                  <a:cxn ang="cd2">
                    <a:pos x="l" y="vc"/>
                  </a:cxn>
                  <a:cxn ang="cd4">
                    <a:pos x="hc" y="b"/>
                  </a:cxn>
                  <a:cxn ang="0">
                    <a:pos x="r" y="vc"/>
                  </a:cxn>
                </a:cxnLst>
                <a:rect l="l" t="t" r="r" b="b"/>
                <a:pathLst>
                  <a:path w="29" h="29">
                    <a:moveTo>
                      <a:pt x="16" y="29"/>
                    </a:moveTo>
                    <a:cubicBezTo>
                      <a:pt x="24" y="28"/>
                      <a:pt x="30" y="21"/>
                      <a:pt x="29" y="13"/>
                    </a:cubicBezTo>
                    <a:cubicBezTo>
                      <a:pt x="28" y="5"/>
                      <a:pt x="21" y="0"/>
                      <a:pt x="13" y="0"/>
                    </a:cubicBezTo>
                    <a:cubicBezTo>
                      <a:pt x="5" y="2"/>
                      <a:pt x="-1" y="9"/>
                      <a:pt x="0" y="17"/>
                    </a:cubicBezTo>
                    <a:cubicBezTo>
                      <a:pt x="1" y="25"/>
                      <a:pt x="9" y="30"/>
                      <a:pt x="16"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7" name="Freeform: Shape 6660">
                <a:extLst>
                  <a:ext uri="{FF2B5EF4-FFF2-40B4-BE49-F238E27FC236}">
                    <a16:creationId xmlns:a16="http://schemas.microsoft.com/office/drawing/2014/main" xmlns="" id="{502DBE2D-3579-44B4-B780-4E1D6483EA39}"/>
                  </a:ext>
                </a:extLst>
              </p:cNvPr>
              <p:cNvSpPr/>
              <p:nvPr/>
            </p:nvSpPr>
            <p:spPr>
              <a:xfrm>
                <a:off x="9497936" y="9992350"/>
                <a:ext cx="88112" cy="88112"/>
              </a:xfrm>
              <a:custGeom>
                <a:avLst/>
                <a:gdLst/>
                <a:ahLst/>
                <a:cxnLst>
                  <a:cxn ang="3cd4">
                    <a:pos x="hc" y="t"/>
                  </a:cxn>
                  <a:cxn ang="cd2">
                    <a:pos x="l" y="vc"/>
                  </a:cxn>
                  <a:cxn ang="cd4">
                    <a:pos x="hc" y="b"/>
                  </a:cxn>
                  <a:cxn ang="0">
                    <a:pos x="r" y="vc"/>
                  </a:cxn>
                </a:cxnLst>
                <a:rect l="l" t="t" r="r" b="b"/>
                <a:pathLst>
                  <a:path w="29" h="29">
                    <a:moveTo>
                      <a:pt x="14" y="29"/>
                    </a:moveTo>
                    <a:cubicBezTo>
                      <a:pt x="22" y="29"/>
                      <a:pt x="29" y="23"/>
                      <a:pt x="29" y="15"/>
                    </a:cubicBezTo>
                    <a:cubicBezTo>
                      <a:pt x="29" y="7"/>
                      <a:pt x="22" y="0"/>
                      <a:pt x="14" y="0"/>
                    </a:cubicBezTo>
                    <a:cubicBezTo>
                      <a:pt x="6" y="0"/>
                      <a:pt x="0" y="7"/>
                      <a:pt x="0" y="15"/>
                    </a:cubicBezTo>
                    <a:cubicBezTo>
                      <a:pt x="0" y="23"/>
                      <a:pt x="6" y="29"/>
                      <a:pt x="14"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8" name="Freeform: Shape 6661">
                <a:extLst>
                  <a:ext uri="{FF2B5EF4-FFF2-40B4-BE49-F238E27FC236}">
                    <a16:creationId xmlns:a16="http://schemas.microsoft.com/office/drawing/2014/main" xmlns="" id="{5067D419-97AC-4758-9281-98DEEF4E8066}"/>
                  </a:ext>
                </a:extLst>
              </p:cNvPr>
              <p:cNvSpPr/>
              <p:nvPr/>
            </p:nvSpPr>
            <p:spPr>
              <a:xfrm>
                <a:off x="9507376" y="9784667"/>
                <a:ext cx="88112" cy="88112"/>
              </a:xfrm>
              <a:custGeom>
                <a:avLst/>
                <a:gdLst/>
                <a:ahLst/>
                <a:cxnLst>
                  <a:cxn ang="3cd4">
                    <a:pos x="hc" y="t"/>
                  </a:cxn>
                  <a:cxn ang="cd2">
                    <a:pos x="l" y="vc"/>
                  </a:cxn>
                  <a:cxn ang="cd4">
                    <a:pos x="hc" y="b"/>
                  </a:cxn>
                  <a:cxn ang="0">
                    <a:pos x="r" y="vc"/>
                  </a:cxn>
                </a:cxnLst>
                <a:rect l="l" t="t" r="r" b="b"/>
                <a:pathLst>
                  <a:path w="29" h="29">
                    <a:moveTo>
                      <a:pt x="13" y="29"/>
                    </a:moveTo>
                    <a:cubicBezTo>
                      <a:pt x="21" y="30"/>
                      <a:pt x="28" y="25"/>
                      <a:pt x="29" y="17"/>
                    </a:cubicBezTo>
                    <a:cubicBezTo>
                      <a:pt x="30" y="9"/>
                      <a:pt x="24" y="2"/>
                      <a:pt x="16" y="0"/>
                    </a:cubicBezTo>
                    <a:cubicBezTo>
                      <a:pt x="9" y="0"/>
                      <a:pt x="1" y="5"/>
                      <a:pt x="0" y="13"/>
                    </a:cubicBezTo>
                    <a:cubicBezTo>
                      <a:pt x="-1" y="21"/>
                      <a:pt x="5" y="28"/>
                      <a:pt x="13"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69" name="Freeform: Shape 6662">
                <a:extLst>
                  <a:ext uri="{FF2B5EF4-FFF2-40B4-BE49-F238E27FC236}">
                    <a16:creationId xmlns:a16="http://schemas.microsoft.com/office/drawing/2014/main" xmlns="" id="{6E07E862-A1E0-4C06-BB0A-640C2E4E419B}"/>
                  </a:ext>
                </a:extLst>
              </p:cNvPr>
              <p:cNvSpPr/>
              <p:nvPr/>
            </p:nvSpPr>
            <p:spPr>
              <a:xfrm>
                <a:off x="9548285" y="9583269"/>
                <a:ext cx="88112" cy="88112"/>
              </a:xfrm>
              <a:custGeom>
                <a:avLst/>
                <a:gdLst/>
                <a:ahLst/>
                <a:cxnLst>
                  <a:cxn ang="3cd4">
                    <a:pos x="hc" y="t"/>
                  </a:cxn>
                  <a:cxn ang="cd2">
                    <a:pos x="l" y="vc"/>
                  </a:cxn>
                  <a:cxn ang="cd4">
                    <a:pos x="hc" y="b"/>
                  </a:cxn>
                  <a:cxn ang="0">
                    <a:pos x="r" y="vc"/>
                  </a:cxn>
                </a:cxnLst>
                <a:rect l="l" t="t" r="r" b="b"/>
                <a:pathLst>
                  <a:path w="29" h="29">
                    <a:moveTo>
                      <a:pt x="11" y="29"/>
                    </a:moveTo>
                    <a:cubicBezTo>
                      <a:pt x="18" y="32"/>
                      <a:pt x="27" y="27"/>
                      <a:pt x="28" y="19"/>
                    </a:cubicBezTo>
                    <a:cubicBezTo>
                      <a:pt x="31" y="11"/>
                      <a:pt x="26" y="3"/>
                      <a:pt x="18" y="1"/>
                    </a:cubicBezTo>
                    <a:cubicBezTo>
                      <a:pt x="10" y="-1"/>
                      <a:pt x="3" y="3"/>
                      <a:pt x="0" y="11"/>
                    </a:cubicBezTo>
                    <a:cubicBezTo>
                      <a:pt x="-2" y="19"/>
                      <a:pt x="3" y="27"/>
                      <a:pt x="11"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0" name="Freeform: Shape 6663">
                <a:extLst>
                  <a:ext uri="{FF2B5EF4-FFF2-40B4-BE49-F238E27FC236}">
                    <a16:creationId xmlns:a16="http://schemas.microsoft.com/office/drawing/2014/main" xmlns="" id="{B3B86130-8FCD-4AF4-BA58-40AF38287647}"/>
                  </a:ext>
                </a:extLst>
              </p:cNvPr>
              <p:cNvSpPr/>
              <p:nvPr/>
            </p:nvSpPr>
            <p:spPr>
              <a:xfrm>
                <a:off x="9617516" y="9385018"/>
                <a:ext cx="88112" cy="88112"/>
              </a:xfrm>
              <a:custGeom>
                <a:avLst/>
                <a:gdLst/>
                <a:ahLst/>
                <a:cxnLst>
                  <a:cxn ang="3cd4">
                    <a:pos x="hc" y="t"/>
                  </a:cxn>
                  <a:cxn ang="cd2">
                    <a:pos x="l" y="vc"/>
                  </a:cxn>
                  <a:cxn ang="cd4">
                    <a:pos x="hc" y="b"/>
                  </a:cxn>
                  <a:cxn ang="0">
                    <a:pos x="r" y="vc"/>
                  </a:cxn>
                </a:cxnLst>
                <a:rect l="l" t="t" r="r" b="b"/>
                <a:pathLst>
                  <a:path w="29" h="29">
                    <a:moveTo>
                      <a:pt x="9" y="28"/>
                    </a:moveTo>
                    <a:cubicBezTo>
                      <a:pt x="16" y="31"/>
                      <a:pt x="25" y="28"/>
                      <a:pt x="28" y="20"/>
                    </a:cubicBezTo>
                    <a:cubicBezTo>
                      <a:pt x="31" y="13"/>
                      <a:pt x="28" y="5"/>
                      <a:pt x="20" y="1"/>
                    </a:cubicBezTo>
                    <a:cubicBezTo>
                      <a:pt x="13" y="-2"/>
                      <a:pt x="4" y="2"/>
                      <a:pt x="1" y="9"/>
                    </a:cubicBezTo>
                    <a:cubicBezTo>
                      <a:pt x="-2" y="17"/>
                      <a:pt x="2" y="25"/>
                      <a:pt x="9"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grpSp>
          <p:nvGrpSpPr>
            <p:cNvPr id="71" name="Group 366">
              <a:extLst>
                <a:ext uri="{FF2B5EF4-FFF2-40B4-BE49-F238E27FC236}">
                  <a16:creationId xmlns:a16="http://schemas.microsoft.com/office/drawing/2014/main" xmlns="" id="{D6AE428E-002B-4AB9-B5F8-83A9CD4F56A8}"/>
                </a:ext>
              </a:extLst>
            </p:cNvPr>
            <p:cNvGrpSpPr/>
            <p:nvPr/>
          </p:nvGrpSpPr>
          <p:grpSpPr>
            <a:xfrm>
              <a:off x="8495576" y="4554126"/>
              <a:ext cx="551235" cy="852230"/>
              <a:chOff x="16732529" y="9385018"/>
              <a:chExt cx="1469576" cy="2272021"/>
            </a:xfrm>
            <a:solidFill>
              <a:schemeClr val="accent2">
                <a:lumMod val="75000"/>
              </a:schemeClr>
            </a:solidFill>
          </p:grpSpPr>
          <p:sp>
            <p:nvSpPr>
              <p:cNvPr id="72" name="Freeform: Shape 6664">
                <a:extLst>
                  <a:ext uri="{FF2B5EF4-FFF2-40B4-BE49-F238E27FC236}">
                    <a16:creationId xmlns:a16="http://schemas.microsoft.com/office/drawing/2014/main" xmlns="" id="{E90F14F2-0999-44B9-A6C5-5E71021C9AC7}"/>
                  </a:ext>
                </a:extLst>
              </p:cNvPr>
              <p:cNvSpPr/>
              <p:nvPr/>
            </p:nvSpPr>
            <p:spPr>
              <a:xfrm>
                <a:off x="17900008" y="10788510"/>
                <a:ext cx="88112" cy="88112"/>
              </a:xfrm>
              <a:custGeom>
                <a:avLst/>
                <a:gdLst/>
                <a:ahLst/>
                <a:cxnLst>
                  <a:cxn ang="3cd4">
                    <a:pos x="hc" y="t"/>
                  </a:cxn>
                  <a:cxn ang="cd2">
                    <a:pos x="l" y="vc"/>
                  </a:cxn>
                  <a:cxn ang="cd4">
                    <a:pos x="hc" y="b"/>
                  </a:cxn>
                  <a:cxn ang="0">
                    <a:pos x="r" y="vc"/>
                  </a:cxn>
                </a:cxnLst>
                <a:rect l="l" t="t" r="r" b="b"/>
                <a:pathLst>
                  <a:path w="29" h="29">
                    <a:moveTo>
                      <a:pt x="7" y="27"/>
                    </a:moveTo>
                    <a:cubicBezTo>
                      <a:pt x="0" y="23"/>
                      <a:pt x="-2" y="14"/>
                      <a:pt x="2" y="7"/>
                    </a:cubicBezTo>
                    <a:cubicBezTo>
                      <a:pt x="6" y="0"/>
                      <a:pt x="15" y="-2"/>
                      <a:pt x="22" y="2"/>
                    </a:cubicBezTo>
                    <a:cubicBezTo>
                      <a:pt x="29" y="6"/>
                      <a:pt x="31" y="15"/>
                      <a:pt x="27" y="22"/>
                    </a:cubicBezTo>
                    <a:cubicBezTo>
                      <a:pt x="23" y="28"/>
                      <a:pt x="14" y="31"/>
                      <a:pt x="7" y="2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3" name="Freeform: Shape 6665">
                <a:extLst>
                  <a:ext uri="{FF2B5EF4-FFF2-40B4-BE49-F238E27FC236}">
                    <a16:creationId xmlns:a16="http://schemas.microsoft.com/office/drawing/2014/main" xmlns="" id="{ED12281C-E1D6-4717-AB98-3543E9DF575E}"/>
                  </a:ext>
                </a:extLst>
              </p:cNvPr>
              <p:cNvSpPr/>
              <p:nvPr/>
            </p:nvSpPr>
            <p:spPr>
              <a:xfrm>
                <a:off x="17991266" y="10602846"/>
                <a:ext cx="88112" cy="84965"/>
              </a:xfrm>
              <a:custGeom>
                <a:avLst/>
                <a:gdLst/>
                <a:ahLst/>
                <a:cxnLst>
                  <a:cxn ang="3cd4">
                    <a:pos x="hc" y="t"/>
                  </a:cxn>
                  <a:cxn ang="cd2">
                    <a:pos x="l" y="vc"/>
                  </a:cxn>
                  <a:cxn ang="cd4">
                    <a:pos x="hc" y="b"/>
                  </a:cxn>
                  <a:cxn ang="0">
                    <a:pos x="r" y="vc"/>
                  </a:cxn>
                </a:cxnLst>
                <a:rect l="l" t="t" r="r" b="b"/>
                <a:pathLst>
                  <a:path w="29" h="28">
                    <a:moveTo>
                      <a:pt x="9" y="27"/>
                    </a:moveTo>
                    <a:cubicBezTo>
                      <a:pt x="2" y="24"/>
                      <a:pt x="-2" y="16"/>
                      <a:pt x="1" y="9"/>
                    </a:cubicBezTo>
                    <a:cubicBezTo>
                      <a:pt x="5" y="1"/>
                      <a:pt x="13" y="-2"/>
                      <a:pt x="20" y="1"/>
                    </a:cubicBezTo>
                    <a:cubicBezTo>
                      <a:pt x="28" y="4"/>
                      <a:pt x="31" y="12"/>
                      <a:pt x="28" y="20"/>
                    </a:cubicBezTo>
                    <a:cubicBezTo>
                      <a:pt x="25" y="27"/>
                      <a:pt x="16" y="30"/>
                      <a:pt x="9" y="2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4" name="Freeform: Shape 6666">
                <a:extLst>
                  <a:ext uri="{FF2B5EF4-FFF2-40B4-BE49-F238E27FC236}">
                    <a16:creationId xmlns:a16="http://schemas.microsoft.com/office/drawing/2014/main" xmlns="" id="{D617A098-C66F-47C0-BD4D-A4580FFABEFF}"/>
                  </a:ext>
                </a:extLst>
              </p:cNvPr>
              <p:cNvSpPr/>
              <p:nvPr/>
            </p:nvSpPr>
            <p:spPr>
              <a:xfrm>
                <a:off x="18060497" y="10404587"/>
                <a:ext cx="88112" cy="88112"/>
              </a:xfrm>
              <a:custGeom>
                <a:avLst/>
                <a:gdLst/>
                <a:ahLst/>
                <a:cxnLst>
                  <a:cxn ang="3cd4">
                    <a:pos x="hc" y="t"/>
                  </a:cxn>
                  <a:cxn ang="cd2">
                    <a:pos x="l" y="vc"/>
                  </a:cxn>
                  <a:cxn ang="cd4">
                    <a:pos x="hc" y="b"/>
                  </a:cxn>
                  <a:cxn ang="0">
                    <a:pos x="r" y="vc"/>
                  </a:cxn>
                </a:cxnLst>
                <a:rect l="l" t="t" r="r" b="b"/>
                <a:pathLst>
                  <a:path w="29" h="29">
                    <a:moveTo>
                      <a:pt x="11" y="28"/>
                    </a:moveTo>
                    <a:cubicBezTo>
                      <a:pt x="3" y="26"/>
                      <a:pt x="-1" y="19"/>
                      <a:pt x="1" y="11"/>
                    </a:cubicBezTo>
                    <a:cubicBezTo>
                      <a:pt x="3" y="3"/>
                      <a:pt x="11" y="-2"/>
                      <a:pt x="19" y="1"/>
                    </a:cubicBezTo>
                    <a:cubicBezTo>
                      <a:pt x="27" y="3"/>
                      <a:pt x="31" y="10"/>
                      <a:pt x="29" y="18"/>
                    </a:cubicBezTo>
                    <a:cubicBezTo>
                      <a:pt x="27" y="26"/>
                      <a:pt x="19" y="31"/>
                      <a:pt x="11"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5" name="Freeform: Shape 6667">
                <a:extLst>
                  <a:ext uri="{FF2B5EF4-FFF2-40B4-BE49-F238E27FC236}">
                    <a16:creationId xmlns:a16="http://schemas.microsoft.com/office/drawing/2014/main" xmlns="" id="{75CC5B73-6FC1-4012-980E-0EFA4B09B23F}"/>
                  </a:ext>
                </a:extLst>
              </p:cNvPr>
              <p:cNvSpPr/>
              <p:nvPr/>
            </p:nvSpPr>
            <p:spPr>
              <a:xfrm>
                <a:off x="18101406" y="10200042"/>
                <a:ext cx="88112" cy="88112"/>
              </a:xfrm>
              <a:custGeom>
                <a:avLst/>
                <a:gdLst/>
                <a:ahLst/>
                <a:cxnLst>
                  <a:cxn ang="3cd4">
                    <a:pos x="hc" y="t"/>
                  </a:cxn>
                  <a:cxn ang="cd2">
                    <a:pos x="l" y="vc"/>
                  </a:cxn>
                  <a:cxn ang="cd4">
                    <a:pos x="hc" y="b"/>
                  </a:cxn>
                  <a:cxn ang="0">
                    <a:pos x="r" y="vc"/>
                  </a:cxn>
                </a:cxnLst>
                <a:rect l="l" t="t" r="r" b="b"/>
                <a:pathLst>
                  <a:path w="29" h="29">
                    <a:moveTo>
                      <a:pt x="12" y="29"/>
                    </a:moveTo>
                    <a:cubicBezTo>
                      <a:pt x="4" y="28"/>
                      <a:pt x="-2" y="21"/>
                      <a:pt x="0" y="13"/>
                    </a:cubicBezTo>
                    <a:cubicBezTo>
                      <a:pt x="0" y="5"/>
                      <a:pt x="8" y="0"/>
                      <a:pt x="16" y="0"/>
                    </a:cubicBezTo>
                    <a:cubicBezTo>
                      <a:pt x="24" y="2"/>
                      <a:pt x="29" y="9"/>
                      <a:pt x="28" y="17"/>
                    </a:cubicBezTo>
                    <a:cubicBezTo>
                      <a:pt x="27" y="25"/>
                      <a:pt x="20" y="30"/>
                      <a:pt x="12"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6" name="Freeform: Shape 6668">
                <a:extLst>
                  <a:ext uri="{FF2B5EF4-FFF2-40B4-BE49-F238E27FC236}">
                    <a16:creationId xmlns:a16="http://schemas.microsoft.com/office/drawing/2014/main" xmlns="" id="{59B2F79C-4053-4874-AE38-42B22346964B}"/>
                  </a:ext>
                </a:extLst>
              </p:cNvPr>
              <p:cNvSpPr/>
              <p:nvPr/>
            </p:nvSpPr>
            <p:spPr>
              <a:xfrm>
                <a:off x="18110847" y="9992350"/>
                <a:ext cx="91258" cy="88112"/>
              </a:xfrm>
              <a:custGeom>
                <a:avLst/>
                <a:gdLst/>
                <a:ahLst/>
                <a:cxnLst>
                  <a:cxn ang="3cd4">
                    <a:pos x="hc" y="t"/>
                  </a:cxn>
                  <a:cxn ang="cd2">
                    <a:pos x="l" y="vc"/>
                  </a:cxn>
                  <a:cxn ang="cd4">
                    <a:pos x="hc" y="b"/>
                  </a:cxn>
                  <a:cxn ang="0">
                    <a:pos x="r" y="vc"/>
                  </a:cxn>
                </a:cxnLst>
                <a:rect l="l" t="t" r="r" b="b"/>
                <a:pathLst>
                  <a:path w="30" h="29">
                    <a:moveTo>
                      <a:pt x="15" y="29"/>
                    </a:moveTo>
                    <a:cubicBezTo>
                      <a:pt x="7" y="29"/>
                      <a:pt x="0" y="23"/>
                      <a:pt x="0" y="15"/>
                    </a:cubicBezTo>
                    <a:cubicBezTo>
                      <a:pt x="0" y="7"/>
                      <a:pt x="7" y="0"/>
                      <a:pt x="15" y="0"/>
                    </a:cubicBezTo>
                    <a:cubicBezTo>
                      <a:pt x="23" y="0"/>
                      <a:pt x="30" y="7"/>
                      <a:pt x="30" y="15"/>
                    </a:cubicBezTo>
                    <a:cubicBezTo>
                      <a:pt x="30" y="23"/>
                      <a:pt x="23" y="29"/>
                      <a:pt x="15"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7" name="Freeform: Shape 6669">
                <a:extLst>
                  <a:ext uri="{FF2B5EF4-FFF2-40B4-BE49-F238E27FC236}">
                    <a16:creationId xmlns:a16="http://schemas.microsoft.com/office/drawing/2014/main" xmlns="" id="{B4C58A20-0E15-414E-B54B-1CF08DA0ECCC}"/>
                  </a:ext>
                </a:extLst>
              </p:cNvPr>
              <p:cNvSpPr/>
              <p:nvPr/>
            </p:nvSpPr>
            <p:spPr>
              <a:xfrm>
                <a:off x="18101406" y="9784667"/>
                <a:ext cx="88112" cy="88112"/>
              </a:xfrm>
              <a:custGeom>
                <a:avLst/>
                <a:gdLst/>
                <a:ahLst/>
                <a:cxnLst>
                  <a:cxn ang="3cd4">
                    <a:pos x="hc" y="t"/>
                  </a:cxn>
                  <a:cxn ang="cd2">
                    <a:pos x="l" y="vc"/>
                  </a:cxn>
                  <a:cxn ang="cd4">
                    <a:pos x="hc" y="b"/>
                  </a:cxn>
                  <a:cxn ang="0">
                    <a:pos x="r" y="vc"/>
                  </a:cxn>
                </a:cxnLst>
                <a:rect l="l" t="t" r="r" b="b"/>
                <a:pathLst>
                  <a:path w="29" h="29">
                    <a:moveTo>
                      <a:pt x="16" y="29"/>
                    </a:moveTo>
                    <a:cubicBezTo>
                      <a:pt x="8" y="30"/>
                      <a:pt x="0" y="25"/>
                      <a:pt x="0" y="17"/>
                    </a:cubicBezTo>
                    <a:cubicBezTo>
                      <a:pt x="-2" y="9"/>
                      <a:pt x="4" y="2"/>
                      <a:pt x="12" y="0"/>
                    </a:cubicBezTo>
                    <a:cubicBezTo>
                      <a:pt x="20" y="0"/>
                      <a:pt x="27" y="5"/>
                      <a:pt x="28" y="13"/>
                    </a:cubicBezTo>
                    <a:cubicBezTo>
                      <a:pt x="29" y="21"/>
                      <a:pt x="24" y="28"/>
                      <a:pt x="16"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8" name="Freeform: Shape 6670">
                <a:extLst>
                  <a:ext uri="{FF2B5EF4-FFF2-40B4-BE49-F238E27FC236}">
                    <a16:creationId xmlns:a16="http://schemas.microsoft.com/office/drawing/2014/main" xmlns="" id="{43750A01-8173-4640-B063-C2D1A5DC1073}"/>
                  </a:ext>
                </a:extLst>
              </p:cNvPr>
              <p:cNvSpPr/>
              <p:nvPr/>
            </p:nvSpPr>
            <p:spPr>
              <a:xfrm>
                <a:off x="18060497" y="9583269"/>
                <a:ext cx="88112" cy="88112"/>
              </a:xfrm>
              <a:custGeom>
                <a:avLst/>
                <a:gdLst/>
                <a:ahLst/>
                <a:cxnLst>
                  <a:cxn ang="3cd4">
                    <a:pos x="hc" y="t"/>
                  </a:cxn>
                  <a:cxn ang="cd2">
                    <a:pos x="l" y="vc"/>
                  </a:cxn>
                  <a:cxn ang="cd4">
                    <a:pos x="hc" y="b"/>
                  </a:cxn>
                  <a:cxn ang="0">
                    <a:pos x="r" y="vc"/>
                  </a:cxn>
                </a:cxnLst>
                <a:rect l="l" t="t" r="r" b="b"/>
                <a:pathLst>
                  <a:path w="29" h="29">
                    <a:moveTo>
                      <a:pt x="19" y="29"/>
                    </a:moveTo>
                    <a:cubicBezTo>
                      <a:pt x="11" y="32"/>
                      <a:pt x="3" y="27"/>
                      <a:pt x="1" y="19"/>
                    </a:cubicBezTo>
                    <a:cubicBezTo>
                      <a:pt x="-1" y="11"/>
                      <a:pt x="3" y="3"/>
                      <a:pt x="11" y="1"/>
                    </a:cubicBezTo>
                    <a:cubicBezTo>
                      <a:pt x="19" y="-1"/>
                      <a:pt x="27" y="3"/>
                      <a:pt x="29" y="11"/>
                    </a:cubicBezTo>
                    <a:cubicBezTo>
                      <a:pt x="31" y="19"/>
                      <a:pt x="27" y="27"/>
                      <a:pt x="19"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79" name="Freeform: Shape 6671">
                <a:extLst>
                  <a:ext uri="{FF2B5EF4-FFF2-40B4-BE49-F238E27FC236}">
                    <a16:creationId xmlns:a16="http://schemas.microsoft.com/office/drawing/2014/main" xmlns="" id="{5F7D5123-F033-4F35-96CD-6F80A66CDEB3}"/>
                  </a:ext>
                </a:extLst>
              </p:cNvPr>
              <p:cNvSpPr/>
              <p:nvPr/>
            </p:nvSpPr>
            <p:spPr>
              <a:xfrm>
                <a:off x="17991266" y="9385018"/>
                <a:ext cx="88112" cy="88112"/>
              </a:xfrm>
              <a:custGeom>
                <a:avLst/>
                <a:gdLst/>
                <a:ahLst/>
                <a:cxnLst>
                  <a:cxn ang="3cd4">
                    <a:pos x="hc" y="t"/>
                  </a:cxn>
                  <a:cxn ang="cd2">
                    <a:pos x="l" y="vc"/>
                  </a:cxn>
                  <a:cxn ang="cd4">
                    <a:pos x="hc" y="b"/>
                  </a:cxn>
                  <a:cxn ang="0">
                    <a:pos x="r" y="vc"/>
                  </a:cxn>
                </a:cxnLst>
                <a:rect l="l" t="t" r="r" b="b"/>
                <a:pathLst>
                  <a:path w="29" h="29">
                    <a:moveTo>
                      <a:pt x="20" y="28"/>
                    </a:moveTo>
                    <a:cubicBezTo>
                      <a:pt x="13" y="31"/>
                      <a:pt x="5" y="28"/>
                      <a:pt x="1" y="20"/>
                    </a:cubicBezTo>
                    <a:cubicBezTo>
                      <a:pt x="-2" y="13"/>
                      <a:pt x="2" y="5"/>
                      <a:pt x="9" y="1"/>
                    </a:cubicBezTo>
                    <a:cubicBezTo>
                      <a:pt x="16" y="-2"/>
                      <a:pt x="25" y="2"/>
                      <a:pt x="28" y="9"/>
                    </a:cubicBezTo>
                    <a:cubicBezTo>
                      <a:pt x="31" y="17"/>
                      <a:pt x="28" y="25"/>
                      <a:pt x="20"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0" name="Freeform: Shape 6672">
                <a:extLst>
                  <a:ext uri="{FF2B5EF4-FFF2-40B4-BE49-F238E27FC236}">
                    <a16:creationId xmlns:a16="http://schemas.microsoft.com/office/drawing/2014/main" xmlns="" id="{4AF4E4DB-0291-4E02-87C1-0C6129284059}"/>
                  </a:ext>
                </a:extLst>
              </p:cNvPr>
              <p:cNvSpPr/>
              <p:nvPr/>
            </p:nvSpPr>
            <p:spPr>
              <a:xfrm>
                <a:off x="18060497" y="9583269"/>
                <a:ext cx="88112" cy="88112"/>
              </a:xfrm>
              <a:custGeom>
                <a:avLst/>
                <a:gdLst/>
                <a:ahLst/>
                <a:cxnLst>
                  <a:cxn ang="3cd4">
                    <a:pos x="hc" y="t"/>
                  </a:cxn>
                  <a:cxn ang="cd2">
                    <a:pos x="l" y="vc"/>
                  </a:cxn>
                  <a:cxn ang="cd4">
                    <a:pos x="hc" y="b"/>
                  </a:cxn>
                  <a:cxn ang="0">
                    <a:pos x="r" y="vc"/>
                  </a:cxn>
                </a:cxnLst>
                <a:rect l="l" t="t" r="r" b="b"/>
                <a:pathLst>
                  <a:path w="29" h="29">
                    <a:moveTo>
                      <a:pt x="19" y="29"/>
                    </a:moveTo>
                    <a:cubicBezTo>
                      <a:pt x="11" y="32"/>
                      <a:pt x="3" y="27"/>
                      <a:pt x="1" y="19"/>
                    </a:cubicBezTo>
                    <a:cubicBezTo>
                      <a:pt x="-1" y="11"/>
                      <a:pt x="3" y="3"/>
                      <a:pt x="11" y="1"/>
                    </a:cubicBezTo>
                    <a:cubicBezTo>
                      <a:pt x="19" y="-1"/>
                      <a:pt x="27" y="3"/>
                      <a:pt x="29" y="11"/>
                    </a:cubicBezTo>
                    <a:cubicBezTo>
                      <a:pt x="31" y="19"/>
                      <a:pt x="27" y="27"/>
                      <a:pt x="19" y="2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1" name="Freeform: Shape 6673">
                <a:extLst>
                  <a:ext uri="{FF2B5EF4-FFF2-40B4-BE49-F238E27FC236}">
                    <a16:creationId xmlns:a16="http://schemas.microsoft.com/office/drawing/2014/main" xmlns="" id="{DEECEF59-9839-41EA-A0C0-9D6056F08283}"/>
                  </a:ext>
                </a:extLst>
              </p:cNvPr>
              <p:cNvSpPr/>
              <p:nvPr/>
            </p:nvSpPr>
            <p:spPr>
              <a:xfrm>
                <a:off x="17991266" y="9385018"/>
                <a:ext cx="88112" cy="88112"/>
              </a:xfrm>
              <a:custGeom>
                <a:avLst/>
                <a:gdLst/>
                <a:ahLst/>
                <a:cxnLst>
                  <a:cxn ang="3cd4">
                    <a:pos x="hc" y="t"/>
                  </a:cxn>
                  <a:cxn ang="cd2">
                    <a:pos x="l" y="vc"/>
                  </a:cxn>
                  <a:cxn ang="cd4">
                    <a:pos x="hc" y="b"/>
                  </a:cxn>
                  <a:cxn ang="0">
                    <a:pos x="r" y="vc"/>
                  </a:cxn>
                </a:cxnLst>
                <a:rect l="l" t="t" r="r" b="b"/>
                <a:pathLst>
                  <a:path w="29" h="29">
                    <a:moveTo>
                      <a:pt x="20" y="28"/>
                    </a:moveTo>
                    <a:cubicBezTo>
                      <a:pt x="13" y="31"/>
                      <a:pt x="5" y="28"/>
                      <a:pt x="1" y="20"/>
                    </a:cubicBezTo>
                    <a:cubicBezTo>
                      <a:pt x="-2" y="13"/>
                      <a:pt x="2" y="5"/>
                      <a:pt x="9" y="1"/>
                    </a:cubicBezTo>
                    <a:cubicBezTo>
                      <a:pt x="16" y="-2"/>
                      <a:pt x="25" y="2"/>
                      <a:pt x="28" y="9"/>
                    </a:cubicBezTo>
                    <a:cubicBezTo>
                      <a:pt x="31" y="17"/>
                      <a:pt x="28" y="25"/>
                      <a:pt x="20" y="28"/>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2" name="Freeform: Shape 6674">
                <a:extLst>
                  <a:ext uri="{FF2B5EF4-FFF2-40B4-BE49-F238E27FC236}">
                    <a16:creationId xmlns:a16="http://schemas.microsoft.com/office/drawing/2014/main" xmlns="" id="{9A02736B-BFC7-4425-B868-C12BD37CEA42}"/>
                  </a:ext>
                </a:extLst>
              </p:cNvPr>
              <p:cNvSpPr/>
              <p:nvPr/>
            </p:nvSpPr>
            <p:spPr>
              <a:xfrm>
                <a:off x="17786722" y="10961587"/>
                <a:ext cx="88112" cy="88112"/>
              </a:xfrm>
              <a:custGeom>
                <a:avLst/>
                <a:gdLst/>
                <a:ahLst/>
                <a:cxnLst>
                  <a:cxn ang="3cd4">
                    <a:pos x="hc" y="t"/>
                  </a:cxn>
                  <a:cxn ang="cd2">
                    <a:pos x="l" y="vc"/>
                  </a:cxn>
                  <a:cxn ang="cd4">
                    <a:pos x="hc" y="b"/>
                  </a:cxn>
                  <a:cxn ang="0">
                    <a:pos x="r" y="vc"/>
                  </a:cxn>
                </a:cxnLst>
                <a:rect l="l" t="t" r="r" b="b"/>
                <a:pathLst>
                  <a:path w="29" h="29">
                    <a:moveTo>
                      <a:pt x="24" y="3"/>
                    </a:moveTo>
                    <a:cubicBezTo>
                      <a:pt x="17" y="-2"/>
                      <a:pt x="8" y="-1"/>
                      <a:pt x="3" y="5"/>
                    </a:cubicBezTo>
                    <a:cubicBezTo>
                      <a:pt x="-2" y="12"/>
                      <a:pt x="0" y="21"/>
                      <a:pt x="6" y="26"/>
                    </a:cubicBezTo>
                    <a:cubicBezTo>
                      <a:pt x="12" y="31"/>
                      <a:pt x="22" y="29"/>
                      <a:pt x="26" y="23"/>
                    </a:cubicBezTo>
                    <a:cubicBezTo>
                      <a:pt x="31" y="17"/>
                      <a:pt x="30" y="8"/>
                      <a:pt x="24"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3" name="Freeform: Shape 6675">
                <a:extLst>
                  <a:ext uri="{FF2B5EF4-FFF2-40B4-BE49-F238E27FC236}">
                    <a16:creationId xmlns:a16="http://schemas.microsoft.com/office/drawing/2014/main" xmlns="" id="{B6DF31F9-2E7C-44E8-B9AC-753B83BAD5F7}"/>
                  </a:ext>
                </a:extLst>
              </p:cNvPr>
              <p:cNvSpPr/>
              <p:nvPr/>
            </p:nvSpPr>
            <p:spPr>
              <a:xfrm>
                <a:off x="17648261" y="11118929"/>
                <a:ext cx="88112" cy="88112"/>
              </a:xfrm>
              <a:custGeom>
                <a:avLst/>
                <a:gdLst/>
                <a:ahLst/>
                <a:cxnLst>
                  <a:cxn ang="3cd4">
                    <a:pos x="hc" y="t"/>
                  </a:cxn>
                  <a:cxn ang="cd2">
                    <a:pos x="l" y="vc"/>
                  </a:cxn>
                  <a:cxn ang="cd4">
                    <a:pos x="hc" y="b"/>
                  </a:cxn>
                  <a:cxn ang="0">
                    <a:pos x="r" y="vc"/>
                  </a:cxn>
                </a:cxnLst>
                <a:rect l="l" t="t" r="r" b="b"/>
                <a:pathLst>
                  <a:path w="29" h="29">
                    <a:moveTo>
                      <a:pt x="25" y="4"/>
                    </a:moveTo>
                    <a:cubicBezTo>
                      <a:pt x="19" y="-1"/>
                      <a:pt x="10" y="-1"/>
                      <a:pt x="4" y="4"/>
                    </a:cubicBezTo>
                    <a:cubicBezTo>
                      <a:pt x="-1" y="11"/>
                      <a:pt x="-1" y="19"/>
                      <a:pt x="4" y="25"/>
                    </a:cubicBezTo>
                    <a:cubicBezTo>
                      <a:pt x="10" y="31"/>
                      <a:pt x="19" y="31"/>
                      <a:pt x="25" y="25"/>
                    </a:cubicBezTo>
                    <a:cubicBezTo>
                      <a:pt x="30" y="19"/>
                      <a:pt x="30" y="11"/>
                      <a:pt x="25"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4" name="Freeform: Shape 6676">
                <a:extLst>
                  <a:ext uri="{FF2B5EF4-FFF2-40B4-BE49-F238E27FC236}">
                    <a16:creationId xmlns:a16="http://schemas.microsoft.com/office/drawing/2014/main" xmlns="" id="{5B91DA06-BF12-4ED3-B871-6AAE0FD5227A}"/>
                  </a:ext>
                </a:extLst>
              </p:cNvPr>
              <p:cNvSpPr/>
              <p:nvPr/>
            </p:nvSpPr>
            <p:spPr>
              <a:xfrm>
                <a:off x="17490918" y="11254234"/>
                <a:ext cx="88112" cy="88112"/>
              </a:xfrm>
              <a:custGeom>
                <a:avLst/>
                <a:gdLst/>
                <a:ahLst/>
                <a:cxnLst>
                  <a:cxn ang="3cd4">
                    <a:pos x="hc" y="t"/>
                  </a:cxn>
                  <a:cxn ang="cd2">
                    <a:pos x="l" y="vc"/>
                  </a:cxn>
                  <a:cxn ang="cd4">
                    <a:pos x="hc" y="b"/>
                  </a:cxn>
                  <a:cxn ang="0">
                    <a:pos x="r" y="vc"/>
                  </a:cxn>
                </a:cxnLst>
                <a:rect l="l" t="t" r="r" b="b"/>
                <a:pathLst>
                  <a:path w="29" h="29">
                    <a:moveTo>
                      <a:pt x="26" y="6"/>
                    </a:moveTo>
                    <a:cubicBezTo>
                      <a:pt x="21" y="-1"/>
                      <a:pt x="12" y="-2"/>
                      <a:pt x="6" y="3"/>
                    </a:cubicBezTo>
                    <a:cubicBezTo>
                      <a:pt x="-1" y="8"/>
                      <a:pt x="-2" y="17"/>
                      <a:pt x="3" y="23"/>
                    </a:cubicBezTo>
                    <a:cubicBezTo>
                      <a:pt x="8" y="30"/>
                      <a:pt x="17" y="31"/>
                      <a:pt x="23" y="26"/>
                    </a:cubicBezTo>
                    <a:cubicBezTo>
                      <a:pt x="30" y="21"/>
                      <a:pt x="31" y="12"/>
                      <a:pt x="26" y="6"/>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5" name="Freeform: Shape 6677">
                <a:extLst>
                  <a:ext uri="{FF2B5EF4-FFF2-40B4-BE49-F238E27FC236}">
                    <a16:creationId xmlns:a16="http://schemas.microsoft.com/office/drawing/2014/main" xmlns="" id="{FC889C98-767D-48D2-A256-3108222DC23C}"/>
                  </a:ext>
                </a:extLst>
              </p:cNvPr>
              <p:cNvSpPr/>
              <p:nvPr/>
            </p:nvSpPr>
            <p:spPr>
              <a:xfrm>
                <a:off x="17320980" y="11370676"/>
                <a:ext cx="88112" cy="88112"/>
              </a:xfrm>
              <a:custGeom>
                <a:avLst/>
                <a:gdLst/>
                <a:ahLst/>
                <a:cxnLst>
                  <a:cxn ang="3cd4">
                    <a:pos x="hc" y="t"/>
                  </a:cxn>
                  <a:cxn ang="cd2">
                    <a:pos x="l" y="vc"/>
                  </a:cxn>
                  <a:cxn ang="cd4">
                    <a:pos x="hc" y="b"/>
                  </a:cxn>
                  <a:cxn ang="0">
                    <a:pos x="r" y="vc"/>
                  </a:cxn>
                </a:cxnLst>
                <a:rect l="l" t="t" r="r" b="b"/>
                <a:pathLst>
                  <a:path w="29" h="29">
                    <a:moveTo>
                      <a:pt x="27" y="7"/>
                    </a:moveTo>
                    <a:cubicBezTo>
                      <a:pt x="23" y="0"/>
                      <a:pt x="14" y="-3"/>
                      <a:pt x="8" y="2"/>
                    </a:cubicBezTo>
                    <a:cubicBezTo>
                      <a:pt x="1" y="5"/>
                      <a:pt x="-2" y="15"/>
                      <a:pt x="2" y="21"/>
                    </a:cubicBezTo>
                    <a:cubicBezTo>
                      <a:pt x="6" y="28"/>
                      <a:pt x="15" y="31"/>
                      <a:pt x="22" y="27"/>
                    </a:cubicBezTo>
                    <a:cubicBezTo>
                      <a:pt x="29" y="23"/>
                      <a:pt x="31" y="14"/>
                      <a:pt x="27" y="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6" name="Freeform: Shape 6678">
                <a:extLst>
                  <a:ext uri="{FF2B5EF4-FFF2-40B4-BE49-F238E27FC236}">
                    <a16:creationId xmlns:a16="http://schemas.microsoft.com/office/drawing/2014/main" xmlns="" id="{85B52AE3-7B7F-4CC4-AE9C-E1F4676988D7}"/>
                  </a:ext>
                </a:extLst>
              </p:cNvPr>
              <p:cNvSpPr/>
              <p:nvPr/>
            </p:nvSpPr>
            <p:spPr>
              <a:xfrm>
                <a:off x="17132169" y="11461935"/>
                <a:ext cx="88112" cy="88112"/>
              </a:xfrm>
              <a:custGeom>
                <a:avLst/>
                <a:gdLst/>
                <a:ahLst/>
                <a:cxnLst>
                  <a:cxn ang="3cd4">
                    <a:pos x="hc" y="t"/>
                  </a:cxn>
                  <a:cxn ang="cd2">
                    <a:pos x="l" y="vc"/>
                  </a:cxn>
                  <a:cxn ang="cd4">
                    <a:pos x="hc" y="b"/>
                  </a:cxn>
                  <a:cxn ang="0">
                    <a:pos x="r" y="vc"/>
                  </a:cxn>
                </a:cxnLst>
                <a:rect l="l" t="t" r="r" b="b"/>
                <a:pathLst>
                  <a:path w="29" h="29">
                    <a:moveTo>
                      <a:pt x="28" y="9"/>
                    </a:moveTo>
                    <a:cubicBezTo>
                      <a:pt x="25" y="1"/>
                      <a:pt x="16" y="-2"/>
                      <a:pt x="9" y="1"/>
                    </a:cubicBezTo>
                    <a:cubicBezTo>
                      <a:pt x="2" y="4"/>
                      <a:pt x="-2" y="13"/>
                      <a:pt x="1" y="20"/>
                    </a:cubicBezTo>
                    <a:cubicBezTo>
                      <a:pt x="4" y="27"/>
                      <a:pt x="12" y="31"/>
                      <a:pt x="20" y="28"/>
                    </a:cubicBezTo>
                    <a:cubicBezTo>
                      <a:pt x="27" y="25"/>
                      <a:pt x="31" y="16"/>
                      <a:pt x="28" y="9"/>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7" name="Freeform: Shape 6679">
                <a:extLst>
                  <a:ext uri="{FF2B5EF4-FFF2-40B4-BE49-F238E27FC236}">
                    <a16:creationId xmlns:a16="http://schemas.microsoft.com/office/drawing/2014/main" xmlns="" id="{3BC38F5D-B715-40DC-A49C-9A9D7AFDB13D}"/>
                  </a:ext>
                </a:extLst>
              </p:cNvPr>
              <p:cNvSpPr/>
              <p:nvPr/>
            </p:nvSpPr>
            <p:spPr>
              <a:xfrm>
                <a:off x="16937074" y="11528018"/>
                <a:ext cx="88112" cy="88112"/>
              </a:xfrm>
              <a:custGeom>
                <a:avLst/>
                <a:gdLst/>
                <a:ahLst/>
                <a:cxnLst>
                  <a:cxn ang="3cd4">
                    <a:pos x="hc" y="t"/>
                  </a:cxn>
                  <a:cxn ang="cd2">
                    <a:pos x="l" y="vc"/>
                  </a:cxn>
                  <a:cxn ang="cd4">
                    <a:pos x="hc" y="b"/>
                  </a:cxn>
                  <a:cxn ang="0">
                    <a:pos x="r" y="vc"/>
                  </a:cxn>
                </a:cxnLst>
                <a:rect l="l" t="t" r="r" b="b"/>
                <a:pathLst>
                  <a:path w="29" h="29">
                    <a:moveTo>
                      <a:pt x="29" y="11"/>
                    </a:moveTo>
                    <a:cubicBezTo>
                      <a:pt x="27" y="3"/>
                      <a:pt x="19" y="-2"/>
                      <a:pt x="11" y="1"/>
                    </a:cubicBezTo>
                    <a:cubicBezTo>
                      <a:pt x="3" y="3"/>
                      <a:pt x="-1" y="10"/>
                      <a:pt x="1" y="18"/>
                    </a:cubicBezTo>
                    <a:cubicBezTo>
                      <a:pt x="3" y="26"/>
                      <a:pt x="11" y="31"/>
                      <a:pt x="19" y="29"/>
                    </a:cubicBezTo>
                    <a:cubicBezTo>
                      <a:pt x="27" y="26"/>
                      <a:pt x="31" y="19"/>
                      <a:pt x="29"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88" name="Freeform: Shape 6680">
                <a:extLst>
                  <a:ext uri="{FF2B5EF4-FFF2-40B4-BE49-F238E27FC236}">
                    <a16:creationId xmlns:a16="http://schemas.microsoft.com/office/drawing/2014/main" xmlns="" id="{930D672E-2870-4F79-9827-301E77F7A317}"/>
                  </a:ext>
                </a:extLst>
              </p:cNvPr>
              <p:cNvSpPr/>
              <p:nvPr/>
            </p:nvSpPr>
            <p:spPr>
              <a:xfrm>
                <a:off x="16732529" y="11568927"/>
                <a:ext cx="88112" cy="88112"/>
              </a:xfrm>
              <a:custGeom>
                <a:avLst/>
                <a:gdLst/>
                <a:ahLst/>
                <a:cxnLst>
                  <a:cxn ang="3cd4">
                    <a:pos x="hc" y="t"/>
                  </a:cxn>
                  <a:cxn ang="cd2">
                    <a:pos x="l" y="vc"/>
                  </a:cxn>
                  <a:cxn ang="cd4">
                    <a:pos x="hc" y="b"/>
                  </a:cxn>
                  <a:cxn ang="0">
                    <a:pos x="r" y="vc"/>
                  </a:cxn>
                </a:cxnLst>
                <a:rect l="l" t="t" r="r" b="b"/>
                <a:pathLst>
                  <a:path w="29" h="29">
                    <a:moveTo>
                      <a:pt x="29" y="12"/>
                    </a:moveTo>
                    <a:cubicBezTo>
                      <a:pt x="28" y="5"/>
                      <a:pt x="21" y="-1"/>
                      <a:pt x="12" y="0"/>
                    </a:cubicBezTo>
                    <a:cubicBezTo>
                      <a:pt x="4" y="1"/>
                      <a:pt x="-1" y="8"/>
                      <a:pt x="0" y="16"/>
                    </a:cubicBezTo>
                    <a:cubicBezTo>
                      <a:pt x="1" y="24"/>
                      <a:pt x="8" y="30"/>
                      <a:pt x="16" y="29"/>
                    </a:cubicBezTo>
                    <a:cubicBezTo>
                      <a:pt x="24" y="28"/>
                      <a:pt x="29" y="21"/>
                      <a:pt x="29"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sp>
          <p:nvSpPr>
            <p:cNvPr id="89" name="Freeform: Shape 6681">
              <a:extLst>
                <a:ext uri="{FF2B5EF4-FFF2-40B4-BE49-F238E27FC236}">
                  <a16:creationId xmlns:a16="http://schemas.microsoft.com/office/drawing/2014/main" xmlns="" id="{8B2DB872-2720-41AF-908D-0F0753E98BFC}"/>
                </a:ext>
              </a:extLst>
            </p:cNvPr>
            <p:cNvSpPr/>
            <p:nvPr/>
          </p:nvSpPr>
          <p:spPr>
            <a:xfrm>
              <a:off x="5871604" y="4274374"/>
              <a:ext cx="1048172" cy="1048172"/>
            </a:xfrm>
            <a:custGeom>
              <a:avLst/>
              <a:gdLst/>
              <a:ahLst/>
              <a:cxnLst>
                <a:cxn ang="3cd4">
                  <a:pos x="hc" y="t"/>
                </a:cxn>
                <a:cxn ang="cd2">
                  <a:pos x="l" y="vc"/>
                </a:cxn>
                <a:cxn ang="cd4">
                  <a:pos x="hc" y="b"/>
                </a:cxn>
                <a:cxn ang="0">
                  <a:pos x="r" y="vc"/>
                </a:cxn>
              </a:cxnLst>
              <a:rect l="l" t="t" r="r" b="b"/>
              <a:pathLst>
                <a:path w="889" h="889">
                  <a:moveTo>
                    <a:pt x="626" y="758"/>
                  </a:moveTo>
                  <a:cubicBezTo>
                    <a:pt x="453" y="858"/>
                    <a:pt x="231" y="799"/>
                    <a:pt x="132" y="626"/>
                  </a:cubicBezTo>
                  <a:cubicBezTo>
                    <a:pt x="32" y="453"/>
                    <a:pt x="91" y="232"/>
                    <a:pt x="264" y="132"/>
                  </a:cubicBezTo>
                  <a:cubicBezTo>
                    <a:pt x="437" y="32"/>
                    <a:pt x="658" y="91"/>
                    <a:pt x="758" y="264"/>
                  </a:cubicBezTo>
                  <a:cubicBezTo>
                    <a:pt x="858" y="437"/>
                    <a:pt x="798" y="658"/>
                    <a:pt x="626" y="758"/>
                  </a:cubicBezTo>
                  <a:close/>
                  <a:moveTo>
                    <a:pt x="830" y="223"/>
                  </a:moveTo>
                  <a:cubicBezTo>
                    <a:pt x="707" y="10"/>
                    <a:pt x="435" y="-63"/>
                    <a:pt x="222" y="60"/>
                  </a:cubicBezTo>
                  <a:cubicBezTo>
                    <a:pt x="10" y="183"/>
                    <a:pt x="-63" y="455"/>
                    <a:pt x="60" y="667"/>
                  </a:cubicBezTo>
                  <a:cubicBezTo>
                    <a:pt x="182" y="880"/>
                    <a:pt x="454" y="953"/>
                    <a:pt x="667" y="830"/>
                  </a:cubicBezTo>
                  <a:cubicBezTo>
                    <a:pt x="880" y="707"/>
                    <a:pt x="953" y="435"/>
                    <a:pt x="830" y="223"/>
                  </a:cubicBezTo>
                  <a:close/>
                </a:path>
              </a:pathLst>
            </a:custGeom>
            <a:solidFill>
              <a:schemeClr val="accent3">
                <a:lumMod val="75000"/>
              </a:schemeClr>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nvGrpSpPr>
            <p:cNvPr id="90" name="Group 365">
              <a:extLst>
                <a:ext uri="{FF2B5EF4-FFF2-40B4-BE49-F238E27FC236}">
                  <a16:creationId xmlns:a16="http://schemas.microsoft.com/office/drawing/2014/main" xmlns="" id="{6570A4EC-7873-4C3E-A5ED-D8EE389D8782}"/>
                </a:ext>
              </a:extLst>
            </p:cNvPr>
            <p:cNvGrpSpPr/>
            <p:nvPr/>
          </p:nvGrpSpPr>
          <p:grpSpPr>
            <a:xfrm>
              <a:off x="6930400" y="2420011"/>
              <a:ext cx="978530" cy="266765"/>
              <a:chOff x="12559815" y="3695525"/>
              <a:chExt cx="2608733" cy="711187"/>
            </a:xfrm>
            <a:solidFill>
              <a:schemeClr val="accent1">
                <a:lumMod val="75000"/>
              </a:schemeClr>
            </a:solidFill>
          </p:grpSpPr>
          <p:sp>
            <p:nvSpPr>
              <p:cNvPr id="91" name="Freeform: Shape 6627">
                <a:extLst>
                  <a:ext uri="{FF2B5EF4-FFF2-40B4-BE49-F238E27FC236}">
                    <a16:creationId xmlns:a16="http://schemas.microsoft.com/office/drawing/2014/main" xmlns="" id="{53756D7D-C511-4F0F-A998-C52DBA902264}"/>
                  </a:ext>
                </a:extLst>
              </p:cNvPr>
              <p:cNvSpPr/>
              <p:nvPr/>
            </p:nvSpPr>
            <p:spPr>
              <a:xfrm>
                <a:off x="13818552" y="3695525"/>
                <a:ext cx="88112" cy="88112"/>
              </a:xfrm>
              <a:custGeom>
                <a:avLst/>
                <a:gdLst/>
                <a:ahLst/>
                <a:cxnLst>
                  <a:cxn ang="3cd4">
                    <a:pos x="hc" y="t"/>
                  </a:cxn>
                  <a:cxn ang="cd2">
                    <a:pos x="l" y="vc"/>
                  </a:cxn>
                  <a:cxn ang="cd4">
                    <a:pos x="hc" y="b"/>
                  </a:cxn>
                  <a:cxn ang="0">
                    <a:pos x="r" y="vc"/>
                  </a:cxn>
                </a:cxnLst>
                <a:rect l="l" t="t" r="r" b="b"/>
                <a:pathLst>
                  <a:path w="29" h="29">
                    <a:moveTo>
                      <a:pt x="29" y="14"/>
                    </a:moveTo>
                    <a:cubicBezTo>
                      <a:pt x="29" y="23"/>
                      <a:pt x="22" y="29"/>
                      <a:pt x="15" y="29"/>
                    </a:cubicBezTo>
                    <a:cubicBezTo>
                      <a:pt x="6" y="29"/>
                      <a:pt x="0" y="23"/>
                      <a:pt x="0" y="14"/>
                    </a:cubicBezTo>
                    <a:cubicBezTo>
                      <a:pt x="0" y="6"/>
                      <a:pt x="6" y="0"/>
                      <a:pt x="15" y="0"/>
                    </a:cubicBezTo>
                    <a:cubicBezTo>
                      <a:pt x="22" y="0"/>
                      <a:pt x="29" y="6"/>
                      <a:pt x="29" y="1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2" name="Freeform: Shape 6628">
                <a:extLst>
                  <a:ext uri="{FF2B5EF4-FFF2-40B4-BE49-F238E27FC236}">
                    <a16:creationId xmlns:a16="http://schemas.microsoft.com/office/drawing/2014/main" xmlns="" id="{843FE0A1-8068-42B2-A676-5FD619E33E6A}"/>
                  </a:ext>
                </a:extLst>
              </p:cNvPr>
              <p:cNvSpPr/>
              <p:nvPr/>
            </p:nvSpPr>
            <p:spPr>
              <a:xfrm>
                <a:off x="13610860" y="3711259"/>
                <a:ext cx="88112" cy="88112"/>
              </a:xfrm>
              <a:custGeom>
                <a:avLst/>
                <a:gdLst/>
                <a:ahLst/>
                <a:cxnLst>
                  <a:cxn ang="3cd4">
                    <a:pos x="hc" y="t"/>
                  </a:cxn>
                  <a:cxn ang="cd2">
                    <a:pos x="l" y="vc"/>
                  </a:cxn>
                  <a:cxn ang="cd4">
                    <a:pos x="hc" y="b"/>
                  </a:cxn>
                  <a:cxn ang="0">
                    <a:pos x="r" y="vc"/>
                  </a:cxn>
                </a:cxnLst>
                <a:rect l="l" t="t" r="r" b="b"/>
                <a:pathLst>
                  <a:path w="29" h="29">
                    <a:moveTo>
                      <a:pt x="29" y="12"/>
                    </a:moveTo>
                    <a:cubicBezTo>
                      <a:pt x="30" y="20"/>
                      <a:pt x="24" y="27"/>
                      <a:pt x="17" y="28"/>
                    </a:cubicBezTo>
                    <a:cubicBezTo>
                      <a:pt x="8" y="29"/>
                      <a:pt x="1" y="24"/>
                      <a:pt x="0" y="16"/>
                    </a:cubicBezTo>
                    <a:cubicBezTo>
                      <a:pt x="-1" y="8"/>
                      <a:pt x="5" y="1"/>
                      <a:pt x="13" y="0"/>
                    </a:cubicBezTo>
                    <a:cubicBezTo>
                      <a:pt x="20" y="-2"/>
                      <a:pt x="28" y="4"/>
                      <a:pt x="29"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3" name="Freeform: Shape 6629">
                <a:extLst>
                  <a:ext uri="{FF2B5EF4-FFF2-40B4-BE49-F238E27FC236}">
                    <a16:creationId xmlns:a16="http://schemas.microsoft.com/office/drawing/2014/main" xmlns="" id="{7CC15A7A-CE77-4E34-9CAC-E131FF7616A3}"/>
                  </a:ext>
                </a:extLst>
              </p:cNvPr>
              <p:cNvSpPr/>
              <p:nvPr/>
            </p:nvSpPr>
            <p:spPr>
              <a:xfrm>
                <a:off x="13409462" y="3752168"/>
                <a:ext cx="88112" cy="88112"/>
              </a:xfrm>
              <a:custGeom>
                <a:avLst/>
                <a:gdLst/>
                <a:ahLst/>
                <a:cxnLst>
                  <a:cxn ang="3cd4">
                    <a:pos x="hc" y="t"/>
                  </a:cxn>
                  <a:cxn ang="cd2">
                    <a:pos x="l" y="vc"/>
                  </a:cxn>
                  <a:cxn ang="cd4">
                    <a:pos x="hc" y="b"/>
                  </a:cxn>
                  <a:cxn ang="0">
                    <a:pos x="r" y="vc"/>
                  </a:cxn>
                </a:cxnLst>
                <a:rect l="l" t="t" r="r" b="b"/>
                <a:pathLst>
                  <a:path w="29" h="29">
                    <a:moveTo>
                      <a:pt x="29" y="11"/>
                    </a:moveTo>
                    <a:cubicBezTo>
                      <a:pt x="31" y="19"/>
                      <a:pt x="26" y="27"/>
                      <a:pt x="18" y="29"/>
                    </a:cubicBezTo>
                    <a:cubicBezTo>
                      <a:pt x="11" y="31"/>
                      <a:pt x="3" y="26"/>
                      <a:pt x="1" y="19"/>
                    </a:cubicBezTo>
                    <a:cubicBezTo>
                      <a:pt x="-1" y="11"/>
                      <a:pt x="3" y="3"/>
                      <a:pt x="11" y="1"/>
                    </a:cubicBezTo>
                    <a:cubicBezTo>
                      <a:pt x="19" y="-1"/>
                      <a:pt x="27" y="3"/>
                      <a:pt x="29"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4" name="Freeform: Shape 6630">
                <a:extLst>
                  <a:ext uri="{FF2B5EF4-FFF2-40B4-BE49-F238E27FC236}">
                    <a16:creationId xmlns:a16="http://schemas.microsoft.com/office/drawing/2014/main" xmlns="" id="{B7DFFE74-5412-4BA9-A0DD-9DD892AAF0DA}"/>
                  </a:ext>
                </a:extLst>
              </p:cNvPr>
              <p:cNvSpPr/>
              <p:nvPr/>
            </p:nvSpPr>
            <p:spPr>
              <a:xfrm>
                <a:off x="13211211" y="3815105"/>
                <a:ext cx="88112" cy="88112"/>
              </a:xfrm>
              <a:custGeom>
                <a:avLst/>
                <a:gdLst/>
                <a:ahLst/>
                <a:cxnLst>
                  <a:cxn ang="3cd4">
                    <a:pos x="hc" y="t"/>
                  </a:cxn>
                  <a:cxn ang="cd2">
                    <a:pos x="l" y="vc"/>
                  </a:cxn>
                  <a:cxn ang="cd4">
                    <a:pos x="hc" y="b"/>
                  </a:cxn>
                  <a:cxn ang="0">
                    <a:pos x="r" y="vc"/>
                  </a:cxn>
                </a:cxnLst>
                <a:rect l="l" t="t" r="r" b="b"/>
                <a:pathLst>
                  <a:path w="29" h="29">
                    <a:moveTo>
                      <a:pt x="28" y="10"/>
                    </a:moveTo>
                    <a:cubicBezTo>
                      <a:pt x="31" y="17"/>
                      <a:pt x="27" y="26"/>
                      <a:pt x="20" y="28"/>
                    </a:cubicBezTo>
                    <a:cubicBezTo>
                      <a:pt x="13" y="31"/>
                      <a:pt x="4" y="28"/>
                      <a:pt x="1" y="20"/>
                    </a:cubicBezTo>
                    <a:cubicBezTo>
                      <a:pt x="-2" y="13"/>
                      <a:pt x="2" y="4"/>
                      <a:pt x="9" y="1"/>
                    </a:cubicBezTo>
                    <a:cubicBezTo>
                      <a:pt x="16" y="-2"/>
                      <a:pt x="25" y="2"/>
                      <a:pt x="28" y="10"/>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5" name="Freeform: Shape 6631">
                <a:extLst>
                  <a:ext uri="{FF2B5EF4-FFF2-40B4-BE49-F238E27FC236}">
                    <a16:creationId xmlns:a16="http://schemas.microsoft.com/office/drawing/2014/main" xmlns="" id="{ADB50DE1-A76F-4D0A-8096-98D6FCF1CE1B}"/>
                  </a:ext>
                </a:extLst>
              </p:cNvPr>
              <p:cNvSpPr/>
              <p:nvPr/>
            </p:nvSpPr>
            <p:spPr>
              <a:xfrm>
                <a:off x="13025547" y="3909502"/>
                <a:ext cx="88112" cy="88112"/>
              </a:xfrm>
              <a:custGeom>
                <a:avLst/>
                <a:gdLst/>
                <a:ahLst/>
                <a:cxnLst>
                  <a:cxn ang="3cd4">
                    <a:pos x="hc" y="t"/>
                  </a:cxn>
                  <a:cxn ang="cd2">
                    <a:pos x="l" y="vc"/>
                  </a:cxn>
                  <a:cxn ang="cd4">
                    <a:pos x="hc" y="b"/>
                  </a:cxn>
                  <a:cxn ang="0">
                    <a:pos x="r" y="vc"/>
                  </a:cxn>
                </a:cxnLst>
                <a:rect l="l" t="t" r="r" b="b"/>
                <a:pathLst>
                  <a:path w="29" h="29">
                    <a:moveTo>
                      <a:pt x="26" y="7"/>
                    </a:moveTo>
                    <a:cubicBezTo>
                      <a:pt x="31" y="14"/>
                      <a:pt x="28" y="23"/>
                      <a:pt x="21" y="27"/>
                    </a:cubicBezTo>
                    <a:cubicBezTo>
                      <a:pt x="14" y="31"/>
                      <a:pt x="6" y="29"/>
                      <a:pt x="2" y="21"/>
                    </a:cubicBezTo>
                    <a:cubicBezTo>
                      <a:pt x="-3" y="14"/>
                      <a:pt x="0" y="5"/>
                      <a:pt x="7" y="1"/>
                    </a:cubicBezTo>
                    <a:cubicBezTo>
                      <a:pt x="14" y="-2"/>
                      <a:pt x="23" y="0"/>
                      <a:pt x="26" y="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6" name="Freeform: Shape 6632">
                <a:extLst>
                  <a:ext uri="{FF2B5EF4-FFF2-40B4-BE49-F238E27FC236}">
                    <a16:creationId xmlns:a16="http://schemas.microsoft.com/office/drawing/2014/main" xmlns="" id="{D30BB182-066F-41B3-88DF-8BA73F1CDFE5}"/>
                  </a:ext>
                </a:extLst>
              </p:cNvPr>
              <p:cNvSpPr/>
              <p:nvPr/>
            </p:nvSpPr>
            <p:spPr>
              <a:xfrm>
                <a:off x="12852471" y="4025935"/>
                <a:ext cx="88112" cy="88112"/>
              </a:xfrm>
              <a:custGeom>
                <a:avLst/>
                <a:gdLst/>
                <a:ahLst/>
                <a:cxnLst>
                  <a:cxn ang="3cd4">
                    <a:pos x="hc" y="t"/>
                  </a:cxn>
                  <a:cxn ang="cd2">
                    <a:pos x="l" y="vc"/>
                  </a:cxn>
                  <a:cxn ang="cd4">
                    <a:pos x="hc" y="b"/>
                  </a:cxn>
                  <a:cxn ang="0">
                    <a:pos x="r" y="vc"/>
                  </a:cxn>
                </a:cxnLst>
                <a:rect l="l" t="t" r="r" b="b"/>
                <a:pathLst>
                  <a:path w="29" h="29">
                    <a:moveTo>
                      <a:pt x="26" y="5"/>
                    </a:moveTo>
                    <a:cubicBezTo>
                      <a:pt x="31" y="11"/>
                      <a:pt x="29" y="20"/>
                      <a:pt x="23" y="26"/>
                    </a:cubicBezTo>
                    <a:cubicBezTo>
                      <a:pt x="17" y="30"/>
                      <a:pt x="8" y="29"/>
                      <a:pt x="2" y="23"/>
                    </a:cubicBezTo>
                    <a:cubicBezTo>
                      <a:pt x="-2" y="16"/>
                      <a:pt x="-1" y="7"/>
                      <a:pt x="6" y="2"/>
                    </a:cubicBezTo>
                    <a:cubicBezTo>
                      <a:pt x="12" y="-2"/>
                      <a:pt x="21" y="-1"/>
                      <a:pt x="26" y="5"/>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7" name="Freeform: Shape 6633">
                <a:extLst>
                  <a:ext uri="{FF2B5EF4-FFF2-40B4-BE49-F238E27FC236}">
                    <a16:creationId xmlns:a16="http://schemas.microsoft.com/office/drawing/2014/main" xmlns="" id="{500722E7-3169-4B3E-BC2A-34FDBFD2A017}"/>
                  </a:ext>
                </a:extLst>
              </p:cNvPr>
              <p:cNvSpPr/>
              <p:nvPr/>
            </p:nvSpPr>
            <p:spPr>
              <a:xfrm>
                <a:off x="12698276" y="4161258"/>
                <a:ext cx="88112" cy="88112"/>
              </a:xfrm>
              <a:custGeom>
                <a:avLst/>
                <a:gdLst/>
                <a:ahLst/>
                <a:cxnLst>
                  <a:cxn ang="3cd4">
                    <a:pos x="hc" y="t"/>
                  </a:cxn>
                  <a:cxn ang="cd2">
                    <a:pos x="l" y="vc"/>
                  </a:cxn>
                  <a:cxn ang="cd4">
                    <a:pos x="hc" y="b"/>
                  </a:cxn>
                  <a:cxn ang="0">
                    <a:pos x="r" y="vc"/>
                  </a:cxn>
                </a:cxnLst>
                <a:rect l="l" t="t" r="r" b="b"/>
                <a:pathLst>
                  <a:path w="29" h="29">
                    <a:moveTo>
                      <a:pt x="25" y="4"/>
                    </a:moveTo>
                    <a:cubicBezTo>
                      <a:pt x="31" y="10"/>
                      <a:pt x="31" y="19"/>
                      <a:pt x="25" y="25"/>
                    </a:cubicBezTo>
                    <a:cubicBezTo>
                      <a:pt x="19" y="30"/>
                      <a:pt x="10" y="30"/>
                      <a:pt x="4" y="25"/>
                    </a:cubicBezTo>
                    <a:cubicBezTo>
                      <a:pt x="-1" y="19"/>
                      <a:pt x="-1" y="10"/>
                      <a:pt x="4" y="4"/>
                    </a:cubicBezTo>
                    <a:cubicBezTo>
                      <a:pt x="10" y="-1"/>
                      <a:pt x="19" y="-1"/>
                      <a:pt x="25"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8" name="Freeform: Shape 6634">
                <a:extLst>
                  <a:ext uri="{FF2B5EF4-FFF2-40B4-BE49-F238E27FC236}">
                    <a16:creationId xmlns:a16="http://schemas.microsoft.com/office/drawing/2014/main" xmlns="" id="{CAD3CF9D-E936-4C9F-841E-DA4F99D434BE}"/>
                  </a:ext>
                </a:extLst>
              </p:cNvPr>
              <p:cNvSpPr/>
              <p:nvPr/>
            </p:nvSpPr>
            <p:spPr>
              <a:xfrm>
                <a:off x="12559815" y="4318600"/>
                <a:ext cx="88112" cy="88112"/>
              </a:xfrm>
              <a:custGeom>
                <a:avLst/>
                <a:gdLst/>
                <a:ahLst/>
                <a:cxnLst>
                  <a:cxn ang="3cd4">
                    <a:pos x="hc" y="t"/>
                  </a:cxn>
                  <a:cxn ang="cd2">
                    <a:pos x="l" y="vc"/>
                  </a:cxn>
                  <a:cxn ang="cd4">
                    <a:pos x="hc" y="b"/>
                  </a:cxn>
                  <a:cxn ang="0">
                    <a:pos x="r" y="vc"/>
                  </a:cxn>
                </a:cxnLst>
                <a:rect l="l" t="t" r="r" b="b"/>
                <a:pathLst>
                  <a:path w="29" h="29">
                    <a:moveTo>
                      <a:pt x="24" y="3"/>
                    </a:moveTo>
                    <a:cubicBezTo>
                      <a:pt x="30" y="7"/>
                      <a:pt x="32" y="17"/>
                      <a:pt x="26" y="23"/>
                    </a:cubicBezTo>
                    <a:cubicBezTo>
                      <a:pt x="22" y="29"/>
                      <a:pt x="13" y="30"/>
                      <a:pt x="6" y="26"/>
                    </a:cubicBezTo>
                    <a:cubicBezTo>
                      <a:pt x="0" y="21"/>
                      <a:pt x="-2" y="12"/>
                      <a:pt x="3" y="5"/>
                    </a:cubicBezTo>
                    <a:cubicBezTo>
                      <a:pt x="8" y="-1"/>
                      <a:pt x="18" y="-2"/>
                      <a:pt x="24"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99" name="Freeform: Shape 6635">
                <a:extLst>
                  <a:ext uri="{FF2B5EF4-FFF2-40B4-BE49-F238E27FC236}">
                    <a16:creationId xmlns:a16="http://schemas.microsoft.com/office/drawing/2014/main" xmlns="" id="{2EDC290C-3CA3-460E-AFE9-56480B41AED2}"/>
                  </a:ext>
                </a:extLst>
              </p:cNvPr>
              <p:cNvSpPr/>
              <p:nvPr/>
            </p:nvSpPr>
            <p:spPr>
              <a:xfrm>
                <a:off x="12698276" y="4161258"/>
                <a:ext cx="88112" cy="88112"/>
              </a:xfrm>
              <a:custGeom>
                <a:avLst/>
                <a:gdLst/>
                <a:ahLst/>
                <a:cxnLst>
                  <a:cxn ang="3cd4">
                    <a:pos x="hc" y="t"/>
                  </a:cxn>
                  <a:cxn ang="cd2">
                    <a:pos x="l" y="vc"/>
                  </a:cxn>
                  <a:cxn ang="cd4">
                    <a:pos x="hc" y="b"/>
                  </a:cxn>
                  <a:cxn ang="0">
                    <a:pos x="r" y="vc"/>
                  </a:cxn>
                </a:cxnLst>
                <a:rect l="l" t="t" r="r" b="b"/>
                <a:pathLst>
                  <a:path w="29" h="29">
                    <a:moveTo>
                      <a:pt x="25" y="4"/>
                    </a:moveTo>
                    <a:cubicBezTo>
                      <a:pt x="31" y="10"/>
                      <a:pt x="31" y="19"/>
                      <a:pt x="25" y="25"/>
                    </a:cubicBezTo>
                    <a:cubicBezTo>
                      <a:pt x="19" y="30"/>
                      <a:pt x="10" y="30"/>
                      <a:pt x="4" y="25"/>
                    </a:cubicBezTo>
                    <a:cubicBezTo>
                      <a:pt x="-1" y="19"/>
                      <a:pt x="-1" y="10"/>
                      <a:pt x="4" y="4"/>
                    </a:cubicBezTo>
                    <a:cubicBezTo>
                      <a:pt x="10" y="-1"/>
                      <a:pt x="19" y="-1"/>
                      <a:pt x="25"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0" name="Freeform: Shape 6636">
                <a:extLst>
                  <a:ext uri="{FF2B5EF4-FFF2-40B4-BE49-F238E27FC236}">
                    <a16:creationId xmlns:a16="http://schemas.microsoft.com/office/drawing/2014/main" xmlns="" id="{A2652A78-1F67-47A6-AF3F-05D7BAB0741D}"/>
                  </a:ext>
                </a:extLst>
              </p:cNvPr>
              <p:cNvSpPr/>
              <p:nvPr/>
            </p:nvSpPr>
            <p:spPr>
              <a:xfrm>
                <a:off x="12559815" y="4318600"/>
                <a:ext cx="88112" cy="88112"/>
              </a:xfrm>
              <a:custGeom>
                <a:avLst/>
                <a:gdLst/>
                <a:ahLst/>
                <a:cxnLst>
                  <a:cxn ang="3cd4">
                    <a:pos x="hc" y="t"/>
                  </a:cxn>
                  <a:cxn ang="cd2">
                    <a:pos x="l" y="vc"/>
                  </a:cxn>
                  <a:cxn ang="cd4">
                    <a:pos x="hc" y="b"/>
                  </a:cxn>
                  <a:cxn ang="0">
                    <a:pos x="r" y="vc"/>
                  </a:cxn>
                </a:cxnLst>
                <a:rect l="l" t="t" r="r" b="b"/>
                <a:pathLst>
                  <a:path w="29" h="29">
                    <a:moveTo>
                      <a:pt x="24" y="3"/>
                    </a:moveTo>
                    <a:cubicBezTo>
                      <a:pt x="30" y="7"/>
                      <a:pt x="32" y="17"/>
                      <a:pt x="26" y="23"/>
                    </a:cubicBezTo>
                    <a:cubicBezTo>
                      <a:pt x="22" y="29"/>
                      <a:pt x="13" y="30"/>
                      <a:pt x="6" y="26"/>
                    </a:cubicBezTo>
                    <a:cubicBezTo>
                      <a:pt x="0" y="21"/>
                      <a:pt x="-2" y="12"/>
                      <a:pt x="3" y="5"/>
                    </a:cubicBezTo>
                    <a:cubicBezTo>
                      <a:pt x="8" y="-1"/>
                      <a:pt x="18" y="-2"/>
                      <a:pt x="24"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1" name="Freeform: Shape 6637">
                <a:extLst>
                  <a:ext uri="{FF2B5EF4-FFF2-40B4-BE49-F238E27FC236}">
                    <a16:creationId xmlns:a16="http://schemas.microsoft.com/office/drawing/2014/main" xmlns="" id="{36838703-BFDD-44B6-923D-891DE2B16458}"/>
                  </a:ext>
                </a:extLst>
              </p:cNvPr>
              <p:cNvSpPr/>
              <p:nvPr/>
            </p:nvSpPr>
            <p:spPr>
              <a:xfrm>
                <a:off x="14026235" y="3711259"/>
                <a:ext cx="88112" cy="88112"/>
              </a:xfrm>
              <a:custGeom>
                <a:avLst/>
                <a:gdLst/>
                <a:ahLst/>
                <a:cxnLst>
                  <a:cxn ang="3cd4">
                    <a:pos x="hc" y="t"/>
                  </a:cxn>
                  <a:cxn ang="cd2">
                    <a:pos x="l" y="vc"/>
                  </a:cxn>
                  <a:cxn ang="cd4">
                    <a:pos x="hc" y="b"/>
                  </a:cxn>
                  <a:cxn ang="0">
                    <a:pos x="r" y="vc"/>
                  </a:cxn>
                </a:cxnLst>
                <a:rect l="l" t="t" r="r" b="b"/>
                <a:pathLst>
                  <a:path w="29" h="29">
                    <a:moveTo>
                      <a:pt x="0" y="12"/>
                    </a:moveTo>
                    <a:cubicBezTo>
                      <a:pt x="-1" y="20"/>
                      <a:pt x="5" y="27"/>
                      <a:pt x="13" y="28"/>
                    </a:cubicBezTo>
                    <a:cubicBezTo>
                      <a:pt x="20" y="29"/>
                      <a:pt x="28" y="24"/>
                      <a:pt x="29" y="16"/>
                    </a:cubicBezTo>
                    <a:cubicBezTo>
                      <a:pt x="30" y="8"/>
                      <a:pt x="24" y="1"/>
                      <a:pt x="16" y="0"/>
                    </a:cubicBezTo>
                    <a:cubicBezTo>
                      <a:pt x="8" y="-2"/>
                      <a:pt x="1" y="4"/>
                      <a:pt x="0" y="12"/>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2" name="Freeform: Shape 6638">
                <a:extLst>
                  <a:ext uri="{FF2B5EF4-FFF2-40B4-BE49-F238E27FC236}">
                    <a16:creationId xmlns:a16="http://schemas.microsoft.com/office/drawing/2014/main" xmlns="" id="{1590669D-492A-40FD-B596-7B2D1EA884B7}"/>
                  </a:ext>
                </a:extLst>
              </p:cNvPr>
              <p:cNvSpPr/>
              <p:nvPr/>
            </p:nvSpPr>
            <p:spPr>
              <a:xfrm>
                <a:off x="14230789" y="3752168"/>
                <a:ext cx="88112" cy="88112"/>
              </a:xfrm>
              <a:custGeom>
                <a:avLst/>
                <a:gdLst/>
                <a:ahLst/>
                <a:cxnLst>
                  <a:cxn ang="3cd4">
                    <a:pos x="hc" y="t"/>
                  </a:cxn>
                  <a:cxn ang="cd2">
                    <a:pos x="l" y="vc"/>
                  </a:cxn>
                  <a:cxn ang="cd4">
                    <a:pos x="hc" y="b"/>
                  </a:cxn>
                  <a:cxn ang="0">
                    <a:pos x="r" y="vc"/>
                  </a:cxn>
                </a:cxnLst>
                <a:rect l="l" t="t" r="r" b="b"/>
                <a:pathLst>
                  <a:path w="29" h="29">
                    <a:moveTo>
                      <a:pt x="0" y="11"/>
                    </a:moveTo>
                    <a:cubicBezTo>
                      <a:pt x="-2" y="19"/>
                      <a:pt x="3" y="27"/>
                      <a:pt x="10" y="29"/>
                    </a:cubicBezTo>
                    <a:cubicBezTo>
                      <a:pt x="18" y="31"/>
                      <a:pt x="26" y="26"/>
                      <a:pt x="28" y="19"/>
                    </a:cubicBezTo>
                    <a:cubicBezTo>
                      <a:pt x="30" y="11"/>
                      <a:pt x="26" y="3"/>
                      <a:pt x="18" y="1"/>
                    </a:cubicBezTo>
                    <a:cubicBezTo>
                      <a:pt x="10" y="-1"/>
                      <a:pt x="2" y="3"/>
                      <a:pt x="0" y="11"/>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3" name="Freeform: Shape 6639">
                <a:extLst>
                  <a:ext uri="{FF2B5EF4-FFF2-40B4-BE49-F238E27FC236}">
                    <a16:creationId xmlns:a16="http://schemas.microsoft.com/office/drawing/2014/main" xmlns="" id="{67AF3BA0-789F-44E0-B7D7-A11DBD7040EF}"/>
                  </a:ext>
                </a:extLst>
              </p:cNvPr>
              <p:cNvSpPr/>
              <p:nvPr/>
            </p:nvSpPr>
            <p:spPr>
              <a:xfrm>
                <a:off x="14425893" y="3815105"/>
                <a:ext cx="88112" cy="88112"/>
              </a:xfrm>
              <a:custGeom>
                <a:avLst/>
                <a:gdLst/>
                <a:ahLst/>
                <a:cxnLst>
                  <a:cxn ang="3cd4">
                    <a:pos x="hc" y="t"/>
                  </a:cxn>
                  <a:cxn ang="cd2">
                    <a:pos x="l" y="vc"/>
                  </a:cxn>
                  <a:cxn ang="cd4">
                    <a:pos x="hc" y="b"/>
                  </a:cxn>
                  <a:cxn ang="0">
                    <a:pos x="r" y="vc"/>
                  </a:cxn>
                </a:cxnLst>
                <a:rect l="l" t="t" r="r" b="b"/>
                <a:pathLst>
                  <a:path w="29" h="29">
                    <a:moveTo>
                      <a:pt x="1" y="10"/>
                    </a:moveTo>
                    <a:cubicBezTo>
                      <a:pt x="-2" y="17"/>
                      <a:pt x="2" y="26"/>
                      <a:pt x="9" y="28"/>
                    </a:cubicBezTo>
                    <a:cubicBezTo>
                      <a:pt x="17" y="31"/>
                      <a:pt x="25" y="28"/>
                      <a:pt x="28" y="20"/>
                    </a:cubicBezTo>
                    <a:cubicBezTo>
                      <a:pt x="31" y="13"/>
                      <a:pt x="28" y="4"/>
                      <a:pt x="20" y="1"/>
                    </a:cubicBezTo>
                    <a:cubicBezTo>
                      <a:pt x="13" y="-2"/>
                      <a:pt x="4" y="2"/>
                      <a:pt x="1" y="10"/>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4" name="Freeform: Shape 6640">
                <a:extLst>
                  <a:ext uri="{FF2B5EF4-FFF2-40B4-BE49-F238E27FC236}">
                    <a16:creationId xmlns:a16="http://schemas.microsoft.com/office/drawing/2014/main" xmlns="" id="{FB06F0D2-E99B-4CCC-82D9-1016EAB119A6}"/>
                  </a:ext>
                </a:extLst>
              </p:cNvPr>
              <p:cNvSpPr/>
              <p:nvPr/>
            </p:nvSpPr>
            <p:spPr>
              <a:xfrm>
                <a:off x="14614695" y="3909502"/>
                <a:ext cx="88112" cy="88112"/>
              </a:xfrm>
              <a:custGeom>
                <a:avLst/>
                <a:gdLst/>
                <a:ahLst/>
                <a:cxnLst>
                  <a:cxn ang="3cd4">
                    <a:pos x="hc" y="t"/>
                  </a:cxn>
                  <a:cxn ang="cd2">
                    <a:pos x="l" y="vc"/>
                  </a:cxn>
                  <a:cxn ang="cd4">
                    <a:pos x="hc" y="b"/>
                  </a:cxn>
                  <a:cxn ang="0">
                    <a:pos x="r" y="vc"/>
                  </a:cxn>
                </a:cxnLst>
                <a:rect l="l" t="t" r="r" b="b"/>
                <a:pathLst>
                  <a:path w="29" h="29">
                    <a:moveTo>
                      <a:pt x="1" y="7"/>
                    </a:moveTo>
                    <a:cubicBezTo>
                      <a:pt x="-2" y="14"/>
                      <a:pt x="0" y="23"/>
                      <a:pt x="6" y="27"/>
                    </a:cubicBezTo>
                    <a:cubicBezTo>
                      <a:pt x="14" y="31"/>
                      <a:pt x="22" y="29"/>
                      <a:pt x="27" y="21"/>
                    </a:cubicBezTo>
                    <a:cubicBezTo>
                      <a:pt x="31" y="14"/>
                      <a:pt x="28" y="5"/>
                      <a:pt x="21" y="1"/>
                    </a:cubicBezTo>
                    <a:cubicBezTo>
                      <a:pt x="14" y="-2"/>
                      <a:pt x="5" y="0"/>
                      <a:pt x="1" y="7"/>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5" name="Freeform: Shape 6641">
                <a:extLst>
                  <a:ext uri="{FF2B5EF4-FFF2-40B4-BE49-F238E27FC236}">
                    <a16:creationId xmlns:a16="http://schemas.microsoft.com/office/drawing/2014/main" xmlns="" id="{A2D34F2C-01E4-4CDF-8829-CACBB852DA47}"/>
                  </a:ext>
                </a:extLst>
              </p:cNvPr>
              <p:cNvSpPr/>
              <p:nvPr/>
            </p:nvSpPr>
            <p:spPr>
              <a:xfrm>
                <a:off x="14787780" y="4025935"/>
                <a:ext cx="88112" cy="88112"/>
              </a:xfrm>
              <a:custGeom>
                <a:avLst/>
                <a:gdLst/>
                <a:ahLst/>
                <a:cxnLst>
                  <a:cxn ang="3cd4">
                    <a:pos x="hc" y="t"/>
                  </a:cxn>
                  <a:cxn ang="cd2">
                    <a:pos x="l" y="vc"/>
                  </a:cxn>
                  <a:cxn ang="cd4">
                    <a:pos x="hc" y="b"/>
                  </a:cxn>
                  <a:cxn ang="0">
                    <a:pos x="r" y="vc"/>
                  </a:cxn>
                </a:cxnLst>
                <a:rect l="l" t="t" r="r" b="b"/>
                <a:pathLst>
                  <a:path w="29" h="29">
                    <a:moveTo>
                      <a:pt x="2" y="5"/>
                    </a:moveTo>
                    <a:cubicBezTo>
                      <a:pt x="-2" y="11"/>
                      <a:pt x="-1" y="20"/>
                      <a:pt x="5" y="26"/>
                    </a:cubicBezTo>
                    <a:cubicBezTo>
                      <a:pt x="11" y="30"/>
                      <a:pt x="21" y="29"/>
                      <a:pt x="25" y="23"/>
                    </a:cubicBezTo>
                    <a:cubicBezTo>
                      <a:pt x="30" y="16"/>
                      <a:pt x="29" y="7"/>
                      <a:pt x="23" y="2"/>
                    </a:cubicBezTo>
                    <a:cubicBezTo>
                      <a:pt x="16" y="-2"/>
                      <a:pt x="7" y="-1"/>
                      <a:pt x="2" y="5"/>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6" name="Freeform: Shape 6642">
                <a:extLst>
                  <a:ext uri="{FF2B5EF4-FFF2-40B4-BE49-F238E27FC236}">
                    <a16:creationId xmlns:a16="http://schemas.microsoft.com/office/drawing/2014/main" xmlns="" id="{6B2005F6-1FBD-4E21-8FBB-B4FBFDB58B05}"/>
                  </a:ext>
                </a:extLst>
              </p:cNvPr>
              <p:cNvSpPr/>
              <p:nvPr/>
            </p:nvSpPr>
            <p:spPr>
              <a:xfrm>
                <a:off x="14941975" y="4161258"/>
                <a:ext cx="91258" cy="88112"/>
              </a:xfrm>
              <a:custGeom>
                <a:avLst/>
                <a:gdLst/>
                <a:ahLst/>
                <a:cxnLst>
                  <a:cxn ang="3cd4">
                    <a:pos x="hc" y="t"/>
                  </a:cxn>
                  <a:cxn ang="cd2">
                    <a:pos x="l" y="vc"/>
                  </a:cxn>
                  <a:cxn ang="cd4">
                    <a:pos x="hc" y="b"/>
                  </a:cxn>
                  <a:cxn ang="0">
                    <a:pos x="r" y="vc"/>
                  </a:cxn>
                </a:cxnLst>
                <a:rect l="l" t="t" r="r" b="b"/>
                <a:pathLst>
                  <a:path w="30" h="29">
                    <a:moveTo>
                      <a:pt x="4" y="4"/>
                    </a:moveTo>
                    <a:cubicBezTo>
                      <a:pt x="-1" y="10"/>
                      <a:pt x="-1" y="19"/>
                      <a:pt x="4" y="25"/>
                    </a:cubicBezTo>
                    <a:cubicBezTo>
                      <a:pt x="10" y="30"/>
                      <a:pt x="19" y="30"/>
                      <a:pt x="25" y="25"/>
                    </a:cubicBezTo>
                    <a:cubicBezTo>
                      <a:pt x="31" y="19"/>
                      <a:pt x="31" y="10"/>
                      <a:pt x="25" y="4"/>
                    </a:cubicBezTo>
                    <a:cubicBezTo>
                      <a:pt x="19" y="-1"/>
                      <a:pt x="10" y="-1"/>
                      <a:pt x="4" y="4"/>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07" name="Freeform: Shape 6643">
                <a:extLst>
                  <a:ext uri="{FF2B5EF4-FFF2-40B4-BE49-F238E27FC236}">
                    <a16:creationId xmlns:a16="http://schemas.microsoft.com/office/drawing/2014/main" xmlns="" id="{8B8224C5-08E5-4781-8C72-C487E7EA2AAF}"/>
                  </a:ext>
                </a:extLst>
              </p:cNvPr>
              <p:cNvSpPr/>
              <p:nvPr/>
            </p:nvSpPr>
            <p:spPr>
              <a:xfrm>
                <a:off x="15080436" y="4318600"/>
                <a:ext cx="88112" cy="88112"/>
              </a:xfrm>
              <a:custGeom>
                <a:avLst/>
                <a:gdLst/>
                <a:ahLst/>
                <a:cxnLst>
                  <a:cxn ang="3cd4">
                    <a:pos x="hc" y="t"/>
                  </a:cxn>
                  <a:cxn ang="cd2">
                    <a:pos x="l" y="vc"/>
                  </a:cxn>
                  <a:cxn ang="cd4">
                    <a:pos x="hc" y="b"/>
                  </a:cxn>
                  <a:cxn ang="0">
                    <a:pos x="r" y="vc"/>
                  </a:cxn>
                </a:cxnLst>
                <a:rect l="l" t="t" r="r" b="b"/>
                <a:pathLst>
                  <a:path w="29" h="29">
                    <a:moveTo>
                      <a:pt x="5" y="3"/>
                    </a:moveTo>
                    <a:cubicBezTo>
                      <a:pt x="-1" y="7"/>
                      <a:pt x="-2" y="17"/>
                      <a:pt x="2" y="23"/>
                    </a:cubicBezTo>
                    <a:cubicBezTo>
                      <a:pt x="8" y="29"/>
                      <a:pt x="17" y="30"/>
                      <a:pt x="23" y="26"/>
                    </a:cubicBezTo>
                    <a:cubicBezTo>
                      <a:pt x="29" y="21"/>
                      <a:pt x="30" y="12"/>
                      <a:pt x="26" y="5"/>
                    </a:cubicBezTo>
                    <a:cubicBezTo>
                      <a:pt x="20" y="-1"/>
                      <a:pt x="12" y="-2"/>
                      <a:pt x="5" y="3"/>
                    </a:cubicBezTo>
                    <a:close/>
                  </a:path>
                </a:pathLst>
              </a:custGeom>
              <a:grp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grpSp>
        <p:sp>
          <p:nvSpPr>
            <p:cNvPr id="127" name="Freeform: Shape 6809">
              <a:extLst>
                <a:ext uri="{FF2B5EF4-FFF2-40B4-BE49-F238E27FC236}">
                  <a16:creationId xmlns:a16="http://schemas.microsoft.com/office/drawing/2014/main" xmlns="" id="{11F9B6DA-F714-48C0-AB33-2814EB3AB0D3}"/>
                </a:ext>
              </a:extLst>
            </p:cNvPr>
            <p:cNvSpPr/>
            <p:nvPr/>
          </p:nvSpPr>
          <p:spPr>
            <a:xfrm>
              <a:off x="6894988" y="3032624"/>
              <a:ext cx="1048172" cy="1167390"/>
            </a:xfrm>
            <a:custGeom>
              <a:avLst/>
              <a:gdLst/>
              <a:ahLst/>
              <a:cxnLst>
                <a:cxn ang="3cd4">
                  <a:pos x="hc" y="t"/>
                </a:cxn>
                <a:cxn ang="cd2">
                  <a:pos x="l" y="vc"/>
                </a:cxn>
                <a:cxn ang="cd4">
                  <a:pos x="hc" y="b"/>
                </a:cxn>
                <a:cxn ang="0">
                  <a:pos x="r" y="vc"/>
                </a:cxn>
              </a:cxnLst>
              <a:rect l="l" t="t" r="r" b="b"/>
              <a:pathLst>
                <a:path w="889" h="990">
                  <a:moveTo>
                    <a:pt x="889" y="0"/>
                  </a:moveTo>
                  <a:cubicBezTo>
                    <a:pt x="889" y="246"/>
                    <a:pt x="690" y="445"/>
                    <a:pt x="445" y="445"/>
                  </a:cubicBezTo>
                  <a:cubicBezTo>
                    <a:pt x="199" y="445"/>
                    <a:pt x="0" y="246"/>
                    <a:pt x="0" y="0"/>
                  </a:cubicBezTo>
                  <a:lnTo>
                    <a:pt x="0" y="990"/>
                  </a:lnTo>
                  <a:cubicBezTo>
                    <a:pt x="0" y="744"/>
                    <a:pt x="199" y="545"/>
                    <a:pt x="445" y="545"/>
                  </a:cubicBezTo>
                  <a:cubicBezTo>
                    <a:pt x="559" y="545"/>
                    <a:pt x="664" y="588"/>
                    <a:pt x="743" y="660"/>
                  </a:cubicBezTo>
                  <a:lnTo>
                    <a:pt x="889" y="745"/>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28" name="Freeform: Shape 6810">
              <a:extLst>
                <a:ext uri="{FF2B5EF4-FFF2-40B4-BE49-F238E27FC236}">
                  <a16:creationId xmlns:a16="http://schemas.microsoft.com/office/drawing/2014/main" xmlns="" id="{E522C6D7-966E-42AB-8411-3367926A28BD}"/>
                </a:ext>
              </a:extLst>
            </p:cNvPr>
            <p:cNvSpPr/>
            <p:nvPr/>
          </p:nvSpPr>
          <p:spPr>
            <a:xfrm>
              <a:off x="7419075" y="3811671"/>
              <a:ext cx="1248835" cy="1442417"/>
            </a:xfrm>
            <a:custGeom>
              <a:avLst/>
              <a:gdLst/>
              <a:ahLst/>
              <a:cxnLst>
                <a:cxn ang="3cd4">
                  <a:pos x="hc" y="t"/>
                </a:cxn>
                <a:cxn ang="cd2">
                  <a:pos x="l" y="vc"/>
                </a:cxn>
                <a:cxn ang="cd4">
                  <a:pos x="hc" y="b"/>
                </a:cxn>
                <a:cxn ang="0">
                  <a:pos x="r" y="vc"/>
                </a:cxn>
              </a:cxnLst>
              <a:rect l="l" t="t" r="r" b="b"/>
              <a:pathLst>
                <a:path w="1059" h="1223">
                  <a:moveTo>
                    <a:pt x="1059" y="439"/>
                  </a:moveTo>
                  <a:lnTo>
                    <a:pt x="299" y="0"/>
                  </a:lnTo>
                  <a:cubicBezTo>
                    <a:pt x="389" y="82"/>
                    <a:pt x="445" y="199"/>
                    <a:pt x="445" y="330"/>
                  </a:cubicBezTo>
                  <a:cubicBezTo>
                    <a:pt x="445" y="495"/>
                    <a:pt x="355" y="639"/>
                    <a:pt x="222" y="716"/>
                  </a:cubicBezTo>
                  <a:lnTo>
                    <a:pt x="0" y="846"/>
                  </a:lnTo>
                  <a:lnTo>
                    <a:pt x="638" y="1223"/>
                  </a:lnTo>
                  <a:lnTo>
                    <a:pt x="639" y="1222"/>
                  </a:lnTo>
                  <a:cubicBezTo>
                    <a:pt x="638" y="1222"/>
                    <a:pt x="637" y="1221"/>
                    <a:pt x="636" y="1221"/>
                  </a:cubicBezTo>
                  <a:cubicBezTo>
                    <a:pt x="424" y="1098"/>
                    <a:pt x="351" y="826"/>
                    <a:pt x="474" y="614"/>
                  </a:cubicBezTo>
                  <a:cubicBezTo>
                    <a:pt x="592" y="409"/>
                    <a:pt x="850" y="333"/>
                    <a:pt x="1059" y="439"/>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29" name="Freeform: Shape 6811">
              <a:extLst>
                <a:ext uri="{FF2B5EF4-FFF2-40B4-BE49-F238E27FC236}">
                  <a16:creationId xmlns:a16="http://schemas.microsoft.com/office/drawing/2014/main" xmlns="" id="{55D62888-B24C-430F-BB43-C57A8ECAAB02}"/>
                </a:ext>
              </a:extLst>
            </p:cNvPr>
            <p:cNvSpPr/>
            <p:nvPr/>
          </p:nvSpPr>
          <p:spPr>
            <a:xfrm>
              <a:off x="7154671" y="3773898"/>
              <a:ext cx="657468" cy="316340"/>
            </a:xfrm>
            <a:custGeom>
              <a:avLst/>
              <a:gdLst/>
              <a:ahLst/>
              <a:cxnLst>
                <a:cxn ang="3cd4">
                  <a:pos x="hc" y="t"/>
                </a:cxn>
                <a:cxn ang="cd2">
                  <a:pos x="l" y="vc"/>
                </a:cxn>
                <a:cxn ang="cd4">
                  <a:pos x="hc" y="b"/>
                </a:cxn>
                <a:cxn ang="0">
                  <a:pos x="r" y="vc"/>
                </a:cxn>
              </a:cxnLst>
              <a:rect l="l" t="t" r="r" b="b"/>
              <a:pathLst>
                <a:path w="558" h="269">
                  <a:moveTo>
                    <a:pt x="83" y="118"/>
                  </a:moveTo>
                  <a:cubicBezTo>
                    <a:pt x="217" y="40"/>
                    <a:pt x="390" y="87"/>
                    <a:pt x="467" y="221"/>
                  </a:cubicBezTo>
                  <a:cubicBezTo>
                    <a:pt x="473" y="232"/>
                    <a:pt x="478" y="242"/>
                    <a:pt x="483" y="253"/>
                  </a:cubicBezTo>
                  <a:lnTo>
                    <a:pt x="535" y="269"/>
                  </a:lnTo>
                  <a:lnTo>
                    <a:pt x="558" y="221"/>
                  </a:lnTo>
                  <a:cubicBezTo>
                    <a:pt x="503" y="91"/>
                    <a:pt x="375" y="0"/>
                    <a:pt x="225" y="0"/>
                  </a:cubicBezTo>
                  <a:cubicBezTo>
                    <a:pt x="140" y="0"/>
                    <a:pt x="62" y="29"/>
                    <a:pt x="0" y="78"/>
                  </a:cubicBezTo>
                  <a:lnTo>
                    <a:pt x="51" y="87"/>
                  </a:lnTo>
                  <a:lnTo>
                    <a:pt x="51" y="140"/>
                  </a:lnTo>
                  <a:cubicBezTo>
                    <a:pt x="61" y="132"/>
                    <a:pt x="72" y="125"/>
                    <a:pt x="83" y="118"/>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30" name="Freeform: Shape 6812">
              <a:extLst>
                <a:ext uri="{FF2B5EF4-FFF2-40B4-BE49-F238E27FC236}">
                  <a16:creationId xmlns:a16="http://schemas.microsoft.com/office/drawing/2014/main" xmlns="" id="{29FD756C-2152-48C8-A775-A6B65E0800FA}"/>
                </a:ext>
              </a:extLst>
            </p:cNvPr>
            <p:cNvSpPr/>
            <p:nvPr/>
          </p:nvSpPr>
          <p:spPr>
            <a:xfrm>
              <a:off x="6991779" y="3937972"/>
              <a:ext cx="302176" cy="658649"/>
            </a:xfrm>
            <a:custGeom>
              <a:avLst/>
              <a:gdLst/>
              <a:ahLst/>
              <a:cxnLst>
                <a:cxn ang="3cd4">
                  <a:pos x="hc" y="t"/>
                </a:cxn>
                <a:cxn ang="cd2">
                  <a:pos x="l" y="vc"/>
                </a:cxn>
                <a:cxn ang="cd4">
                  <a:pos x="hc" y="b"/>
                </a:cxn>
                <a:cxn ang="0">
                  <a:pos x="r" y="vc"/>
                </a:cxn>
              </a:cxnLst>
              <a:rect l="l" t="t" r="r" b="b"/>
              <a:pathLst>
                <a:path w="257" h="559">
                  <a:moveTo>
                    <a:pt x="222" y="467"/>
                  </a:moveTo>
                  <a:cubicBezTo>
                    <a:pt x="87" y="389"/>
                    <a:pt x="41" y="218"/>
                    <a:pt x="119" y="83"/>
                  </a:cubicBezTo>
                  <a:cubicBezTo>
                    <a:pt x="125" y="73"/>
                    <a:pt x="132" y="63"/>
                    <a:pt x="138" y="53"/>
                  </a:cubicBezTo>
                  <a:lnTo>
                    <a:pt x="126" y="0"/>
                  </a:lnTo>
                  <a:lnTo>
                    <a:pt x="73" y="5"/>
                  </a:lnTo>
                  <a:cubicBezTo>
                    <a:pt x="-12" y="117"/>
                    <a:pt x="-27" y="274"/>
                    <a:pt x="49" y="404"/>
                  </a:cubicBezTo>
                  <a:cubicBezTo>
                    <a:pt x="91" y="477"/>
                    <a:pt x="155" y="530"/>
                    <a:pt x="228" y="559"/>
                  </a:cubicBezTo>
                  <a:lnTo>
                    <a:pt x="210" y="511"/>
                  </a:lnTo>
                  <a:lnTo>
                    <a:pt x="257" y="484"/>
                  </a:lnTo>
                  <a:cubicBezTo>
                    <a:pt x="245" y="479"/>
                    <a:pt x="233" y="474"/>
                    <a:pt x="222" y="467"/>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31" name="Freeform: Shape 6813">
              <a:extLst>
                <a:ext uri="{FF2B5EF4-FFF2-40B4-BE49-F238E27FC236}">
                  <a16:creationId xmlns:a16="http://schemas.microsoft.com/office/drawing/2014/main" xmlns="" id="{696D7592-0854-4B1C-8118-A0D5C682DA2F}"/>
                </a:ext>
              </a:extLst>
            </p:cNvPr>
            <p:cNvSpPr/>
            <p:nvPr/>
          </p:nvSpPr>
          <p:spPr>
            <a:xfrm>
              <a:off x="7331728" y="4138635"/>
              <a:ext cx="515823" cy="488675"/>
            </a:xfrm>
            <a:custGeom>
              <a:avLst/>
              <a:gdLst/>
              <a:ahLst/>
              <a:cxnLst>
                <a:cxn ang="3cd4">
                  <a:pos x="hc" y="t"/>
                </a:cxn>
                <a:cxn ang="cd2">
                  <a:pos x="l" y="vc"/>
                </a:cxn>
                <a:cxn ang="cd4">
                  <a:pos x="hc" y="b"/>
                </a:cxn>
                <a:cxn ang="0">
                  <a:pos x="r" y="vc"/>
                </a:cxn>
              </a:cxnLst>
              <a:rect l="l" t="t" r="r" b="b"/>
              <a:pathLst>
                <a:path w="438" h="415">
                  <a:moveTo>
                    <a:pt x="357" y="52"/>
                  </a:moveTo>
                  <a:cubicBezTo>
                    <a:pt x="357" y="207"/>
                    <a:pt x="231" y="333"/>
                    <a:pt x="76" y="333"/>
                  </a:cubicBezTo>
                  <a:cubicBezTo>
                    <a:pt x="64" y="333"/>
                    <a:pt x="53" y="332"/>
                    <a:pt x="41" y="331"/>
                  </a:cubicBezTo>
                  <a:lnTo>
                    <a:pt x="0" y="368"/>
                  </a:lnTo>
                  <a:lnTo>
                    <a:pt x="31" y="412"/>
                  </a:lnTo>
                  <a:cubicBezTo>
                    <a:pt x="171" y="429"/>
                    <a:pt x="314" y="363"/>
                    <a:pt x="389" y="234"/>
                  </a:cubicBezTo>
                  <a:cubicBezTo>
                    <a:pt x="432" y="160"/>
                    <a:pt x="445" y="78"/>
                    <a:pt x="434" y="0"/>
                  </a:cubicBezTo>
                  <a:lnTo>
                    <a:pt x="400" y="40"/>
                  </a:lnTo>
                  <a:lnTo>
                    <a:pt x="355" y="13"/>
                  </a:lnTo>
                  <a:cubicBezTo>
                    <a:pt x="356" y="26"/>
                    <a:pt x="357" y="39"/>
                    <a:pt x="357" y="52"/>
                  </a:cubicBez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1400" dirty="0">
                <a:latin typeface="Arial" pitchFamily="18"/>
                <a:ea typeface="Arial Unicode MS" pitchFamily="2"/>
                <a:cs typeface="Arial Unicode MS" pitchFamily="2"/>
              </a:endParaRPr>
            </a:p>
          </p:txBody>
        </p:sp>
        <p:sp>
          <p:nvSpPr>
            <p:cNvPr id="132" name="TextBox 368">
              <a:extLst>
                <a:ext uri="{FF2B5EF4-FFF2-40B4-BE49-F238E27FC236}">
                  <a16:creationId xmlns:a16="http://schemas.microsoft.com/office/drawing/2014/main" xmlns="" id="{0580F8B2-A0CE-4182-A880-39DB3C4897D9}"/>
                </a:ext>
              </a:extLst>
            </p:cNvPr>
            <p:cNvSpPr txBox="1"/>
            <p:nvPr/>
          </p:nvSpPr>
          <p:spPr>
            <a:xfrm>
              <a:off x="7027191" y="2875073"/>
              <a:ext cx="774325" cy="243013"/>
            </a:xfrm>
            <a:prstGeom prst="rect">
              <a:avLst/>
            </a:prstGeom>
            <a:noFill/>
          </p:spPr>
          <p:txBody>
            <a:bodyPr wrap="square" rtlCol="0">
              <a:spAutoFit/>
            </a:bodyPr>
            <a:lstStyle/>
            <a:p>
              <a:pPr algn="ctr"/>
              <a:r>
                <a:rPr lang="en-GB" sz="1400" b="1">
                  <a:solidFill>
                    <a:schemeClr val="bg1"/>
                  </a:solidFill>
                  <a:latin typeface="+mj-lt"/>
                  <a:ea typeface="Lato Light" charset="0"/>
                  <a:cs typeface="Lato Light" charset="0"/>
                </a:rPr>
                <a:t>Empresa</a:t>
              </a:r>
              <a:endParaRPr lang="en-GB" sz="1400" b="1" dirty="0">
                <a:solidFill>
                  <a:schemeClr val="bg1"/>
                </a:solidFill>
                <a:latin typeface="+mj-lt"/>
                <a:ea typeface="Lato Light" charset="0"/>
                <a:cs typeface="Lato Light" charset="0"/>
              </a:endParaRPr>
            </a:p>
          </p:txBody>
        </p:sp>
      </p:grpSp>
      <p:sp>
        <p:nvSpPr>
          <p:cNvPr id="133" name="TextBox 369">
            <a:extLst>
              <a:ext uri="{FF2B5EF4-FFF2-40B4-BE49-F238E27FC236}">
                <a16:creationId xmlns:a16="http://schemas.microsoft.com/office/drawing/2014/main" xmlns="" id="{68681639-C3EF-4E87-84A3-07034D47B837}"/>
              </a:ext>
            </a:extLst>
          </p:cNvPr>
          <p:cNvSpPr txBox="1"/>
          <p:nvPr/>
        </p:nvSpPr>
        <p:spPr>
          <a:xfrm>
            <a:off x="5824883" y="4858651"/>
            <a:ext cx="1047294" cy="307777"/>
          </a:xfrm>
          <a:prstGeom prst="rect">
            <a:avLst/>
          </a:prstGeom>
          <a:noFill/>
        </p:spPr>
        <p:txBody>
          <a:bodyPr wrap="square" rtlCol="0">
            <a:spAutoFit/>
          </a:bodyPr>
          <a:lstStyle/>
          <a:p>
            <a:pPr algn="ctr"/>
            <a:r>
              <a:rPr lang="en-GB" sz="1400" b="1">
                <a:solidFill>
                  <a:schemeClr val="bg1"/>
                </a:solidFill>
                <a:latin typeface="+mj-lt"/>
                <a:ea typeface="Lato Light" charset="0"/>
                <a:cs typeface="Lato Light" charset="0"/>
              </a:rPr>
              <a:t>Cliente</a:t>
            </a:r>
            <a:endParaRPr lang="en-GB" sz="1400" b="1" dirty="0">
              <a:solidFill>
                <a:schemeClr val="bg1"/>
              </a:solidFill>
              <a:latin typeface="+mj-lt"/>
              <a:ea typeface="Lato Light" charset="0"/>
              <a:cs typeface="Lato Light" charset="0"/>
            </a:endParaRPr>
          </a:p>
        </p:txBody>
      </p:sp>
      <p:sp>
        <p:nvSpPr>
          <p:cNvPr id="134" name="TextBox 371">
            <a:extLst>
              <a:ext uri="{FF2B5EF4-FFF2-40B4-BE49-F238E27FC236}">
                <a16:creationId xmlns:a16="http://schemas.microsoft.com/office/drawing/2014/main" xmlns="" id="{1955D2B6-9E48-4BCC-99BE-E19741B5B345}"/>
              </a:ext>
            </a:extLst>
          </p:cNvPr>
          <p:cNvSpPr txBox="1"/>
          <p:nvPr/>
        </p:nvSpPr>
        <p:spPr>
          <a:xfrm>
            <a:off x="8325938" y="4735775"/>
            <a:ext cx="1201666" cy="523220"/>
          </a:xfrm>
          <a:prstGeom prst="rect">
            <a:avLst/>
          </a:prstGeom>
          <a:noFill/>
        </p:spPr>
        <p:txBody>
          <a:bodyPr wrap="square" rtlCol="0">
            <a:spAutoFit/>
          </a:bodyPr>
          <a:lstStyle/>
          <a:p>
            <a:pPr algn="ctr"/>
            <a:r>
              <a:rPr lang="en-GB" sz="1400" b="1">
                <a:solidFill>
                  <a:schemeClr val="bg1"/>
                </a:solidFill>
                <a:latin typeface="+mj-lt"/>
                <a:ea typeface="Lato Light" charset="0"/>
                <a:cs typeface="Lato Light" charset="0"/>
              </a:rPr>
              <a:t>Factorización</a:t>
            </a:r>
            <a:br>
              <a:rPr lang="en-GB" sz="1400" b="1">
                <a:solidFill>
                  <a:schemeClr val="bg1"/>
                </a:solidFill>
                <a:latin typeface="+mj-lt"/>
                <a:ea typeface="Lato Light" charset="0"/>
                <a:cs typeface="Lato Light" charset="0"/>
              </a:rPr>
            </a:br>
            <a:r>
              <a:rPr lang="en-GB" sz="1400" b="1">
                <a:solidFill>
                  <a:schemeClr val="bg1"/>
                </a:solidFill>
                <a:latin typeface="+mj-lt"/>
                <a:ea typeface="Lato Light" charset="0"/>
                <a:cs typeface="Lato Light" charset="0"/>
              </a:rPr>
              <a:t>Organización</a:t>
            </a:r>
            <a:endParaRPr lang="en-GB" sz="1400" b="1" dirty="0">
              <a:solidFill>
                <a:schemeClr val="bg1"/>
              </a:solidFill>
              <a:latin typeface="+mj-lt"/>
              <a:ea typeface="Lato Light" charset="0"/>
              <a:cs typeface="Lato Light" charset="0"/>
            </a:endParaRPr>
          </a:p>
        </p:txBody>
      </p:sp>
      <p:grpSp>
        <p:nvGrpSpPr>
          <p:cNvPr id="135" name="Gruppieren 134">
            <a:extLst>
              <a:ext uri="{FF2B5EF4-FFF2-40B4-BE49-F238E27FC236}">
                <a16:creationId xmlns:a16="http://schemas.microsoft.com/office/drawing/2014/main" xmlns="" id="{4BB60AF0-B219-468D-ADE5-33069B88FF3C}"/>
              </a:ext>
            </a:extLst>
          </p:cNvPr>
          <p:cNvGrpSpPr/>
          <p:nvPr/>
        </p:nvGrpSpPr>
        <p:grpSpPr>
          <a:xfrm rot="7742465">
            <a:off x="5844137" y="3058639"/>
            <a:ext cx="966322" cy="860359"/>
            <a:chOff x="2290684" y="1670769"/>
            <a:chExt cx="1808891" cy="1606818"/>
          </a:xfrm>
        </p:grpSpPr>
        <p:sp>
          <p:nvSpPr>
            <p:cNvPr id="136" name="Rounded Rectangle 60">
              <a:extLst>
                <a:ext uri="{FF2B5EF4-FFF2-40B4-BE49-F238E27FC236}">
                  <a16:creationId xmlns:a16="http://schemas.microsoft.com/office/drawing/2014/main" xmlns="" id="{F47E0159-B1B4-4A79-B252-4075A726FB04}"/>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7" name="Rounded Rectangle 63">
              <a:extLst>
                <a:ext uri="{FF2B5EF4-FFF2-40B4-BE49-F238E27FC236}">
                  <a16:creationId xmlns:a16="http://schemas.microsoft.com/office/drawing/2014/main" xmlns="" id="{BADBAB5D-368F-4F5D-9825-92566BF30655}"/>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8" name="Rounded Rectangle 62">
              <a:extLst>
                <a:ext uri="{FF2B5EF4-FFF2-40B4-BE49-F238E27FC236}">
                  <a16:creationId xmlns:a16="http://schemas.microsoft.com/office/drawing/2014/main" xmlns="" id="{6F79F48B-F1A4-4818-9925-C4838CB008A2}"/>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grpSp>
        <p:nvGrpSpPr>
          <p:cNvPr id="143" name="Gruppieren 142">
            <a:extLst>
              <a:ext uri="{FF2B5EF4-FFF2-40B4-BE49-F238E27FC236}">
                <a16:creationId xmlns:a16="http://schemas.microsoft.com/office/drawing/2014/main" xmlns="" id="{40D8F4BF-81EA-4E96-90A4-62513D5B779E}"/>
              </a:ext>
            </a:extLst>
          </p:cNvPr>
          <p:cNvGrpSpPr/>
          <p:nvPr/>
        </p:nvGrpSpPr>
        <p:grpSpPr>
          <a:xfrm rot="3514867">
            <a:off x="9149206" y="3320709"/>
            <a:ext cx="966322" cy="860358"/>
            <a:chOff x="3772626" y="2531562"/>
            <a:chExt cx="1808891" cy="1606817"/>
          </a:xfrm>
        </p:grpSpPr>
        <p:sp>
          <p:nvSpPr>
            <p:cNvPr id="144" name="Rounded Rectangle 74">
              <a:extLst>
                <a:ext uri="{FF2B5EF4-FFF2-40B4-BE49-F238E27FC236}">
                  <a16:creationId xmlns:a16="http://schemas.microsoft.com/office/drawing/2014/main" xmlns="" id="{3606802E-AEAC-4681-8F9B-604C8DA2775C}"/>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5" name="Rounded Rectangle 75">
              <a:extLst>
                <a:ext uri="{FF2B5EF4-FFF2-40B4-BE49-F238E27FC236}">
                  <a16:creationId xmlns:a16="http://schemas.microsoft.com/office/drawing/2014/main" xmlns="" id="{AC41D9B9-8F75-47D5-A2C5-98C884B1A812}"/>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6" name="Rounded Rectangle 76">
              <a:extLst>
                <a:ext uri="{FF2B5EF4-FFF2-40B4-BE49-F238E27FC236}">
                  <a16:creationId xmlns:a16="http://schemas.microsoft.com/office/drawing/2014/main" xmlns="" id="{C96C9F7F-0ED2-4D79-AA38-FBE311AD8A91}"/>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sp>
        <p:nvSpPr>
          <p:cNvPr id="151" name="TextBox 99">
            <a:extLst>
              <a:ext uri="{FF2B5EF4-FFF2-40B4-BE49-F238E27FC236}">
                <a16:creationId xmlns:a16="http://schemas.microsoft.com/office/drawing/2014/main" xmlns="" id="{4ADB7C8C-D691-404D-9EEB-9A65BEE69228}"/>
              </a:ext>
            </a:extLst>
          </p:cNvPr>
          <p:cNvSpPr txBox="1"/>
          <p:nvPr/>
        </p:nvSpPr>
        <p:spPr>
          <a:xfrm>
            <a:off x="9928052" y="3676475"/>
            <a:ext cx="1410001" cy="311624"/>
          </a:xfrm>
          <a:prstGeom prst="rect">
            <a:avLst/>
          </a:prstGeom>
          <a:noFill/>
        </p:spPr>
        <p:txBody>
          <a:bodyPr wrap="none" rtlCol="0" anchor="ctr" anchorCtr="0">
            <a:spAutoFit/>
          </a:bodyPr>
          <a:lstStyle/>
          <a:p>
            <a:r>
              <a:rPr lang="en-GB" sz="1400" b="1" spc="113">
                <a:solidFill>
                  <a:srgbClr val="C7621B"/>
                </a:solidFill>
                <a:latin typeface="+mj-lt"/>
                <a:ea typeface="League Spartan" charset="0"/>
                <a:cs typeface="Poppins" pitchFamily="2" charset="77"/>
              </a:rPr>
              <a:t>Pagar la reclamación</a:t>
            </a:r>
            <a:endParaRPr lang="en-GB" sz="1400" b="1" spc="113" dirty="0">
              <a:solidFill>
                <a:srgbClr val="C7621B"/>
              </a:solidFill>
              <a:latin typeface="+mj-lt"/>
              <a:ea typeface="League Spartan" charset="0"/>
              <a:cs typeface="Poppins" pitchFamily="2" charset="77"/>
            </a:endParaRPr>
          </a:p>
        </p:txBody>
      </p:sp>
      <p:sp>
        <p:nvSpPr>
          <p:cNvPr id="153" name="TextBox 99">
            <a:extLst>
              <a:ext uri="{FF2B5EF4-FFF2-40B4-BE49-F238E27FC236}">
                <a16:creationId xmlns:a16="http://schemas.microsoft.com/office/drawing/2014/main" xmlns="" id="{A66E9DAA-196A-4294-BF97-95436770F621}"/>
              </a:ext>
            </a:extLst>
          </p:cNvPr>
          <p:cNvSpPr txBox="1"/>
          <p:nvPr/>
        </p:nvSpPr>
        <p:spPr>
          <a:xfrm>
            <a:off x="4788495" y="2749449"/>
            <a:ext cx="1609351" cy="530915"/>
          </a:xfrm>
          <a:prstGeom prst="rect">
            <a:avLst/>
          </a:prstGeom>
          <a:noFill/>
        </p:spPr>
        <p:txBody>
          <a:bodyPr wrap="none" rtlCol="0" anchor="ctr" anchorCtr="0">
            <a:spAutoFit/>
          </a:bodyPr>
          <a:lstStyle/>
          <a:p>
            <a:r>
              <a:rPr lang="en-GB" sz="1400" b="1" spc="113">
                <a:solidFill>
                  <a:srgbClr val="395C9B"/>
                </a:solidFill>
                <a:latin typeface="+mj-lt"/>
                <a:ea typeface="League Spartan" charset="0"/>
                <a:cs typeface="Poppins" pitchFamily="2" charset="77"/>
              </a:rPr>
              <a:t>Entrega</a:t>
            </a:r>
            <a:br>
              <a:rPr lang="en-GB" sz="1400" b="1" spc="113">
                <a:solidFill>
                  <a:srgbClr val="395C9B"/>
                </a:solidFill>
                <a:latin typeface="+mj-lt"/>
                <a:ea typeface="League Spartan" charset="0"/>
                <a:cs typeface="Poppins" pitchFamily="2" charset="77"/>
              </a:rPr>
            </a:br>
            <a:r>
              <a:rPr lang="en-GB" sz="1400" b="1" spc="113">
                <a:solidFill>
                  <a:srgbClr val="395C9B"/>
                </a:solidFill>
                <a:latin typeface="+mj-lt"/>
                <a:ea typeface="League Spartan" charset="0"/>
                <a:cs typeface="Poppins" pitchFamily="2" charset="77"/>
              </a:rPr>
              <a:t>Bienes / Servicios</a:t>
            </a:r>
            <a:endParaRPr lang="en-GB" sz="1400" b="1" spc="113" dirty="0">
              <a:solidFill>
                <a:srgbClr val="395C9B"/>
              </a:solidFill>
              <a:latin typeface="+mj-lt"/>
              <a:ea typeface="League Spartan" charset="0"/>
              <a:cs typeface="Poppins" pitchFamily="2" charset="77"/>
            </a:endParaRPr>
          </a:p>
        </p:txBody>
      </p:sp>
      <p:grpSp>
        <p:nvGrpSpPr>
          <p:cNvPr id="155" name="Gruppieren 154">
            <a:extLst>
              <a:ext uri="{FF2B5EF4-FFF2-40B4-BE49-F238E27FC236}">
                <a16:creationId xmlns:a16="http://schemas.microsoft.com/office/drawing/2014/main" xmlns="" id="{724520D2-34BF-455F-9C28-CA23F41F99B2}"/>
              </a:ext>
            </a:extLst>
          </p:cNvPr>
          <p:cNvGrpSpPr/>
          <p:nvPr/>
        </p:nvGrpSpPr>
        <p:grpSpPr>
          <a:xfrm rot="3325411">
            <a:off x="8367586" y="3027731"/>
            <a:ext cx="966322" cy="860359"/>
            <a:chOff x="2290684" y="1670769"/>
            <a:chExt cx="1808891" cy="1606818"/>
          </a:xfrm>
        </p:grpSpPr>
        <p:sp>
          <p:nvSpPr>
            <p:cNvPr id="156" name="Rounded Rectangle 60">
              <a:extLst>
                <a:ext uri="{FF2B5EF4-FFF2-40B4-BE49-F238E27FC236}">
                  <a16:creationId xmlns:a16="http://schemas.microsoft.com/office/drawing/2014/main" xmlns="" id="{B4C69D2C-3D80-4B00-999E-BF5DA0644037}"/>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7" name="Rounded Rectangle 63">
              <a:extLst>
                <a:ext uri="{FF2B5EF4-FFF2-40B4-BE49-F238E27FC236}">
                  <a16:creationId xmlns:a16="http://schemas.microsoft.com/office/drawing/2014/main" xmlns="" id="{EBDDB51E-E499-4B37-93CE-A3A556EB1410}"/>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8" name="Rounded Rectangle 62">
              <a:extLst>
                <a:ext uri="{FF2B5EF4-FFF2-40B4-BE49-F238E27FC236}">
                  <a16:creationId xmlns:a16="http://schemas.microsoft.com/office/drawing/2014/main" xmlns="" id="{6D4FE5BF-FBA3-4100-953F-C0E7FD96A8AE}"/>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sp>
        <p:nvSpPr>
          <p:cNvPr id="159" name="TextBox 99">
            <a:extLst>
              <a:ext uri="{FF2B5EF4-FFF2-40B4-BE49-F238E27FC236}">
                <a16:creationId xmlns:a16="http://schemas.microsoft.com/office/drawing/2014/main" xmlns="" id="{3E12C97A-CCEE-4F1A-A196-273225CE9EEC}"/>
              </a:ext>
            </a:extLst>
          </p:cNvPr>
          <p:cNvSpPr txBox="1"/>
          <p:nvPr/>
        </p:nvSpPr>
        <p:spPr>
          <a:xfrm>
            <a:off x="8796456" y="2798034"/>
            <a:ext cx="1188915" cy="311624"/>
          </a:xfrm>
          <a:prstGeom prst="rect">
            <a:avLst/>
          </a:prstGeom>
          <a:noFill/>
        </p:spPr>
        <p:txBody>
          <a:bodyPr wrap="none" rtlCol="0" anchor="ctr" anchorCtr="0">
            <a:spAutoFit/>
          </a:bodyPr>
          <a:lstStyle/>
          <a:p>
            <a:r>
              <a:rPr lang="en-GB" sz="1400" b="1" spc="113">
                <a:solidFill>
                  <a:srgbClr val="395C9B"/>
                </a:solidFill>
                <a:latin typeface="+mj-lt"/>
                <a:ea typeface="League Spartan" charset="0"/>
                <a:cs typeface="Poppins" pitchFamily="2" charset="77"/>
              </a:rPr>
              <a:t>Vende Reclamaciones</a:t>
            </a:r>
            <a:endParaRPr lang="en-GB" sz="1400" b="1" spc="113" dirty="0">
              <a:solidFill>
                <a:srgbClr val="395C9B"/>
              </a:solidFill>
              <a:latin typeface="+mj-lt"/>
              <a:ea typeface="League Spartan" charset="0"/>
              <a:cs typeface="Poppins" pitchFamily="2" charset="77"/>
            </a:endParaRPr>
          </a:p>
        </p:txBody>
      </p:sp>
      <p:grpSp>
        <p:nvGrpSpPr>
          <p:cNvPr id="160" name="Gruppieren 159">
            <a:extLst>
              <a:ext uri="{FF2B5EF4-FFF2-40B4-BE49-F238E27FC236}">
                <a16:creationId xmlns:a16="http://schemas.microsoft.com/office/drawing/2014/main" xmlns="" id="{45C6A8F3-C3C0-45C2-A5C1-DB6A58947591}"/>
              </a:ext>
            </a:extLst>
          </p:cNvPr>
          <p:cNvGrpSpPr/>
          <p:nvPr/>
        </p:nvGrpSpPr>
        <p:grpSpPr>
          <a:xfrm>
            <a:off x="7204224" y="5193484"/>
            <a:ext cx="966322" cy="860358"/>
            <a:chOff x="3772626" y="2531562"/>
            <a:chExt cx="1808891" cy="1606817"/>
          </a:xfrm>
        </p:grpSpPr>
        <p:sp>
          <p:nvSpPr>
            <p:cNvPr id="161" name="Rounded Rectangle 74">
              <a:extLst>
                <a:ext uri="{FF2B5EF4-FFF2-40B4-BE49-F238E27FC236}">
                  <a16:creationId xmlns:a16="http://schemas.microsoft.com/office/drawing/2014/main" xmlns="" id="{B154A0B5-9971-4522-91C6-9296E015F61B}"/>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2" name="Rounded Rectangle 75">
              <a:extLst>
                <a:ext uri="{FF2B5EF4-FFF2-40B4-BE49-F238E27FC236}">
                  <a16:creationId xmlns:a16="http://schemas.microsoft.com/office/drawing/2014/main" xmlns="" id="{2795C019-DCAB-4D65-911A-894F33F5C93D}"/>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3" name="Rounded Rectangle 76">
              <a:extLst>
                <a:ext uri="{FF2B5EF4-FFF2-40B4-BE49-F238E27FC236}">
                  <a16:creationId xmlns:a16="http://schemas.microsoft.com/office/drawing/2014/main" xmlns="" id="{B743889A-9AC1-4E81-B9F2-F3F36CBE91AD}"/>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sp>
        <p:nvSpPr>
          <p:cNvPr id="164" name="TextBox 99">
            <a:extLst>
              <a:ext uri="{FF2B5EF4-FFF2-40B4-BE49-F238E27FC236}">
                <a16:creationId xmlns:a16="http://schemas.microsoft.com/office/drawing/2014/main" xmlns="" id="{5F408D4B-AB62-4A86-BD24-DBF215274132}"/>
              </a:ext>
            </a:extLst>
          </p:cNvPr>
          <p:cNvSpPr txBox="1"/>
          <p:nvPr/>
        </p:nvSpPr>
        <p:spPr>
          <a:xfrm>
            <a:off x="8243559" y="5803012"/>
            <a:ext cx="2284600" cy="311624"/>
          </a:xfrm>
          <a:prstGeom prst="rect">
            <a:avLst/>
          </a:prstGeom>
          <a:noFill/>
        </p:spPr>
        <p:txBody>
          <a:bodyPr wrap="none" rtlCol="0" anchor="ctr" anchorCtr="0">
            <a:spAutoFit/>
          </a:bodyPr>
          <a:lstStyle/>
          <a:p>
            <a:r>
              <a:rPr lang="en-GB" sz="1400" b="1" spc="113">
                <a:solidFill>
                  <a:srgbClr val="C7621B"/>
                </a:solidFill>
                <a:latin typeface="+mj-lt"/>
                <a:ea typeface="League Spartan" charset="0"/>
                <a:cs typeface="Poppins" pitchFamily="2" charset="77"/>
              </a:rPr>
              <a:t>Comprobación de la solvencia</a:t>
            </a:r>
            <a:endParaRPr lang="en-GB" sz="1400" b="1" spc="113" dirty="0">
              <a:solidFill>
                <a:srgbClr val="C7621B"/>
              </a:solidFill>
              <a:latin typeface="+mj-lt"/>
              <a:ea typeface="League Spartan" charset="0"/>
              <a:cs typeface="Poppins" pitchFamily="2" charset="77"/>
            </a:endParaRPr>
          </a:p>
        </p:txBody>
      </p:sp>
      <p:grpSp>
        <p:nvGrpSpPr>
          <p:cNvPr id="165" name="Gruppieren 164">
            <a:extLst>
              <a:ext uri="{FF2B5EF4-FFF2-40B4-BE49-F238E27FC236}">
                <a16:creationId xmlns:a16="http://schemas.microsoft.com/office/drawing/2014/main" xmlns="" id="{EFD875AA-9C10-44DC-87D7-5C636A6AB00C}"/>
              </a:ext>
            </a:extLst>
          </p:cNvPr>
          <p:cNvGrpSpPr/>
          <p:nvPr/>
        </p:nvGrpSpPr>
        <p:grpSpPr>
          <a:xfrm>
            <a:off x="7224161" y="5710734"/>
            <a:ext cx="966322" cy="860359"/>
            <a:chOff x="2290684" y="3390989"/>
            <a:chExt cx="1808891" cy="1606818"/>
          </a:xfrm>
        </p:grpSpPr>
        <p:sp>
          <p:nvSpPr>
            <p:cNvPr id="166" name="Rounded Rectangle 70">
              <a:extLst>
                <a:ext uri="{FF2B5EF4-FFF2-40B4-BE49-F238E27FC236}">
                  <a16:creationId xmlns:a16="http://schemas.microsoft.com/office/drawing/2014/main" xmlns="" id="{C954A0F8-DA36-497A-B52B-3AD9D3C05C21}"/>
                </a:ext>
              </a:extLst>
            </p:cNvPr>
            <p:cNvSpPr/>
            <p:nvPr/>
          </p:nvSpPr>
          <p:spPr>
            <a:xfrm>
              <a:off x="2290684" y="3967677"/>
              <a:ext cx="1808891"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7" name="Rounded Rectangle 71">
              <a:extLst>
                <a:ext uri="{FF2B5EF4-FFF2-40B4-BE49-F238E27FC236}">
                  <a16:creationId xmlns:a16="http://schemas.microsoft.com/office/drawing/2014/main" xmlns="" id="{10FD7370-7B06-4FA4-9CCF-73E71DBCE51D}"/>
                </a:ext>
              </a:extLst>
            </p:cNvPr>
            <p:cNvSpPr/>
            <p:nvPr/>
          </p:nvSpPr>
          <p:spPr>
            <a:xfrm rot="18893649">
              <a:off x="3082077" y="4207067"/>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8" name="Rounded Rectangle 72">
              <a:extLst>
                <a:ext uri="{FF2B5EF4-FFF2-40B4-BE49-F238E27FC236}">
                  <a16:creationId xmlns:a16="http://schemas.microsoft.com/office/drawing/2014/main" xmlns="" id="{980EAB1E-331A-4102-8A5D-FB7BDF47BD15}"/>
                </a:ext>
              </a:extLst>
            </p:cNvPr>
            <p:cNvSpPr/>
            <p:nvPr/>
          </p:nvSpPr>
          <p:spPr>
            <a:xfrm rot="2717866">
              <a:off x="3082874" y="3724731"/>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grpSp>
      <p:sp>
        <p:nvSpPr>
          <p:cNvPr id="169" name="TextBox 99">
            <a:extLst>
              <a:ext uri="{FF2B5EF4-FFF2-40B4-BE49-F238E27FC236}">
                <a16:creationId xmlns:a16="http://schemas.microsoft.com/office/drawing/2014/main" xmlns="" id="{5F8A45B4-015B-4CF2-B0B1-772DC5D30F08}"/>
              </a:ext>
            </a:extLst>
          </p:cNvPr>
          <p:cNvSpPr txBox="1"/>
          <p:nvPr/>
        </p:nvSpPr>
        <p:spPr>
          <a:xfrm>
            <a:off x="6078013" y="5982879"/>
            <a:ext cx="1085939" cy="311624"/>
          </a:xfrm>
          <a:prstGeom prst="rect">
            <a:avLst/>
          </a:prstGeom>
          <a:noFill/>
        </p:spPr>
        <p:txBody>
          <a:bodyPr wrap="none" rtlCol="0" anchor="ctr" anchorCtr="0">
            <a:spAutoFit/>
          </a:bodyPr>
          <a:lstStyle/>
          <a:p>
            <a:pPr algn="r"/>
            <a:r>
              <a:rPr lang="en-GB" sz="1400" b="1" spc="113">
                <a:solidFill>
                  <a:srgbClr val="828282"/>
                </a:solidFill>
                <a:latin typeface="+mj-lt"/>
                <a:ea typeface="League Spartan" charset="0"/>
                <a:cs typeface="Poppins" pitchFamily="2" charset="77"/>
              </a:rPr>
              <a:t>Paga la reclamación</a:t>
            </a:r>
            <a:endParaRPr lang="en-GB" sz="1400" b="1" spc="113" dirty="0">
              <a:solidFill>
                <a:srgbClr val="828282"/>
              </a:solidFill>
              <a:latin typeface="+mj-lt"/>
              <a:ea typeface="League Spartan" charset="0"/>
              <a:cs typeface="Poppins" pitchFamily="2" charset="77"/>
            </a:endParaRPr>
          </a:p>
        </p:txBody>
      </p:sp>
    </p:spTree>
    <p:extLst>
      <p:ext uri="{BB962C8B-B14F-4D97-AF65-F5344CB8AC3E}">
        <p14:creationId xmlns:p14="http://schemas.microsoft.com/office/powerpoint/2010/main" val="307059274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79945" y="521788"/>
            <a:ext cx="8852375" cy="697353"/>
          </a:xfrm>
        </p:spPr>
        <p:txBody>
          <a:bodyPr>
            <a:normAutofit fontScale="92500"/>
          </a:bodyPr>
          <a:lstStyle/>
          <a:p>
            <a:r>
              <a:rPr lang="en-GB" dirty="0"/>
              <a:t>Medidas financieras ejemplares: Préstamo a los accionista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4083" y="1743425"/>
            <a:ext cx="3719455" cy="560696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Fácil y rápido de aplicar (incluso informal)</a:t>
            </a:r>
          </a:p>
          <a:p>
            <a:pPr algn="l">
              <a:lnSpc>
                <a:spcPct val="100000"/>
              </a:lnSpc>
              <a:spcBef>
                <a:spcPts val="600"/>
              </a:spcBef>
            </a:pPr>
            <a:r>
              <a:rPr lang="en-GB" altLang="de-DE" sz="1800" dirty="0">
                <a:solidFill>
                  <a:srgbClr val="245473"/>
                </a:solidFill>
                <a:latin typeface="+mj-lt"/>
              </a:rPr>
              <a:t>Un problema clásico de las medianas empresas gestionadas por sus fundadores:</a:t>
            </a:r>
          </a:p>
          <a:p>
            <a:pPr marL="285750" indent="-285750" algn="l">
              <a:lnSpc>
                <a:spcPct val="100000"/>
              </a:lnSpc>
              <a:spcBef>
                <a:spcPts val="600"/>
              </a:spcBef>
              <a:buFont typeface="Wingdings" panose="05000000000000000000" pitchFamily="2" charset="2"/>
              <a:buChar char="à"/>
            </a:pPr>
            <a:r>
              <a:rPr lang="en-GB" altLang="de-DE" sz="1800" dirty="0">
                <a:solidFill>
                  <a:srgbClr val="245473"/>
                </a:solidFill>
                <a:latin typeface="+mj-lt"/>
              </a:rPr>
              <a:t>A menudo la crisis no se reconoce o se reconoce demasiado tarde o se considera una debilidad a corto plazo</a:t>
            </a:r>
          </a:p>
          <a:p>
            <a:pPr marL="285750" indent="-285750" algn="l">
              <a:lnSpc>
                <a:spcPct val="100000"/>
              </a:lnSpc>
              <a:spcBef>
                <a:spcPts val="600"/>
              </a:spcBef>
              <a:buFont typeface="Wingdings" panose="05000000000000000000" pitchFamily="2" charset="2"/>
              <a:buChar char="à"/>
            </a:pPr>
            <a:r>
              <a:rPr lang="en-GB" altLang="de-DE" sz="1800" dirty="0">
                <a:solidFill>
                  <a:srgbClr val="245473"/>
                </a:solidFill>
                <a:latin typeface="+mj-lt"/>
              </a:rPr>
              <a:t>Porque el próximo año "seguro" será mejor, el propietario aporta su propio capital</a:t>
            </a:r>
          </a:p>
          <a:p>
            <a:pPr marL="285750" indent="-285750" algn="l">
              <a:lnSpc>
                <a:spcPct val="100000"/>
              </a:lnSpc>
              <a:spcBef>
                <a:spcPts val="600"/>
              </a:spcBef>
              <a:buFont typeface="Wingdings" panose="05000000000000000000" pitchFamily="2" charset="2"/>
              <a:buChar char="à"/>
            </a:pPr>
            <a:r>
              <a:rPr lang="en-GB" altLang="de-DE" sz="1800" dirty="0">
                <a:solidFill>
                  <a:srgbClr val="245473"/>
                </a:solidFill>
                <a:latin typeface="+mj-lt"/>
              </a:rPr>
              <a:t>Este capital se echa en falta posteriormente como contribución propia a la reestructuración</a:t>
            </a:r>
          </a:p>
          <a:p>
            <a:pPr marL="285750" indent="-285750" algn="l">
              <a:lnSpc>
                <a:spcPct val="100000"/>
              </a:lnSpc>
              <a:spcBef>
                <a:spcPts val="600"/>
              </a:spcBef>
              <a:buFont typeface="Wingdings" panose="05000000000000000000" pitchFamily="2" charset="2"/>
              <a:buChar char="à"/>
            </a:pPr>
            <a:r>
              <a:rPr lang="en-GB" altLang="de-DE" sz="1800" dirty="0">
                <a:solidFill>
                  <a:srgbClr val="245473"/>
                </a:solidFill>
                <a:latin typeface="+mj-lt"/>
              </a:rPr>
              <a:t>En caso de insolvencia, los préstamos de los accionistas están subordinados</a:t>
            </a:r>
          </a:p>
          <a:p>
            <a:pPr algn="l">
              <a:lnSpc>
                <a:spcPct val="100000"/>
              </a:lnSpc>
              <a:spcBef>
                <a:spcPts val="600"/>
              </a:spcBef>
            </a:pPr>
            <a:endParaRPr lang="en-GB" sz="1800" dirty="0">
              <a:solidFill>
                <a:srgbClr val="245473"/>
              </a:solidFill>
              <a:latin typeface="+mj-lt"/>
              <a:sym typeface="Wingdings" panose="05000000000000000000" pitchFamily="2" charset="2"/>
            </a:endParaRPr>
          </a:p>
          <a:p>
            <a:pPr algn="l">
              <a:lnSpc>
                <a:spcPct val="100000"/>
              </a:lnSpc>
              <a:spcBef>
                <a:spcPts val="600"/>
              </a:spcBef>
            </a:pPr>
            <a:endParaRPr lang="en-GB" sz="1800"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xmlns="" id="{373DB9E1-FA58-423D-977D-419F75D1B8E6}"/>
              </a:ext>
            </a:extLst>
          </p:cNvPr>
          <p:cNvGrpSpPr/>
          <p:nvPr/>
        </p:nvGrpSpPr>
        <p:grpSpPr>
          <a:xfrm>
            <a:off x="3823063" y="2220686"/>
            <a:ext cx="8368937" cy="3818901"/>
            <a:chOff x="2933001" y="1477714"/>
            <a:chExt cx="9144001" cy="4561873"/>
          </a:xfrm>
        </p:grpSpPr>
        <p:sp>
          <p:nvSpPr>
            <p:cNvPr id="5" name="Shape 43421">
              <a:extLst>
                <a:ext uri="{FF2B5EF4-FFF2-40B4-BE49-F238E27FC236}">
                  <a16:creationId xmlns:a16="http://schemas.microsoft.com/office/drawing/2014/main" xmlns="" id="{F5E5235C-314B-4381-A193-3E71CE147DC7}"/>
                </a:ext>
              </a:extLst>
            </p:cNvPr>
            <p:cNvSpPr/>
            <p:nvPr/>
          </p:nvSpPr>
          <p:spPr>
            <a:xfrm flipH="1">
              <a:off x="6328929" y="4430539"/>
              <a:ext cx="3024063" cy="1279273"/>
            </a:xfrm>
            <a:custGeom>
              <a:avLst/>
              <a:gdLst/>
              <a:ahLst/>
              <a:cxnLst>
                <a:cxn ang="0">
                  <a:pos x="wd2" y="hd2"/>
                </a:cxn>
                <a:cxn ang="5400000">
                  <a:pos x="wd2" y="hd2"/>
                </a:cxn>
                <a:cxn ang="10800000">
                  <a:pos x="wd2" y="hd2"/>
                </a:cxn>
                <a:cxn ang="16200000">
                  <a:pos x="wd2" y="hd2"/>
                </a:cxn>
              </a:cxnLst>
              <a:rect l="0" t="0" r="r" b="b"/>
              <a:pathLst>
                <a:path w="21433" h="21445" extrusionOk="0">
                  <a:moveTo>
                    <a:pt x="21065" y="865"/>
                  </a:moveTo>
                  <a:cubicBezTo>
                    <a:pt x="21115" y="963"/>
                    <a:pt x="21162" y="1072"/>
                    <a:pt x="21205" y="1193"/>
                  </a:cubicBezTo>
                  <a:cubicBezTo>
                    <a:pt x="21600" y="2305"/>
                    <a:pt x="21463" y="3974"/>
                    <a:pt x="20940" y="4708"/>
                  </a:cubicBezTo>
                  <a:cubicBezTo>
                    <a:pt x="20696" y="4400"/>
                    <a:pt x="20419" y="4271"/>
                    <a:pt x="20147" y="4329"/>
                  </a:cubicBezTo>
                  <a:cubicBezTo>
                    <a:pt x="19875" y="4387"/>
                    <a:pt x="19608" y="4633"/>
                    <a:pt x="19383" y="5075"/>
                  </a:cubicBezTo>
                  <a:lnTo>
                    <a:pt x="17434" y="8893"/>
                  </a:lnTo>
                  <a:cubicBezTo>
                    <a:pt x="17434" y="8892"/>
                    <a:pt x="17434" y="8891"/>
                    <a:pt x="17434" y="8890"/>
                  </a:cubicBezTo>
                  <a:cubicBezTo>
                    <a:pt x="17434" y="8889"/>
                    <a:pt x="17435" y="8887"/>
                    <a:pt x="17435" y="8886"/>
                  </a:cubicBezTo>
                  <a:lnTo>
                    <a:pt x="17328" y="9093"/>
                  </a:lnTo>
                  <a:cubicBezTo>
                    <a:pt x="17321" y="8392"/>
                    <a:pt x="17216" y="7715"/>
                    <a:pt x="17026" y="7177"/>
                  </a:cubicBezTo>
                  <a:cubicBezTo>
                    <a:pt x="16971" y="7020"/>
                    <a:pt x="16908" y="6877"/>
                    <a:pt x="16841" y="6749"/>
                  </a:cubicBezTo>
                  <a:lnTo>
                    <a:pt x="19835" y="893"/>
                  </a:lnTo>
                  <a:cubicBezTo>
                    <a:pt x="19885" y="793"/>
                    <a:pt x="19940" y="706"/>
                    <a:pt x="19998" y="634"/>
                  </a:cubicBezTo>
                  <a:cubicBezTo>
                    <a:pt x="20281" y="279"/>
                    <a:pt x="20620" y="277"/>
                    <a:pt x="20905" y="622"/>
                  </a:cubicBezTo>
                  <a:cubicBezTo>
                    <a:pt x="20962" y="690"/>
                    <a:pt x="21015" y="768"/>
                    <a:pt x="21065" y="865"/>
                  </a:cubicBezTo>
                  <a:close/>
                  <a:moveTo>
                    <a:pt x="18952" y="583"/>
                  </a:moveTo>
                  <a:cubicBezTo>
                    <a:pt x="19002" y="679"/>
                    <a:pt x="19050" y="789"/>
                    <a:pt x="19092" y="911"/>
                  </a:cubicBezTo>
                  <a:cubicBezTo>
                    <a:pt x="19100" y="933"/>
                    <a:pt x="19107" y="954"/>
                    <a:pt x="19114" y="976"/>
                  </a:cubicBezTo>
                  <a:lnTo>
                    <a:pt x="16451" y="6193"/>
                  </a:lnTo>
                  <a:cubicBezTo>
                    <a:pt x="16382" y="6136"/>
                    <a:pt x="16311" y="6093"/>
                    <a:pt x="16239" y="6064"/>
                  </a:cubicBezTo>
                  <a:cubicBezTo>
                    <a:pt x="16166" y="6035"/>
                    <a:pt x="16092" y="6020"/>
                    <a:pt x="16019" y="6020"/>
                  </a:cubicBezTo>
                  <a:lnTo>
                    <a:pt x="14956" y="6024"/>
                  </a:lnTo>
                  <a:lnTo>
                    <a:pt x="17721" y="609"/>
                  </a:lnTo>
                  <a:cubicBezTo>
                    <a:pt x="18031" y="2"/>
                    <a:pt x="18455" y="-78"/>
                    <a:pt x="18792" y="336"/>
                  </a:cubicBezTo>
                  <a:cubicBezTo>
                    <a:pt x="18848" y="404"/>
                    <a:pt x="18901" y="487"/>
                    <a:pt x="18952" y="583"/>
                  </a:cubicBezTo>
                  <a:close/>
                  <a:moveTo>
                    <a:pt x="20964" y="6292"/>
                  </a:moveTo>
                  <a:cubicBezTo>
                    <a:pt x="21306" y="7269"/>
                    <a:pt x="21250" y="8715"/>
                    <a:pt x="20838" y="9528"/>
                  </a:cubicBezTo>
                  <a:lnTo>
                    <a:pt x="17513" y="16042"/>
                  </a:lnTo>
                  <a:cubicBezTo>
                    <a:pt x="17303" y="16454"/>
                    <a:pt x="16933" y="16638"/>
                    <a:pt x="16616" y="16719"/>
                  </a:cubicBezTo>
                  <a:cubicBezTo>
                    <a:pt x="16298" y="16800"/>
                    <a:pt x="16034" y="16779"/>
                    <a:pt x="16034" y="16779"/>
                  </a:cubicBezTo>
                  <a:lnTo>
                    <a:pt x="11044" y="16788"/>
                  </a:lnTo>
                  <a:cubicBezTo>
                    <a:pt x="11011" y="16788"/>
                    <a:pt x="10978" y="16784"/>
                    <a:pt x="10946" y="16777"/>
                  </a:cubicBezTo>
                  <a:cubicBezTo>
                    <a:pt x="10914" y="16769"/>
                    <a:pt x="10882" y="16758"/>
                    <a:pt x="10851" y="16744"/>
                  </a:cubicBezTo>
                  <a:cubicBezTo>
                    <a:pt x="10600" y="16668"/>
                    <a:pt x="10142" y="16532"/>
                    <a:pt x="9575" y="16099"/>
                  </a:cubicBezTo>
                  <a:cubicBezTo>
                    <a:pt x="9008" y="15666"/>
                    <a:pt x="8332" y="14938"/>
                    <a:pt x="7644" y="13678"/>
                  </a:cubicBezTo>
                  <a:lnTo>
                    <a:pt x="3729" y="21445"/>
                  </a:lnTo>
                  <a:lnTo>
                    <a:pt x="0" y="15037"/>
                  </a:lnTo>
                  <a:cubicBezTo>
                    <a:pt x="1576" y="11886"/>
                    <a:pt x="3171" y="8790"/>
                    <a:pt x="4777" y="5727"/>
                  </a:cubicBezTo>
                  <a:cubicBezTo>
                    <a:pt x="5291" y="4746"/>
                    <a:pt x="5676" y="4005"/>
                    <a:pt x="6272" y="3325"/>
                  </a:cubicBezTo>
                  <a:cubicBezTo>
                    <a:pt x="7715" y="1679"/>
                    <a:pt x="9186" y="2709"/>
                    <a:pt x="11615" y="6867"/>
                  </a:cubicBezTo>
                  <a:lnTo>
                    <a:pt x="16011" y="6857"/>
                  </a:lnTo>
                  <a:cubicBezTo>
                    <a:pt x="16313" y="6857"/>
                    <a:pt x="16584" y="7182"/>
                    <a:pt x="16763" y="7693"/>
                  </a:cubicBezTo>
                  <a:cubicBezTo>
                    <a:pt x="16903" y="8091"/>
                    <a:pt x="16988" y="8603"/>
                    <a:pt x="16988" y="9158"/>
                  </a:cubicBezTo>
                  <a:cubicBezTo>
                    <a:pt x="16989" y="9651"/>
                    <a:pt x="16923" y="10122"/>
                    <a:pt x="16804" y="10511"/>
                  </a:cubicBezTo>
                  <a:cubicBezTo>
                    <a:pt x="16726" y="10765"/>
                    <a:pt x="16626" y="10978"/>
                    <a:pt x="16512" y="11138"/>
                  </a:cubicBezTo>
                  <a:cubicBezTo>
                    <a:pt x="16362" y="11347"/>
                    <a:pt x="16191" y="11458"/>
                    <a:pt x="16017" y="11460"/>
                  </a:cubicBezTo>
                  <a:lnTo>
                    <a:pt x="11134" y="11495"/>
                  </a:lnTo>
                  <a:cubicBezTo>
                    <a:pt x="11029" y="11465"/>
                    <a:pt x="10938" y="11668"/>
                    <a:pt x="10945" y="11917"/>
                  </a:cubicBezTo>
                  <a:cubicBezTo>
                    <a:pt x="10951" y="12114"/>
                    <a:pt x="11019" y="12269"/>
                    <a:pt x="11102" y="12275"/>
                  </a:cubicBezTo>
                  <a:cubicBezTo>
                    <a:pt x="11150" y="12275"/>
                    <a:pt x="11198" y="12275"/>
                    <a:pt x="11247" y="12276"/>
                  </a:cubicBezTo>
                  <a:cubicBezTo>
                    <a:pt x="12837" y="12283"/>
                    <a:pt x="14428" y="12280"/>
                    <a:pt x="16019" y="12271"/>
                  </a:cubicBezTo>
                  <a:cubicBezTo>
                    <a:pt x="16059" y="12270"/>
                    <a:pt x="16395" y="12189"/>
                    <a:pt x="16715" y="11688"/>
                  </a:cubicBezTo>
                  <a:cubicBezTo>
                    <a:pt x="16958" y="11309"/>
                    <a:pt x="17278" y="10417"/>
                    <a:pt x="17507" y="9990"/>
                  </a:cubicBezTo>
                  <a:cubicBezTo>
                    <a:pt x="18496" y="8146"/>
                    <a:pt x="19594" y="5985"/>
                    <a:pt x="19594" y="5985"/>
                  </a:cubicBezTo>
                  <a:cubicBezTo>
                    <a:pt x="20008" y="5176"/>
                    <a:pt x="20621" y="5314"/>
                    <a:pt x="20964" y="6292"/>
                  </a:cubicBezTo>
                  <a:close/>
                  <a:moveTo>
                    <a:pt x="16816" y="506"/>
                  </a:moveTo>
                  <a:cubicBezTo>
                    <a:pt x="16866" y="602"/>
                    <a:pt x="16913" y="712"/>
                    <a:pt x="16956" y="834"/>
                  </a:cubicBezTo>
                  <a:cubicBezTo>
                    <a:pt x="16964" y="856"/>
                    <a:pt x="16971" y="878"/>
                    <a:pt x="16979" y="901"/>
                  </a:cubicBezTo>
                  <a:lnTo>
                    <a:pt x="14348" y="6053"/>
                  </a:lnTo>
                  <a:cubicBezTo>
                    <a:pt x="14332" y="6051"/>
                    <a:pt x="13944" y="6038"/>
                    <a:pt x="13559" y="6025"/>
                  </a:cubicBezTo>
                  <a:cubicBezTo>
                    <a:pt x="13174" y="6012"/>
                    <a:pt x="12793" y="6000"/>
                    <a:pt x="12793" y="6000"/>
                  </a:cubicBezTo>
                  <a:lnTo>
                    <a:pt x="15585" y="529"/>
                  </a:lnTo>
                  <a:cubicBezTo>
                    <a:pt x="15895" y="-78"/>
                    <a:pt x="16318" y="-155"/>
                    <a:pt x="16655" y="258"/>
                  </a:cubicBezTo>
                  <a:cubicBezTo>
                    <a:pt x="16712" y="327"/>
                    <a:pt x="16765" y="410"/>
                    <a:pt x="16816" y="506"/>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6" name="Shape 43422">
              <a:extLst>
                <a:ext uri="{FF2B5EF4-FFF2-40B4-BE49-F238E27FC236}">
                  <a16:creationId xmlns:a16="http://schemas.microsoft.com/office/drawing/2014/main" xmlns="" id="{2F44DC5A-423B-47BB-9B20-2352D76B1F2C}"/>
                </a:ext>
              </a:extLst>
            </p:cNvPr>
            <p:cNvSpPr/>
            <p:nvPr/>
          </p:nvSpPr>
          <p:spPr>
            <a:xfrm flipH="1">
              <a:off x="9952807" y="4256505"/>
              <a:ext cx="2124195" cy="17825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0" y="0"/>
                  </a:lnTo>
                  <a:close/>
                </a:path>
              </a:pathLst>
            </a:custGeom>
            <a:solidFill>
              <a:schemeClr val="accent3">
                <a:lumMod val="50000"/>
              </a:schemeClr>
            </a:solidFill>
            <a:ln w="12700" cap="flat">
              <a:noFill/>
              <a:miter lim="400000"/>
            </a:ln>
            <a:effectLst/>
          </p:spPr>
          <p:txBody>
            <a:bodyPr wrap="square" lIns="0" tIns="0" rIns="0" bIns="0" numCol="1" anchor="t">
              <a:noAutofit/>
            </a:bodyPr>
            <a:lstStyle/>
            <a:p>
              <a:endParaRPr lang="en-GB" sz="1600" dirty="0">
                <a:latin typeface="+mj-lt"/>
              </a:endParaRPr>
            </a:p>
          </p:txBody>
        </p:sp>
        <p:sp>
          <p:nvSpPr>
            <p:cNvPr id="7" name="Shape 43423">
              <a:extLst>
                <a:ext uri="{FF2B5EF4-FFF2-40B4-BE49-F238E27FC236}">
                  <a16:creationId xmlns:a16="http://schemas.microsoft.com/office/drawing/2014/main" xmlns="" id="{5D21598B-0F85-4EAF-AAD0-B05A51BC2BBE}"/>
                </a:ext>
              </a:extLst>
            </p:cNvPr>
            <p:cNvSpPr/>
            <p:nvPr/>
          </p:nvSpPr>
          <p:spPr>
            <a:xfrm flipH="1">
              <a:off x="8319561" y="4772297"/>
              <a:ext cx="2097334" cy="1267290"/>
            </a:xfrm>
            <a:custGeom>
              <a:avLst/>
              <a:gdLst/>
              <a:ahLst/>
              <a:cxnLst>
                <a:cxn ang="0">
                  <a:pos x="wd2" y="hd2"/>
                </a:cxn>
                <a:cxn ang="5400000">
                  <a:pos x="wd2" y="hd2"/>
                </a:cxn>
                <a:cxn ang="10800000">
                  <a:pos x="wd2" y="hd2"/>
                </a:cxn>
                <a:cxn ang="16200000">
                  <a:pos x="wd2" y="hd2"/>
                </a:cxn>
              </a:cxnLst>
              <a:rect l="0" t="0" r="r" b="b"/>
              <a:pathLst>
                <a:path w="21600" h="21600" extrusionOk="0">
                  <a:moveTo>
                    <a:pt x="15555" y="0"/>
                  </a:moveTo>
                  <a:lnTo>
                    <a:pt x="21600" y="11920"/>
                  </a:lnTo>
                  <a:lnTo>
                    <a:pt x="14630" y="21600"/>
                  </a:lnTo>
                  <a:lnTo>
                    <a:pt x="0" y="21600"/>
                  </a:lnTo>
                  <a:lnTo>
                    <a:pt x="15555" y="0"/>
                  </a:ln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mj-lt"/>
              </a:endParaRPr>
            </a:p>
          </p:txBody>
        </p:sp>
        <p:sp>
          <p:nvSpPr>
            <p:cNvPr id="8" name="Shape 43422">
              <a:extLst>
                <a:ext uri="{FF2B5EF4-FFF2-40B4-BE49-F238E27FC236}">
                  <a16:creationId xmlns:a16="http://schemas.microsoft.com/office/drawing/2014/main" xmlns="" id="{8713805C-890C-4B98-8DE5-FB94A45B7A90}"/>
                </a:ext>
              </a:extLst>
            </p:cNvPr>
            <p:cNvSpPr/>
            <p:nvPr/>
          </p:nvSpPr>
          <p:spPr>
            <a:xfrm rot="5400000" flipH="1">
              <a:off x="2762161" y="1648555"/>
              <a:ext cx="2124195" cy="178251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0" y="0"/>
                  </a:lnTo>
                  <a:close/>
                </a:path>
              </a:pathLst>
            </a:custGeom>
            <a:solidFill>
              <a:schemeClr val="accent3">
                <a:lumMod val="50000"/>
              </a:schemeClr>
            </a:solidFill>
            <a:ln w="12700" cap="flat">
              <a:noFill/>
              <a:miter lim="400000"/>
            </a:ln>
            <a:effectLst/>
          </p:spPr>
          <p:txBody>
            <a:bodyPr wrap="square" lIns="0" tIns="0" rIns="0" bIns="0" numCol="1" anchor="t">
              <a:noAutofit/>
            </a:bodyPr>
            <a:lstStyle/>
            <a:p>
              <a:endParaRPr lang="en-GB" sz="1600" dirty="0">
                <a:latin typeface="+mj-lt"/>
              </a:endParaRPr>
            </a:p>
          </p:txBody>
        </p:sp>
        <p:sp>
          <p:nvSpPr>
            <p:cNvPr id="9" name="Shape 43426">
              <a:extLst>
                <a:ext uri="{FF2B5EF4-FFF2-40B4-BE49-F238E27FC236}">
                  <a16:creationId xmlns:a16="http://schemas.microsoft.com/office/drawing/2014/main" xmlns="" id="{C26CDD67-CCEE-4E93-B306-80C57314C3D1}"/>
                </a:ext>
              </a:extLst>
            </p:cNvPr>
            <p:cNvSpPr/>
            <p:nvPr/>
          </p:nvSpPr>
          <p:spPr>
            <a:xfrm>
              <a:off x="6646987" y="2400920"/>
              <a:ext cx="1875248" cy="2620241"/>
            </a:xfrm>
            <a:custGeom>
              <a:avLst/>
              <a:gdLst/>
              <a:ahLst/>
              <a:cxnLst>
                <a:cxn ang="0">
                  <a:pos x="wd2" y="hd2"/>
                </a:cxn>
                <a:cxn ang="5400000">
                  <a:pos x="wd2" y="hd2"/>
                </a:cxn>
                <a:cxn ang="10800000">
                  <a:pos x="wd2" y="hd2"/>
                </a:cxn>
                <a:cxn ang="16200000">
                  <a:pos x="wd2" y="hd2"/>
                </a:cxn>
              </a:cxnLst>
              <a:rect l="0" t="0" r="r" b="b"/>
              <a:pathLst>
                <a:path w="20282" h="21598" extrusionOk="0">
                  <a:moveTo>
                    <a:pt x="6569" y="0"/>
                  </a:moveTo>
                  <a:cubicBezTo>
                    <a:pt x="7358" y="427"/>
                    <a:pt x="8025" y="973"/>
                    <a:pt x="8513" y="1610"/>
                  </a:cubicBezTo>
                  <a:cubicBezTo>
                    <a:pt x="9059" y="2323"/>
                    <a:pt x="9379" y="3123"/>
                    <a:pt x="9456" y="3947"/>
                  </a:cubicBezTo>
                  <a:lnTo>
                    <a:pt x="9467" y="3947"/>
                  </a:lnTo>
                  <a:cubicBezTo>
                    <a:pt x="9507" y="3947"/>
                    <a:pt x="9548" y="3947"/>
                    <a:pt x="9588" y="3947"/>
                  </a:cubicBezTo>
                  <a:cubicBezTo>
                    <a:pt x="9704" y="3947"/>
                    <a:pt x="9819" y="3947"/>
                    <a:pt x="9934" y="3947"/>
                  </a:cubicBezTo>
                  <a:cubicBezTo>
                    <a:pt x="9977" y="3947"/>
                    <a:pt x="10019" y="3947"/>
                    <a:pt x="10062" y="3947"/>
                  </a:cubicBezTo>
                  <a:cubicBezTo>
                    <a:pt x="10115" y="3947"/>
                    <a:pt x="10168" y="3947"/>
                    <a:pt x="10220" y="3947"/>
                  </a:cubicBezTo>
                  <a:cubicBezTo>
                    <a:pt x="10263" y="3947"/>
                    <a:pt x="10305" y="3947"/>
                    <a:pt x="10348" y="3947"/>
                  </a:cubicBezTo>
                  <a:cubicBezTo>
                    <a:pt x="10463" y="3947"/>
                    <a:pt x="10578" y="3947"/>
                    <a:pt x="10694" y="3947"/>
                  </a:cubicBezTo>
                  <a:cubicBezTo>
                    <a:pt x="10734" y="3947"/>
                    <a:pt x="10775" y="3947"/>
                    <a:pt x="10815" y="3947"/>
                  </a:cubicBezTo>
                  <a:lnTo>
                    <a:pt x="10826" y="3947"/>
                  </a:lnTo>
                  <a:cubicBezTo>
                    <a:pt x="10903" y="3123"/>
                    <a:pt x="11223" y="2323"/>
                    <a:pt x="11769" y="1610"/>
                  </a:cubicBezTo>
                  <a:cubicBezTo>
                    <a:pt x="12257" y="973"/>
                    <a:pt x="12924" y="427"/>
                    <a:pt x="13713" y="0"/>
                  </a:cubicBezTo>
                  <a:cubicBezTo>
                    <a:pt x="12549" y="8"/>
                    <a:pt x="11385" y="9"/>
                    <a:pt x="10220" y="5"/>
                  </a:cubicBezTo>
                  <a:cubicBezTo>
                    <a:pt x="10167" y="5"/>
                    <a:pt x="10115" y="5"/>
                    <a:pt x="10062" y="5"/>
                  </a:cubicBezTo>
                  <a:cubicBezTo>
                    <a:pt x="8897" y="9"/>
                    <a:pt x="7733" y="8"/>
                    <a:pt x="6569" y="0"/>
                  </a:cubicBezTo>
                  <a:close/>
                  <a:moveTo>
                    <a:pt x="9250" y="4760"/>
                  </a:moveTo>
                  <a:cubicBezTo>
                    <a:pt x="6682" y="6815"/>
                    <a:pt x="4159" y="8714"/>
                    <a:pt x="2189" y="11228"/>
                  </a:cubicBezTo>
                  <a:cubicBezTo>
                    <a:pt x="1299" y="12365"/>
                    <a:pt x="438" y="13790"/>
                    <a:pt x="112" y="15376"/>
                  </a:cubicBezTo>
                  <a:cubicBezTo>
                    <a:pt x="-659" y="19129"/>
                    <a:pt x="2660" y="21013"/>
                    <a:pt x="6901" y="21443"/>
                  </a:cubicBezTo>
                  <a:cubicBezTo>
                    <a:pt x="7721" y="21526"/>
                    <a:pt x="8616" y="21582"/>
                    <a:pt x="9546" y="21597"/>
                  </a:cubicBezTo>
                  <a:cubicBezTo>
                    <a:pt x="9716" y="21600"/>
                    <a:pt x="9889" y="21597"/>
                    <a:pt x="10062" y="21596"/>
                  </a:cubicBezTo>
                  <a:cubicBezTo>
                    <a:pt x="10115" y="21596"/>
                    <a:pt x="10167" y="21595"/>
                    <a:pt x="10220" y="21596"/>
                  </a:cubicBezTo>
                  <a:cubicBezTo>
                    <a:pt x="10393" y="21597"/>
                    <a:pt x="10566" y="21600"/>
                    <a:pt x="10736" y="21597"/>
                  </a:cubicBezTo>
                  <a:cubicBezTo>
                    <a:pt x="11666" y="21582"/>
                    <a:pt x="12561" y="21526"/>
                    <a:pt x="13381" y="21443"/>
                  </a:cubicBezTo>
                  <a:cubicBezTo>
                    <a:pt x="17622" y="21013"/>
                    <a:pt x="20941" y="19129"/>
                    <a:pt x="20170" y="15376"/>
                  </a:cubicBezTo>
                  <a:cubicBezTo>
                    <a:pt x="19844" y="13790"/>
                    <a:pt x="18983" y="12365"/>
                    <a:pt x="18093" y="11228"/>
                  </a:cubicBezTo>
                  <a:cubicBezTo>
                    <a:pt x="16123" y="8714"/>
                    <a:pt x="13600" y="6815"/>
                    <a:pt x="11032" y="4760"/>
                  </a:cubicBezTo>
                  <a:cubicBezTo>
                    <a:pt x="10799" y="4760"/>
                    <a:pt x="10566" y="4760"/>
                    <a:pt x="10333" y="4760"/>
                  </a:cubicBezTo>
                  <a:cubicBezTo>
                    <a:pt x="10296" y="4760"/>
                    <a:pt x="10258" y="4760"/>
                    <a:pt x="10220" y="4760"/>
                  </a:cubicBezTo>
                  <a:cubicBezTo>
                    <a:pt x="10167" y="4760"/>
                    <a:pt x="10115" y="4760"/>
                    <a:pt x="10062" y="4760"/>
                  </a:cubicBezTo>
                  <a:cubicBezTo>
                    <a:pt x="10024" y="4760"/>
                    <a:pt x="9986" y="4760"/>
                    <a:pt x="9949" y="4760"/>
                  </a:cubicBezTo>
                  <a:cubicBezTo>
                    <a:pt x="9716" y="4760"/>
                    <a:pt x="9483" y="4760"/>
                    <a:pt x="9250" y="4760"/>
                  </a:cubicBezTo>
                  <a:close/>
                </a:path>
              </a:pathLst>
            </a:custGeom>
            <a:solidFill>
              <a:srgbClr val="E53292"/>
            </a:solidFill>
            <a:ln w="12700" cap="flat">
              <a:noFill/>
              <a:miter lim="400000"/>
            </a:ln>
            <a:effectLst/>
          </p:spPr>
          <p:txBody>
            <a:bodyPr wrap="square" lIns="26796" tIns="26796" rIns="26796" bIns="26796" numCol="1" anchor="ctr">
              <a:noAutofit/>
            </a:bodyPr>
            <a:lstStyle/>
            <a:p>
              <a:endParaRPr lang="en-GB" sz="1600" dirty="0">
                <a:latin typeface="+mj-lt"/>
              </a:endParaRPr>
            </a:p>
          </p:txBody>
        </p:sp>
        <p:sp>
          <p:nvSpPr>
            <p:cNvPr id="10" name="Shape 43427">
              <a:extLst>
                <a:ext uri="{FF2B5EF4-FFF2-40B4-BE49-F238E27FC236}">
                  <a16:creationId xmlns:a16="http://schemas.microsoft.com/office/drawing/2014/main" xmlns="" id="{6A0B5014-3A84-4FFA-A0F0-D2B154E2393F}"/>
                </a:ext>
              </a:extLst>
            </p:cNvPr>
            <p:cNvSpPr/>
            <p:nvPr/>
          </p:nvSpPr>
          <p:spPr>
            <a:xfrm>
              <a:off x="7368848" y="3792463"/>
              <a:ext cx="446271" cy="977858"/>
            </a:xfrm>
            <a:custGeom>
              <a:avLst/>
              <a:gdLst/>
              <a:ahLst/>
              <a:cxnLst>
                <a:cxn ang="0">
                  <a:pos x="wd2" y="hd2"/>
                </a:cxn>
                <a:cxn ang="5400000">
                  <a:pos x="wd2" y="hd2"/>
                </a:cxn>
                <a:cxn ang="10800000">
                  <a:pos x="wd2" y="hd2"/>
                </a:cxn>
                <a:cxn ang="16200000">
                  <a:pos x="wd2" y="hd2"/>
                </a:cxn>
              </a:cxnLst>
              <a:rect l="0" t="0" r="r" b="b"/>
              <a:pathLst>
                <a:path w="21600" h="21600" extrusionOk="0">
                  <a:moveTo>
                    <a:pt x="9174" y="0"/>
                  </a:moveTo>
                  <a:lnTo>
                    <a:pt x="9174" y="2652"/>
                  </a:lnTo>
                  <a:cubicBezTo>
                    <a:pt x="3926" y="3047"/>
                    <a:pt x="495" y="4697"/>
                    <a:pt x="495" y="6882"/>
                  </a:cubicBezTo>
                  <a:cubicBezTo>
                    <a:pt x="495" y="9172"/>
                    <a:pt x="4179" y="10374"/>
                    <a:pt x="10062" y="11427"/>
                  </a:cubicBezTo>
                  <a:cubicBezTo>
                    <a:pt x="14330" y="12216"/>
                    <a:pt x="16564" y="13130"/>
                    <a:pt x="16564" y="14578"/>
                  </a:cubicBezTo>
                  <a:cubicBezTo>
                    <a:pt x="16564" y="16078"/>
                    <a:pt x="13755" y="17144"/>
                    <a:pt x="9660" y="17144"/>
                  </a:cubicBezTo>
                  <a:cubicBezTo>
                    <a:pt x="6430" y="17144"/>
                    <a:pt x="3401" y="16624"/>
                    <a:pt x="1383" y="16019"/>
                  </a:cubicBezTo>
                  <a:lnTo>
                    <a:pt x="0" y="17771"/>
                  </a:lnTo>
                  <a:cubicBezTo>
                    <a:pt x="1009" y="18100"/>
                    <a:pt x="2372" y="18387"/>
                    <a:pt x="3896" y="18594"/>
                  </a:cubicBezTo>
                  <a:cubicBezTo>
                    <a:pt x="5419" y="18801"/>
                    <a:pt x="7124" y="18939"/>
                    <a:pt x="8782" y="18944"/>
                  </a:cubicBezTo>
                  <a:lnTo>
                    <a:pt x="8782" y="21600"/>
                  </a:lnTo>
                  <a:lnTo>
                    <a:pt x="12426" y="21600"/>
                  </a:lnTo>
                  <a:lnTo>
                    <a:pt x="12426" y="18854"/>
                  </a:lnTo>
                  <a:cubicBezTo>
                    <a:pt x="18366" y="18433"/>
                    <a:pt x="21600" y="16457"/>
                    <a:pt x="21600" y="14352"/>
                  </a:cubicBezTo>
                  <a:cubicBezTo>
                    <a:pt x="21600" y="12009"/>
                    <a:pt x="18562" y="10690"/>
                    <a:pt x="12622" y="9585"/>
                  </a:cubicBezTo>
                  <a:cubicBezTo>
                    <a:pt x="7604" y="8611"/>
                    <a:pt x="5428" y="7908"/>
                    <a:pt x="5428" y="6566"/>
                  </a:cubicBezTo>
                  <a:cubicBezTo>
                    <a:pt x="5428" y="5487"/>
                    <a:pt x="7097" y="4272"/>
                    <a:pt x="11538" y="4272"/>
                  </a:cubicBezTo>
                  <a:cubicBezTo>
                    <a:pt x="15229" y="4272"/>
                    <a:pt x="17623" y="4903"/>
                    <a:pt x="18835" y="5219"/>
                  </a:cubicBezTo>
                  <a:lnTo>
                    <a:pt x="20311" y="3462"/>
                  </a:lnTo>
                  <a:cubicBezTo>
                    <a:pt x="19445" y="3238"/>
                    <a:pt x="18422" y="3028"/>
                    <a:pt x="17190" y="2865"/>
                  </a:cubicBezTo>
                  <a:cubicBezTo>
                    <a:pt x="15958" y="2703"/>
                    <a:pt x="14519" y="2589"/>
                    <a:pt x="12818" y="2562"/>
                  </a:cubicBezTo>
                  <a:lnTo>
                    <a:pt x="12818" y="0"/>
                  </a:lnTo>
                  <a:lnTo>
                    <a:pt x="9174" y="0"/>
                  </a:lnTo>
                  <a:close/>
                </a:path>
              </a:pathLst>
            </a:custGeom>
            <a:solidFill>
              <a:schemeClr val="bg1"/>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11" name="Shape 43429">
              <a:extLst>
                <a:ext uri="{FF2B5EF4-FFF2-40B4-BE49-F238E27FC236}">
                  <a16:creationId xmlns:a16="http://schemas.microsoft.com/office/drawing/2014/main" xmlns="" id="{BDD46ECB-FA5E-4488-9041-4DDF65130876}"/>
                </a:ext>
              </a:extLst>
            </p:cNvPr>
            <p:cNvSpPr/>
            <p:nvPr/>
          </p:nvSpPr>
          <p:spPr>
            <a:xfrm rot="5400000">
              <a:off x="6861592" y="2482673"/>
              <a:ext cx="1074326" cy="1239219"/>
            </a:xfrm>
            <a:custGeom>
              <a:avLst/>
              <a:gdLst/>
              <a:ahLst/>
              <a:cxnLst>
                <a:cxn ang="0">
                  <a:pos x="wd2" y="hd2"/>
                </a:cxn>
                <a:cxn ang="5400000">
                  <a:pos x="wd2" y="hd2"/>
                </a:cxn>
                <a:cxn ang="10800000">
                  <a:pos x="wd2" y="hd2"/>
                </a:cxn>
                <a:cxn ang="16200000">
                  <a:pos x="wd2" y="hd2"/>
                </a:cxn>
              </a:cxnLst>
              <a:rect l="0" t="0" r="r" b="b"/>
              <a:pathLst>
                <a:path w="21504" h="21513" extrusionOk="0">
                  <a:moveTo>
                    <a:pt x="4399" y="0"/>
                  </a:moveTo>
                  <a:cubicBezTo>
                    <a:pt x="3834" y="0"/>
                    <a:pt x="3327" y="201"/>
                    <a:pt x="2957" y="522"/>
                  </a:cubicBezTo>
                  <a:cubicBezTo>
                    <a:pt x="2587" y="842"/>
                    <a:pt x="2356" y="1283"/>
                    <a:pt x="2356" y="1772"/>
                  </a:cubicBezTo>
                  <a:lnTo>
                    <a:pt x="2356" y="2415"/>
                  </a:lnTo>
                  <a:lnTo>
                    <a:pt x="2356" y="3551"/>
                  </a:lnTo>
                  <a:lnTo>
                    <a:pt x="2356" y="7143"/>
                  </a:lnTo>
                  <a:cubicBezTo>
                    <a:pt x="2229" y="7136"/>
                    <a:pt x="2102" y="7138"/>
                    <a:pt x="1977" y="7150"/>
                  </a:cubicBezTo>
                  <a:cubicBezTo>
                    <a:pt x="1225" y="7218"/>
                    <a:pt x="551" y="7601"/>
                    <a:pt x="214" y="8186"/>
                  </a:cubicBezTo>
                  <a:cubicBezTo>
                    <a:pt x="-21" y="8593"/>
                    <a:pt x="-74" y="9082"/>
                    <a:pt x="115" y="9543"/>
                  </a:cubicBezTo>
                  <a:cubicBezTo>
                    <a:pt x="852" y="11613"/>
                    <a:pt x="1671" y="13662"/>
                    <a:pt x="2578" y="15681"/>
                  </a:cubicBezTo>
                  <a:cubicBezTo>
                    <a:pt x="3077" y="16791"/>
                    <a:pt x="3617" y="17897"/>
                    <a:pt x="4481" y="18825"/>
                  </a:cubicBezTo>
                  <a:cubicBezTo>
                    <a:pt x="5214" y="19612"/>
                    <a:pt x="6220" y="20276"/>
                    <a:pt x="7513" y="20768"/>
                  </a:cubicBezTo>
                  <a:cubicBezTo>
                    <a:pt x="9108" y="21376"/>
                    <a:pt x="10859" y="21600"/>
                    <a:pt x="12596" y="21483"/>
                  </a:cubicBezTo>
                  <a:cubicBezTo>
                    <a:pt x="14857" y="21330"/>
                    <a:pt x="16991" y="20631"/>
                    <a:pt x="18528" y="19296"/>
                  </a:cubicBezTo>
                  <a:cubicBezTo>
                    <a:pt x="20567" y="17525"/>
                    <a:pt x="21227" y="14955"/>
                    <a:pt x="21419" y="12443"/>
                  </a:cubicBezTo>
                  <a:cubicBezTo>
                    <a:pt x="21526" y="11054"/>
                    <a:pt x="21507" y="9660"/>
                    <a:pt x="21495" y="8268"/>
                  </a:cubicBezTo>
                  <a:cubicBezTo>
                    <a:pt x="21483" y="6724"/>
                    <a:pt x="21481" y="5179"/>
                    <a:pt x="21485" y="3634"/>
                  </a:cubicBezTo>
                  <a:cubicBezTo>
                    <a:pt x="21487" y="3145"/>
                    <a:pt x="21262" y="2705"/>
                    <a:pt x="20892" y="2384"/>
                  </a:cubicBezTo>
                  <a:cubicBezTo>
                    <a:pt x="20523" y="2064"/>
                    <a:pt x="20006" y="1863"/>
                    <a:pt x="19442" y="1863"/>
                  </a:cubicBezTo>
                  <a:lnTo>
                    <a:pt x="19220" y="1863"/>
                  </a:lnTo>
                  <a:cubicBezTo>
                    <a:pt x="18658" y="1870"/>
                    <a:pt x="18152" y="2069"/>
                    <a:pt x="17778" y="2384"/>
                  </a:cubicBezTo>
                  <a:cubicBezTo>
                    <a:pt x="17398" y="2704"/>
                    <a:pt x="17167" y="3148"/>
                    <a:pt x="17146" y="3638"/>
                  </a:cubicBezTo>
                  <a:lnTo>
                    <a:pt x="16550" y="3538"/>
                  </a:lnTo>
                  <a:lnTo>
                    <a:pt x="16550" y="3047"/>
                  </a:lnTo>
                  <a:cubicBezTo>
                    <a:pt x="16551" y="2558"/>
                    <a:pt x="16322" y="2115"/>
                    <a:pt x="15952" y="1794"/>
                  </a:cubicBezTo>
                  <a:cubicBezTo>
                    <a:pt x="15582" y="1473"/>
                    <a:pt x="15072" y="1275"/>
                    <a:pt x="14507" y="1275"/>
                  </a:cubicBezTo>
                  <a:lnTo>
                    <a:pt x="14277" y="1275"/>
                  </a:lnTo>
                  <a:cubicBezTo>
                    <a:pt x="13716" y="1285"/>
                    <a:pt x="13211" y="1481"/>
                    <a:pt x="12836" y="1794"/>
                  </a:cubicBezTo>
                  <a:cubicBezTo>
                    <a:pt x="12491" y="2083"/>
                    <a:pt x="12257" y="2472"/>
                    <a:pt x="12195" y="2911"/>
                  </a:cubicBezTo>
                  <a:lnTo>
                    <a:pt x="12164" y="2917"/>
                  </a:lnTo>
                  <a:lnTo>
                    <a:pt x="11537" y="2837"/>
                  </a:lnTo>
                  <a:lnTo>
                    <a:pt x="11607" y="2217"/>
                  </a:lnTo>
                  <a:cubicBezTo>
                    <a:pt x="11607" y="1727"/>
                    <a:pt x="11379" y="1284"/>
                    <a:pt x="11009" y="964"/>
                  </a:cubicBezTo>
                  <a:cubicBezTo>
                    <a:pt x="10639" y="643"/>
                    <a:pt x="10128" y="445"/>
                    <a:pt x="9564" y="445"/>
                  </a:cubicBezTo>
                  <a:lnTo>
                    <a:pt x="9342" y="445"/>
                  </a:lnTo>
                  <a:cubicBezTo>
                    <a:pt x="8780" y="453"/>
                    <a:pt x="8272" y="649"/>
                    <a:pt x="7897" y="964"/>
                  </a:cubicBezTo>
                  <a:cubicBezTo>
                    <a:pt x="7523" y="1278"/>
                    <a:pt x="7280" y="1711"/>
                    <a:pt x="7252" y="2196"/>
                  </a:cubicBezTo>
                  <a:lnTo>
                    <a:pt x="7252" y="2185"/>
                  </a:lnTo>
                  <a:lnTo>
                    <a:pt x="6634" y="2107"/>
                  </a:lnTo>
                  <a:lnTo>
                    <a:pt x="6664" y="1772"/>
                  </a:lnTo>
                  <a:cubicBezTo>
                    <a:pt x="6664" y="1283"/>
                    <a:pt x="6441" y="842"/>
                    <a:pt x="6071" y="522"/>
                  </a:cubicBezTo>
                  <a:cubicBezTo>
                    <a:pt x="5701" y="201"/>
                    <a:pt x="5185" y="0"/>
                    <a:pt x="4621" y="0"/>
                  </a:cubicBezTo>
                  <a:lnTo>
                    <a:pt x="4399" y="0"/>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12" name="Shape 43431">
              <a:extLst>
                <a:ext uri="{FF2B5EF4-FFF2-40B4-BE49-F238E27FC236}">
                  <a16:creationId xmlns:a16="http://schemas.microsoft.com/office/drawing/2014/main" xmlns="" id="{2AEF8627-567A-4646-B27B-99CFE3434B7F}"/>
                </a:ext>
              </a:extLst>
            </p:cNvPr>
            <p:cNvSpPr/>
            <p:nvPr/>
          </p:nvSpPr>
          <p:spPr>
            <a:xfrm>
              <a:off x="2933001" y="2688844"/>
              <a:ext cx="3973854" cy="913065"/>
            </a:xfrm>
            <a:prstGeom prst="rect">
              <a:avLst/>
            </a:prstGeom>
            <a:solidFill>
              <a:srgbClr val="245473"/>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3" name="TextBox 21">
              <a:extLst>
                <a:ext uri="{FF2B5EF4-FFF2-40B4-BE49-F238E27FC236}">
                  <a16:creationId xmlns:a16="http://schemas.microsoft.com/office/drawing/2014/main" xmlns="" id="{B2FE1FC3-DB64-4EBE-8718-6A95FFFCC0F3}"/>
                </a:ext>
              </a:extLst>
            </p:cNvPr>
            <p:cNvSpPr txBox="1"/>
            <p:nvPr/>
          </p:nvSpPr>
          <p:spPr>
            <a:xfrm>
              <a:off x="8842194" y="2973685"/>
              <a:ext cx="1137399" cy="441186"/>
            </a:xfrm>
            <a:prstGeom prst="rect">
              <a:avLst/>
            </a:prstGeom>
            <a:noFill/>
          </p:spPr>
          <p:txBody>
            <a:bodyPr wrap="none" rtlCol="0" anchor="ctr" anchorCtr="0">
              <a:spAutoFit/>
            </a:bodyPr>
            <a:lstStyle/>
            <a:p>
              <a:r>
                <a:rPr lang="en-GB" b="1" dirty="0">
                  <a:solidFill>
                    <a:srgbClr val="245473"/>
                  </a:solidFill>
                  <a:latin typeface="+mj-lt"/>
                  <a:ea typeface="League Spartan" charset="0"/>
                  <a:cs typeface="Poppins" pitchFamily="2" charset="77"/>
                </a:rPr>
                <a:t>Empresa</a:t>
              </a:r>
            </a:p>
          </p:txBody>
        </p:sp>
        <p:sp>
          <p:nvSpPr>
            <p:cNvPr id="14" name="Subtitle 2">
              <a:extLst>
                <a:ext uri="{FF2B5EF4-FFF2-40B4-BE49-F238E27FC236}">
                  <a16:creationId xmlns:a16="http://schemas.microsoft.com/office/drawing/2014/main" xmlns="" id="{4193DE34-63FB-45E5-8AB7-8F34700E8445}"/>
                </a:ext>
              </a:extLst>
            </p:cNvPr>
            <p:cNvSpPr txBox="1">
              <a:spLocks/>
            </p:cNvSpPr>
            <p:nvPr/>
          </p:nvSpPr>
          <p:spPr>
            <a:xfrm>
              <a:off x="8948385" y="3397057"/>
              <a:ext cx="2403047" cy="11443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La empresa paga intereses y amortizaciones</a:t>
              </a:r>
            </a:p>
          </p:txBody>
        </p:sp>
        <p:sp>
          <p:nvSpPr>
            <p:cNvPr id="15" name="TextBox 23">
              <a:extLst>
                <a:ext uri="{FF2B5EF4-FFF2-40B4-BE49-F238E27FC236}">
                  <a16:creationId xmlns:a16="http://schemas.microsoft.com/office/drawing/2014/main" xmlns="" id="{F3770857-352B-4710-BFE0-176A599FC6DE}"/>
                </a:ext>
              </a:extLst>
            </p:cNvPr>
            <p:cNvSpPr txBox="1"/>
            <p:nvPr/>
          </p:nvSpPr>
          <p:spPr>
            <a:xfrm>
              <a:off x="4664889" y="4060799"/>
              <a:ext cx="1411819" cy="441186"/>
            </a:xfrm>
            <a:prstGeom prst="rect">
              <a:avLst/>
            </a:prstGeom>
            <a:noFill/>
          </p:spPr>
          <p:txBody>
            <a:bodyPr wrap="none" rtlCol="0" anchor="ctr" anchorCtr="0">
              <a:spAutoFit/>
            </a:bodyPr>
            <a:lstStyle/>
            <a:p>
              <a:pPr algn="r"/>
              <a:r>
                <a:rPr lang="en-GB" b="1" dirty="0">
                  <a:solidFill>
                    <a:srgbClr val="245473"/>
                  </a:solidFill>
                  <a:latin typeface="+mj-lt"/>
                  <a:ea typeface="League Spartan" charset="0"/>
                  <a:cs typeface="Poppins" pitchFamily="2" charset="77"/>
                </a:rPr>
                <a:t>Accionista</a:t>
              </a:r>
            </a:p>
          </p:txBody>
        </p:sp>
        <p:sp>
          <p:nvSpPr>
            <p:cNvPr id="17" name="Subtitle 2">
              <a:extLst>
                <a:ext uri="{FF2B5EF4-FFF2-40B4-BE49-F238E27FC236}">
                  <a16:creationId xmlns:a16="http://schemas.microsoft.com/office/drawing/2014/main" xmlns="" id="{8963A950-6233-4053-8C45-C3C5BA3759CC}"/>
                </a:ext>
              </a:extLst>
            </p:cNvPr>
            <p:cNvSpPr txBox="1">
              <a:spLocks/>
            </p:cNvSpPr>
            <p:nvPr/>
          </p:nvSpPr>
          <p:spPr>
            <a:xfrm>
              <a:off x="3673661" y="4464984"/>
              <a:ext cx="2403047" cy="11443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El accionista concede un préstamo a la empresa</a:t>
              </a:r>
            </a:p>
          </p:txBody>
        </p:sp>
      </p:grpSp>
    </p:spTree>
    <p:extLst>
      <p:ext uri="{BB962C8B-B14F-4D97-AF65-F5344CB8AC3E}">
        <p14:creationId xmlns:p14="http://schemas.microsoft.com/office/powerpoint/2010/main" val="311731764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9268" y="623504"/>
            <a:ext cx="8852375" cy="697353"/>
          </a:xfrm>
        </p:spPr>
        <p:txBody>
          <a:bodyPr>
            <a:normAutofit/>
          </a:bodyPr>
          <a:lstStyle/>
          <a:p>
            <a:r>
              <a:rPr lang="en-GB" dirty="0"/>
              <a:t>Medidas financieras ejemplares: Inyección de capital</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07808" y="1950923"/>
            <a:ext cx="7466402" cy="43143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000" dirty="0">
                <a:solidFill>
                  <a:srgbClr val="245473"/>
                </a:solidFill>
                <a:latin typeface="+mj-lt"/>
                <a:ea typeface="Open Sans Light" panose="020B0306030504020204" pitchFamily="34" charset="0"/>
                <a:cs typeface="Open Sans Light" panose="020B0306030504020204" pitchFamily="34" charset="0"/>
              </a:rPr>
              <a:t>Inserción de fondos propios en forma de capital o efectivo con el fin de reducir los ratios de endeudamiento y/o aportar capital para estimular el crecimiento.</a:t>
            </a:r>
          </a:p>
          <a:p>
            <a:pPr algn="l">
              <a:lnSpc>
                <a:spcPct val="100000"/>
              </a:lnSpc>
              <a:spcBef>
                <a:spcPts val="600"/>
              </a:spcBef>
            </a:pPr>
            <a:r>
              <a:rPr lang="en-US" sz="2000" b="1" dirty="0">
                <a:solidFill>
                  <a:srgbClr val="E53292"/>
                </a:solidFill>
                <a:latin typeface="+mj-lt"/>
                <a:ea typeface="Open Sans Light" panose="020B0306030504020204" pitchFamily="34" charset="0"/>
                <a:cs typeface="Open Sans Light" panose="020B0306030504020204" pitchFamily="34" charset="0"/>
              </a:rPr>
              <a:t>Consideraciones:-</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La financiación adicional por parte de los actuales accionistas es más fácil: "nos conocemos".</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No cambia la estructura y las relaciones de los accionistas (al menos mientras todo el mundo esté de acuerdo)</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No es necesario valorar la empresa</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Los problemas surgen cuando sólo participan algunos de los accionistas existentes o se incorporan inversores externos: </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Quién asume el riesgo?</a:t>
            </a:r>
          </a:p>
          <a:p>
            <a:pPr marL="342900" indent="-342900" algn="l">
              <a:lnSpc>
                <a:spcPct val="100000"/>
              </a:lnSpc>
              <a:spcBef>
                <a:spcPts val="600"/>
              </a:spcBef>
              <a:buFont typeface="Arial" panose="020B0604020202020204" pitchFamily="34" charset="0"/>
              <a:buChar char="•"/>
            </a:pPr>
            <a:r>
              <a:rPr lang="en-GB" altLang="de-DE" sz="2000" dirty="0">
                <a:solidFill>
                  <a:srgbClr val="245473"/>
                </a:solidFill>
                <a:latin typeface="+mj-lt"/>
              </a:rPr>
              <a:t>¿Qué obtiene el inversor (lo que no tiene ya)?</a:t>
            </a:r>
            <a:endParaRPr lang="en-GB" sz="2000" dirty="0">
              <a:solidFill>
                <a:srgbClr val="245473"/>
              </a:solidFill>
              <a:latin typeface="+mj-lt"/>
              <a:sym typeface="Wingdings" panose="05000000000000000000" pitchFamily="2" charset="2"/>
            </a:endParaRPr>
          </a:p>
        </p:txBody>
      </p:sp>
      <p:grpSp>
        <p:nvGrpSpPr>
          <p:cNvPr id="5" name="Group 24">
            <a:extLst>
              <a:ext uri="{FF2B5EF4-FFF2-40B4-BE49-F238E27FC236}">
                <a16:creationId xmlns:a16="http://schemas.microsoft.com/office/drawing/2014/main" xmlns="" id="{976D68A4-3C3E-4B7E-82C3-48E2F433EA45}"/>
              </a:ext>
            </a:extLst>
          </p:cNvPr>
          <p:cNvGrpSpPr/>
          <p:nvPr/>
        </p:nvGrpSpPr>
        <p:grpSpPr>
          <a:xfrm>
            <a:off x="8639291" y="2164331"/>
            <a:ext cx="2560300" cy="3539026"/>
            <a:chOff x="13617120" y="3519055"/>
            <a:chExt cx="6825688" cy="9434945"/>
          </a:xfrm>
        </p:grpSpPr>
        <p:sp>
          <p:nvSpPr>
            <p:cNvPr id="6" name="Shape 43426">
              <a:extLst>
                <a:ext uri="{FF2B5EF4-FFF2-40B4-BE49-F238E27FC236}">
                  <a16:creationId xmlns:a16="http://schemas.microsoft.com/office/drawing/2014/main" xmlns="" id="{80940619-31E1-40F1-BC2E-A53139BE29AF}"/>
                </a:ext>
              </a:extLst>
            </p:cNvPr>
            <p:cNvSpPr/>
            <p:nvPr/>
          </p:nvSpPr>
          <p:spPr>
            <a:xfrm>
              <a:off x="13794035" y="3737422"/>
              <a:ext cx="6454810" cy="9019162"/>
            </a:xfrm>
            <a:custGeom>
              <a:avLst/>
              <a:gdLst/>
              <a:ahLst/>
              <a:cxnLst>
                <a:cxn ang="0">
                  <a:pos x="wd2" y="hd2"/>
                </a:cxn>
                <a:cxn ang="5400000">
                  <a:pos x="wd2" y="hd2"/>
                </a:cxn>
                <a:cxn ang="10800000">
                  <a:pos x="wd2" y="hd2"/>
                </a:cxn>
                <a:cxn ang="16200000">
                  <a:pos x="wd2" y="hd2"/>
                </a:cxn>
              </a:cxnLst>
              <a:rect l="0" t="0" r="r" b="b"/>
              <a:pathLst>
                <a:path w="20282" h="21598" extrusionOk="0">
                  <a:moveTo>
                    <a:pt x="6569" y="0"/>
                  </a:moveTo>
                  <a:cubicBezTo>
                    <a:pt x="7358" y="427"/>
                    <a:pt x="8025" y="973"/>
                    <a:pt x="8513" y="1610"/>
                  </a:cubicBezTo>
                  <a:cubicBezTo>
                    <a:pt x="9059" y="2323"/>
                    <a:pt x="9379" y="3123"/>
                    <a:pt x="9456" y="3947"/>
                  </a:cubicBezTo>
                  <a:lnTo>
                    <a:pt x="9467" y="3947"/>
                  </a:lnTo>
                  <a:cubicBezTo>
                    <a:pt x="9507" y="3947"/>
                    <a:pt x="9548" y="3947"/>
                    <a:pt x="9588" y="3947"/>
                  </a:cubicBezTo>
                  <a:cubicBezTo>
                    <a:pt x="9704" y="3947"/>
                    <a:pt x="9819" y="3947"/>
                    <a:pt x="9934" y="3947"/>
                  </a:cubicBezTo>
                  <a:cubicBezTo>
                    <a:pt x="9977" y="3947"/>
                    <a:pt x="10019" y="3947"/>
                    <a:pt x="10062" y="3947"/>
                  </a:cubicBezTo>
                  <a:cubicBezTo>
                    <a:pt x="10115" y="3947"/>
                    <a:pt x="10168" y="3947"/>
                    <a:pt x="10220" y="3947"/>
                  </a:cubicBezTo>
                  <a:cubicBezTo>
                    <a:pt x="10263" y="3947"/>
                    <a:pt x="10305" y="3947"/>
                    <a:pt x="10348" y="3947"/>
                  </a:cubicBezTo>
                  <a:cubicBezTo>
                    <a:pt x="10463" y="3947"/>
                    <a:pt x="10578" y="3947"/>
                    <a:pt x="10694" y="3947"/>
                  </a:cubicBezTo>
                  <a:cubicBezTo>
                    <a:pt x="10734" y="3947"/>
                    <a:pt x="10775" y="3947"/>
                    <a:pt x="10815" y="3947"/>
                  </a:cubicBezTo>
                  <a:lnTo>
                    <a:pt x="10826" y="3947"/>
                  </a:lnTo>
                  <a:cubicBezTo>
                    <a:pt x="10903" y="3123"/>
                    <a:pt x="11223" y="2323"/>
                    <a:pt x="11769" y="1610"/>
                  </a:cubicBezTo>
                  <a:cubicBezTo>
                    <a:pt x="12257" y="973"/>
                    <a:pt x="12924" y="427"/>
                    <a:pt x="13713" y="0"/>
                  </a:cubicBezTo>
                  <a:cubicBezTo>
                    <a:pt x="12549" y="8"/>
                    <a:pt x="11385" y="9"/>
                    <a:pt x="10220" y="5"/>
                  </a:cubicBezTo>
                  <a:cubicBezTo>
                    <a:pt x="10167" y="5"/>
                    <a:pt x="10115" y="5"/>
                    <a:pt x="10062" y="5"/>
                  </a:cubicBezTo>
                  <a:cubicBezTo>
                    <a:pt x="8897" y="9"/>
                    <a:pt x="7733" y="8"/>
                    <a:pt x="6569" y="0"/>
                  </a:cubicBezTo>
                  <a:close/>
                  <a:moveTo>
                    <a:pt x="9250" y="4760"/>
                  </a:moveTo>
                  <a:cubicBezTo>
                    <a:pt x="6682" y="6815"/>
                    <a:pt x="4159" y="8714"/>
                    <a:pt x="2189" y="11228"/>
                  </a:cubicBezTo>
                  <a:cubicBezTo>
                    <a:pt x="1299" y="12365"/>
                    <a:pt x="438" y="13790"/>
                    <a:pt x="112" y="15376"/>
                  </a:cubicBezTo>
                  <a:cubicBezTo>
                    <a:pt x="-659" y="19129"/>
                    <a:pt x="2660" y="21013"/>
                    <a:pt x="6901" y="21443"/>
                  </a:cubicBezTo>
                  <a:cubicBezTo>
                    <a:pt x="7721" y="21526"/>
                    <a:pt x="8616" y="21582"/>
                    <a:pt x="9546" y="21597"/>
                  </a:cubicBezTo>
                  <a:cubicBezTo>
                    <a:pt x="9716" y="21600"/>
                    <a:pt x="9889" y="21597"/>
                    <a:pt x="10062" y="21596"/>
                  </a:cubicBezTo>
                  <a:cubicBezTo>
                    <a:pt x="10115" y="21596"/>
                    <a:pt x="10167" y="21595"/>
                    <a:pt x="10220" y="21596"/>
                  </a:cubicBezTo>
                  <a:cubicBezTo>
                    <a:pt x="10393" y="21597"/>
                    <a:pt x="10566" y="21600"/>
                    <a:pt x="10736" y="21597"/>
                  </a:cubicBezTo>
                  <a:cubicBezTo>
                    <a:pt x="11666" y="21582"/>
                    <a:pt x="12561" y="21526"/>
                    <a:pt x="13381" y="21443"/>
                  </a:cubicBezTo>
                  <a:cubicBezTo>
                    <a:pt x="17622" y="21013"/>
                    <a:pt x="20941" y="19129"/>
                    <a:pt x="20170" y="15376"/>
                  </a:cubicBezTo>
                  <a:cubicBezTo>
                    <a:pt x="19844" y="13790"/>
                    <a:pt x="18983" y="12365"/>
                    <a:pt x="18093" y="11228"/>
                  </a:cubicBezTo>
                  <a:cubicBezTo>
                    <a:pt x="16123" y="8714"/>
                    <a:pt x="13600" y="6815"/>
                    <a:pt x="11032" y="4760"/>
                  </a:cubicBezTo>
                  <a:cubicBezTo>
                    <a:pt x="10799" y="4760"/>
                    <a:pt x="10566" y="4760"/>
                    <a:pt x="10333" y="4760"/>
                  </a:cubicBezTo>
                  <a:cubicBezTo>
                    <a:pt x="10296" y="4760"/>
                    <a:pt x="10258" y="4760"/>
                    <a:pt x="10220" y="4760"/>
                  </a:cubicBezTo>
                  <a:cubicBezTo>
                    <a:pt x="10167" y="4760"/>
                    <a:pt x="10115" y="4760"/>
                    <a:pt x="10062" y="4760"/>
                  </a:cubicBezTo>
                  <a:cubicBezTo>
                    <a:pt x="10024" y="4760"/>
                    <a:pt x="9986" y="4760"/>
                    <a:pt x="9949" y="4760"/>
                  </a:cubicBezTo>
                  <a:cubicBezTo>
                    <a:pt x="9716" y="4760"/>
                    <a:pt x="9483" y="4760"/>
                    <a:pt x="9250" y="476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endParaRPr sz="1899" dirty="0">
                <a:latin typeface="Lato Light" panose="020F0502020204030203" pitchFamily="34" charset="0"/>
              </a:endParaRPr>
            </a:p>
          </p:txBody>
        </p:sp>
        <p:sp>
          <p:nvSpPr>
            <p:cNvPr id="7" name="Rectangle 23">
              <a:extLst>
                <a:ext uri="{FF2B5EF4-FFF2-40B4-BE49-F238E27FC236}">
                  <a16:creationId xmlns:a16="http://schemas.microsoft.com/office/drawing/2014/main" xmlns="" id="{C24DF448-1560-4D4C-B217-A2AF76E6A643}"/>
                </a:ext>
              </a:extLst>
            </p:cNvPr>
            <p:cNvSpPr/>
            <p:nvPr/>
          </p:nvSpPr>
          <p:spPr>
            <a:xfrm>
              <a:off x="13617120" y="8016412"/>
              <a:ext cx="6825688" cy="49375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useBgFill="1">
          <p:nvSpPr>
            <p:cNvPr id="8" name="Freeform 22">
              <a:extLst>
                <a:ext uri="{FF2B5EF4-FFF2-40B4-BE49-F238E27FC236}">
                  <a16:creationId xmlns:a16="http://schemas.microsoft.com/office/drawing/2014/main" xmlns="" id="{750C442B-4699-4EC7-B0C2-20A212419ECB}"/>
                </a:ext>
              </a:extLst>
            </p:cNvPr>
            <p:cNvSpPr/>
            <p:nvPr/>
          </p:nvSpPr>
          <p:spPr>
            <a:xfrm>
              <a:off x="13617120" y="3519055"/>
              <a:ext cx="6825688" cy="9434945"/>
            </a:xfrm>
            <a:custGeom>
              <a:avLst/>
              <a:gdLst>
                <a:gd name="connsiteX0" fmla="*/ 3120756 w 6825688"/>
                <a:gd name="connsiteY0" fmla="*/ 2206107 h 9434945"/>
                <a:gd name="connsiteX1" fmla="*/ 873571 w 6825688"/>
                <a:gd name="connsiteY1" fmla="*/ 4907095 h 9434945"/>
                <a:gd name="connsiteX2" fmla="*/ 212559 w 6825688"/>
                <a:gd name="connsiteY2" fmla="*/ 6639269 h 9434945"/>
                <a:gd name="connsiteX3" fmla="*/ 2373180 w 6825688"/>
                <a:gd name="connsiteY3" fmla="*/ 9172802 h 9434945"/>
                <a:gd name="connsiteX4" fmla="*/ 3214960 w 6825688"/>
                <a:gd name="connsiteY4" fmla="*/ 9237111 h 9434945"/>
                <a:gd name="connsiteX5" fmla="*/ 3379178 w 6825688"/>
                <a:gd name="connsiteY5" fmla="*/ 9236694 h 9434945"/>
                <a:gd name="connsiteX6" fmla="*/ 3429462 w 6825688"/>
                <a:gd name="connsiteY6" fmla="*/ 9236694 h 9434945"/>
                <a:gd name="connsiteX7" fmla="*/ 3593680 w 6825688"/>
                <a:gd name="connsiteY7" fmla="*/ 9237111 h 9434945"/>
                <a:gd name="connsiteX8" fmla="*/ 4435460 w 6825688"/>
                <a:gd name="connsiteY8" fmla="*/ 9172802 h 9434945"/>
                <a:gd name="connsiteX9" fmla="*/ 6596080 w 6825688"/>
                <a:gd name="connsiteY9" fmla="*/ 6639269 h 9434945"/>
                <a:gd name="connsiteX10" fmla="*/ 5935068 w 6825688"/>
                <a:gd name="connsiteY10" fmla="*/ 4907095 h 9434945"/>
                <a:gd name="connsiteX11" fmla="*/ 3687884 w 6825688"/>
                <a:gd name="connsiteY11" fmla="*/ 2206107 h 9434945"/>
                <a:gd name="connsiteX12" fmla="*/ 3465424 w 6825688"/>
                <a:gd name="connsiteY12" fmla="*/ 2206107 h 9434945"/>
                <a:gd name="connsiteX13" fmla="*/ 3429462 w 6825688"/>
                <a:gd name="connsiteY13" fmla="*/ 2206107 h 9434945"/>
                <a:gd name="connsiteX14" fmla="*/ 3379178 w 6825688"/>
                <a:gd name="connsiteY14" fmla="*/ 2206107 h 9434945"/>
                <a:gd name="connsiteX15" fmla="*/ 3343216 w 6825688"/>
                <a:gd name="connsiteY15" fmla="*/ 2206107 h 9434945"/>
                <a:gd name="connsiteX16" fmla="*/ 3120756 w 6825688"/>
                <a:gd name="connsiteY16" fmla="*/ 2206107 h 9434945"/>
                <a:gd name="connsiteX17" fmla="*/ 2267520 w 6825688"/>
                <a:gd name="connsiteY17" fmla="*/ 218367 h 9434945"/>
                <a:gd name="connsiteX18" fmla="*/ 2886204 w 6825688"/>
                <a:gd name="connsiteY18" fmla="*/ 890691 h 9434945"/>
                <a:gd name="connsiteX19" fmla="*/ 3186316 w 6825688"/>
                <a:gd name="connsiteY19" fmla="*/ 1866605 h 9434945"/>
                <a:gd name="connsiteX20" fmla="*/ 3189818 w 6825688"/>
                <a:gd name="connsiteY20" fmla="*/ 1866605 h 9434945"/>
                <a:gd name="connsiteX21" fmla="*/ 3228326 w 6825688"/>
                <a:gd name="connsiteY21" fmla="*/ 1866605 h 9434945"/>
                <a:gd name="connsiteX22" fmla="*/ 3338442 w 6825688"/>
                <a:gd name="connsiteY22" fmla="*/ 1866605 h 9434945"/>
                <a:gd name="connsiteX23" fmla="*/ 3379178 w 6825688"/>
                <a:gd name="connsiteY23" fmla="*/ 1866605 h 9434945"/>
                <a:gd name="connsiteX24" fmla="*/ 3429462 w 6825688"/>
                <a:gd name="connsiteY24" fmla="*/ 1866605 h 9434945"/>
                <a:gd name="connsiteX25" fmla="*/ 3470198 w 6825688"/>
                <a:gd name="connsiteY25" fmla="*/ 1866605 h 9434945"/>
                <a:gd name="connsiteX26" fmla="*/ 3580314 w 6825688"/>
                <a:gd name="connsiteY26" fmla="*/ 1866605 h 9434945"/>
                <a:gd name="connsiteX27" fmla="*/ 3618822 w 6825688"/>
                <a:gd name="connsiteY27" fmla="*/ 1866605 h 9434945"/>
                <a:gd name="connsiteX28" fmla="*/ 3622324 w 6825688"/>
                <a:gd name="connsiteY28" fmla="*/ 1866605 h 9434945"/>
                <a:gd name="connsiteX29" fmla="*/ 3922436 w 6825688"/>
                <a:gd name="connsiteY29" fmla="*/ 890691 h 9434945"/>
                <a:gd name="connsiteX30" fmla="*/ 4541120 w 6825688"/>
                <a:gd name="connsiteY30" fmla="*/ 218367 h 9434945"/>
                <a:gd name="connsiteX31" fmla="*/ 3429462 w 6825688"/>
                <a:gd name="connsiteY31" fmla="*/ 220455 h 9434945"/>
                <a:gd name="connsiteX32" fmla="*/ 3379178 w 6825688"/>
                <a:gd name="connsiteY32" fmla="*/ 220455 h 9434945"/>
                <a:gd name="connsiteX33" fmla="*/ 2267520 w 6825688"/>
                <a:gd name="connsiteY33" fmla="*/ 218367 h 9434945"/>
                <a:gd name="connsiteX34" fmla="*/ 0 w 6825688"/>
                <a:gd name="connsiteY34" fmla="*/ 0 h 9434945"/>
                <a:gd name="connsiteX35" fmla="*/ 6825688 w 6825688"/>
                <a:gd name="connsiteY35" fmla="*/ 0 h 9434945"/>
                <a:gd name="connsiteX36" fmla="*/ 6825688 w 6825688"/>
                <a:gd name="connsiteY36" fmla="*/ 9434945 h 9434945"/>
                <a:gd name="connsiteX37" fmla="*/ 0 w 6825688"/>
                <a:gd name="connsiteY37" fmla="*/ 9434945 h 943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825688" h="9434945">
                  <a:moveTo>
                    <a:pt x="3120756" y="2206107"/>
                  </a:moveTo>
                  <a:cubicBezTo>
                    <a:pt x="2303482" y="3064260"/>
                    <a:pt x="1500530" y="3857268"/>
                    <a:pt x="873571" y="4907095"/>
                  </a:cubicBezTo>
                  <a:cubicBezTo>
                    <a:pt x="590326" y="5381898"/>
                    <a:pt x="316310" y="5976967"/>
                    <a:pt x="212559" y="6639269"/>
                  </a:cubicBezTo>
                  <a:cubicBezTo>
                    <a:pt x="-32814" y="8206493"/>
                    <a:pt x="1023468" y="8993237"/>
                    <a:pt x="2373180" y="9172802"/>
                  </a:cubicBezTo>
                  <a:cubicBezTo>
                    <a:pt x="2634148" y="9207462"/>
                    <a:pt x="2918984" y="9230848"/>
                    <a:pt x="3214960" y="9237111"/>
                  </a:cubicBezTo>
                  <a:cubicBezTo>
                    <a:pt x="3269062" y="9238364"/>
                    <a:pt x="3324120" y="9237111"/>
                    <a:pt x="3379178" y="9236694"/>
                  </a:cubicBezTo>
                  <a:cubicBezTo>
                    <a:pt x="3396046" y="9236694"/>
                    <a:pt x="3412594" y="9236276"/>
                    <a:pt x="3429462" y="9236694"/>
                  </a:cubicBezTo>
                  <a:cubicBezTo>
                    <a:pt x="3484520" y="9237111"/>
                    <a:pt x="3539578" y="9238364"/>
                    <a:pt x="3593680" y="9237111"/>
                  </a:cubicBezTo>
                  <a:cubicBezTo>
                    <a:pt x="3889656" y="9230848"/>
                    <a:pt x="4174492" y="9207462"/>
                    <a:pt x="4435460" y="9172802"/>
                  </a:cubicBezTo>
                  <a:cubicBezTo>
                    <a:pt x="5785172" y="8993237"/>
                    <a:pt x="6841454" y="8206493"/>
                    <a:pt x="6596080" y="6639269"/>
                  </a:cubicBezTo>
                  <a:cubicBezTo>
                    <a:pt x="6492330" y="5976967"/>
                    <a:pt x="6218314" y="5381898"/>
                    <a:pt x="5935068" y="4907095"/>
                  </a:cubicBezTo>
                  <a:cubicBezTo>
                    <a:pt x="5308110" y="3857268"/>
                    <a:pt x="4505158" y="3064260"/>
                    <a:pt x="3687884" y="2206107"/>
                  </a:cubicBezTo>
                  <a:cubicBezTo>
                    <a:pt x="3613730" y="2206107"/>
                    <a:pt x="3539578" y="2206107"/>
                    <a:pt x="3465424" y="2206107"/>
                  </a:cubicBezTo>
                  <a:cubicBezTo>
                    <a:pt x="3453650" y="2206107"/>
                    <a:pt x="3441556" y="2206107"/>
                    <a:pt x="3429462" y="2206107"/>
                  </a:cubicBezTo>
                  <a:cubicBezTo>
                    <a:pt x="3412594" y="2206107"/>
                    <a:pt x="3396046" y="2206107"/>
                    <a:pt x="3379178" y="2206107"/>
                  </a:cubicBezTo>
                  <a:cubicBezTo>
                    <a:pt x="3367084" y="2206107"/>
                    <a:pt x="3354990" y="2206107"/>
                    <a:pt x="3343216" y="2206107"/>
                  </a:cubicBezTo>
                  <a:cubicBezTo>
                    <a:pt x="3269062" y="2206107"/>
                    <a:pt x="3194910" y="2206107"/>
                    <a:pt x="3120756" y="2206107"/>
                  </a:cubicBezTo>
                  <a:close/>
                  <a:moveTo>
                    <a:pt x="2267520" y="218367"/>
                  </a:moveTo>
                  <a:cubicBezTo>
                    <a:pt x="2518622" y="396679"/>
                    <a:pt x="2730896" y="624685"/>
                    <a:pt x="2886204" y="890691"/>
                  </a:cubicBezTo>
                  <a:cubicBezTo>
                    <a:pt x="3059970" y="1188435"/>
                    <a:pt x="3161812" y="1522508"/>
                    <a:pt x="3186316" y="1866605"/>
                  </a:cubicBezTo>
                  <a:lnTo>
                    <a:pt x="3189818" y="1866605"/>
                  </a:lnTo>
                  <a:cubicBezTo>
                    <a:pt x="3202548" y="1866605"/>
                    <a:pt x="3215596" y="1866605"/>
                    <a:pt x="3228326" y="1866605"/>
                  </a:cubicBezTo>
                  <a:cubicBezTo>
                    <a:pt x="3265244" y="1866605"/>
                    <a:pt x="3301842" y="1866605"/>
                    <a:pt x="3338442" y="1866605"/>
                  </a:cubicBezTo>
                  <a:cubicBezTo>
                    <a:pt x="3352126" y="1866605"/>
                    <a:pt x="3365492" y="1866605"/>
                    <a:pt x="3379178" y="1866605"/>
                  </a:cubicBezTo>
                  <a:cubicBezTo>
                    <a:pt x="3396046" y="1866605"/>
                    <a:pt x="3412912" y="1866605"/>
                    <a:pt x="3429462" y="1866605"/>
                  </a:cubicBezTo>
                  <a:cubicBezTo>
                    <a:pt x="3443148" y="1866605"/>
                    <a:pt x="3456514" y="1866605"/>
                    <a:pt x="3470198" y="1866605"/>
                  </a:cubicBezTo>
                  <a:cubicBezTo>
                    <a:pt x="3506798" y="1866605"/>
                    <a:pt x="3543396" y="1866605"/>
                    <a:pt x="3580314" y="1866605"/>
                  </a:cubicBezTo>
                  <a:cubicBezTo>
                    <a:pt x="3593044" y="1866605"/>
                    <a:pt x="3606092" y="1866605"/>
                    <a:pt x="3618822" y="1866605"/>
                  </a:cubicBezTo>
                  <a:lnTo>
                    <a:pt x="3622324" y="1866605"/>
                  </a:lnTo>
                  <a:cubicBezTo>
                    <a:pt x="3646828" y="1522508"/>
                    <a:pt x="3748670" y="1188435"/>
                    <a:pt x="3922436" y="890691"/>
                  </a:cubicBezTo>
                  <a:cubicBezTo>
                    <a:pt x="4077744" y="624685"/>
                    <a:pt x="4290018" y="396679"/>
                    <a:pt x="4541120" y="218367"/>
                  </a:cubicBezTo>
                  <a:cubicBezTo>
                    <a:pt x="4170674" y="221708"/>
                    <a:pt x="3800228" y="222126"/>
                    <a:pt x="3429462" y="220455"/>
                  </a:cubicBezTo>
                  <a:cubicBezTo>
                    <a:pt x="3412594" y="220455"/>
                    <a:pt x="3396046" y="220455"/>
                    <a:pt x="3379178" y="220455"/>
                  </a:cubicBezTo>
                  <a:cubicBezTo>
                    <a:pt x="3008413" y="222126"/>
                    <a:pt x="2637966" y="221708"/>
                    <a:pt x="2267520" y="218367"/>
                  </a:cubicBezTo>
                  <a:close/>
                  <a:moveTo>
                    <a:pt x="0" y="0"/>
                  </a:moveTo>
                  <a:lnTo>
                    <a:pt x="6825688" y="0"/>
                  </a:lnTo>
                  <a:lnTo>
                    <a:pt x="6825688" y="9434945"/>
                  </a:lnTo>
                  <a:lnTo>
                    <a:pt x="0" y="943494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grpSp>
      <p:sp>
        <p:nvSpPr>
          <p:cNvPr id="9" name="Shape 41719">
            <a:extLst>
              <a:ext uri="{FF2B5EF4-FFF2-40B4-BE49-F238E27FC236}">
                <a16:creationId xmlns:a16="http://schemas.microsoft.com/office/drawing/2014/main" xmlns="" id="{2393580B-4813-445F-837C-4A3B01301486}"/>
              </a:ext>
            </a:extLst>
          </p:cNvPr>
          <p:cNvSpPr/>
          <p:nvPr/>
        </p:nvSpPr>
        <p:spPr>
          <a:xfrm rot="5400000">
            <a:off x="9259155" y="2305959"/>
            <a:ext cx="1052932" cy="1214540"/>
          </a:xfrm>
          <a:custGeom>
            <a:avLst/>
            <a:gdLst/>
            <a:ahLst/>
            <a:cxnLst>
              <a:cxn ang="0">
                <a:pos x="wd2" y="hd2"/>
              </a:cxn>
              <a:cxn ang="5400000">
                <a:pos x="wd2" y="hd2"/>
              </a:cxn>
              <a:cxn ang="10800000">
                <a:pos x="wd2" y="hd2"/>
              </a:cxn>
              <a:cxn ang="16200000">
                <a:pos x="wd2" y="hd2"/>
              </a:cxn>
            </a:cxnLst>
            <a:rect l="0" t="0" r="r" b="b"/>
            <a:pathLst>
              <a:path w="21504" h="21513" extrusionOk="0">
                <a:moveTo>
                  <a:pt x="4399" y="0"/>
                </a:moveTo>
                <a:cubicBezTo>
                  <a:pt x="3834" y="0"/>
                  <a:pt x="3327" y="201"/>
                  <a:pt x="2957" y="522"/>
                </a:cubicBezTo>
                <a:cubicBezTo>
                  <a:pt x="2587" y="842"/>
                  <a:pt x="2356" y="1283"/>
                  <a:pt x="2356" y="1772"/>
                </a:cubicBezTo>
                <a:lnTo>
                  <a:pt x="2356" y="2415"/>
                </a:lnTo>
                <a:lnTo>
                  <a:pt x="2356" y="3551"/>
                </a:lnTo>
                <a:lnTo>
                  <a:pt x="2356" y="7143"/>
                </a:lnTo>
                <a:cubicBezTo>
                  <a:pt x="2229" y="7136"/>
                  <a:pt x="2102" y="7138"/>
                  <a:pt x="1977" y="7150"/>
                </a:cubicBezTo>
                <a:cubicBezTo>
                  <a:pt x="1225" y="7218"/>
                  <a:pt x="551" y="7601"/>
                  <a:pt x="214" y="8186"/>
                </a:cubicBezTo>
                <a:cubicBezTo>
                  <a:pt x="-21" y="8593"/>
                  <a:pt x="-74" y="9082"/>
                  <a:pt x="115" y="9543"/>
                </a:cubicBezTo>
                <a:cubicBezTo>
                  <a:pt x="852" y="11613"/>
                  <a:pt x="1671" y="13662"/>
                  <a:pt x="2578" y="15681"/>
                </a:cubicBezTo>
                <a:cubicBezTo>
                  <a:pt x="3077" y="16791"/>
                  <a:pt x="3617" y="17897"/>
                  <a:pt x="4481" y="18825"/>
                </a:cubicBezTo>
                <a:cubicBezTo>
                  <a:pt x="5214" y="19612"/>
                  <a:pt x="6220" y="20276"/>
                  <a:pt x="7513" y="20768"/>
                </a:cubicBezTo>
                <a:cubicBezTo>
                  <a:pt x="9108" y="21376"/>
                  <a:pt x="10859" y="21600"/>
                  <a:pt x="12596" y="21483"/>
                </a:cubicBezTo>
                <a:cubicBezTo>
                  <a:pt x="14857" y="21330"/>
                  <a:pt x="16991" y="20631"/>
                  <a:pt x="18528" y="19296"/>
                </a:cubicBezTo>
                <a:cubicBezTo>
                  <a:pt x="20567" y="17525"/>
                  <a:pt x="21227" y="14955"/>
                  <a:pt x="21419" y="12443"/>
                </a:cubicBezTo>
                <a:cubicBezTo>
                  <a:pt x="21526" y="11054"/>
                  <a:pt x="21507" y="9660"/>
                  <a:pt x="21495" y="8268"/>
                </a:cubicBezTo>
                <a:cubicBezTo>
                  <a:pt x="21483" y="6724"/>
                  <a:pt x="21481" y="5179"/>
                  <a:pt x="21485" y="3634"/>
                </a:cubicBezTo>
                <a:cubicBezTo>
                  <a:pt x="21487" y="3145"/>
                  <a:pt x="21262" y="2705"/>
                  <a:pt x="20892" y="2384"/>
                </a:cubicBezTo>
                <a:cubicBezTo>
                  <a:pt x="20523" y="2064"/>
                  <a:pt x="20006" y="1863"/>
                  <a:pt x="19442" y="1863"/>
                </a:cubicBezTo>
                <a:lnTo>
                  <a:pt x="19220" y="1863"/>
                </a:lnTo>
                <a:cubicBezTo>
                  <a:pt x="18658" y="1870"/>
                  <a:pt x="18152" y="2069"/>
                  <a:pt x="17778" y="2384"/>
                </a:cubicBezTo>
                <a:cubicBezTo>
                  <a:pt x="17398" y="2704"/>
                  <a:pt x="17167" y="3148"/>
                  <a:pt x="17146" y="3638"/>
                </a:cubicBezTo>
                <a:lnTo>
                  <a:pt x="16551" y="3538"/>
                </a:lnTo>
                <a:lnTo>
                  <a:pt x="16551" y="3047"/>
                </a:lnTo>
                <a:cubicBezTo>
                  <a:pt x="16551" y="2558"/>
                  <a:pt x="16322" y="2115"/>
                  <a:pt x="15952" y="1794"/>
                </a:cubicBezTo>
                <a:cubicBezTo>
                  <a:pt x="15582" y="1473"/>
                  <a:pt x="15072" y="1275"/>
                  <a:pt x="14507" y="1275"/>
                </a:cubicBezTo>
                <a:lnTo>
                  <a:pt x="14277" y="1275"/>
                </a:lnTo>
                <a:cubicBezTo>
                  <a:pt x="13716" y="1285"/>
                  <a:pt x="13211" y="1481"/>
                  <a:pt x="12836" y="1794"/>
                </a:cubicBezTo>
                <a:cubicBezTo>
                  <a:pt x="12491" y="2083"/>
                  <a:pt x="12257" y="2472"/>
                  <a:pt x="12195" y="2911"/>
                </a:cubicBezTo>
                <a:lnTo>
                  <a:pt x="12164" y="2917"/>
                </a:lnTo>
                <a:lnTo>
                  <a:pt x="11537" y="2837"/>
                </a:lnTo>
                <a:lnTo>
                  <a:pt x="11607" y="2217"/>
                </a:lnTo>
                <a:cubicBezTo>
                  <a:pt x="11607" y="1727"/>
                  <a:pt x="11379" y="1284"/>
                  <a:pt x="11009" y="964"/>
                </a:cubicBezTo>
                <a:cubicBezTo>
                  <a:pt x="10639" y="643"/>
                  <a:pt x="10128" y="445"/>
                  <a:pt x="9564" y="445"/>
                </a:cubicBezTo>
                <a:lnTo>
                  <a:pt x="9342" y="445"/>
                </a:lnTo>
                <a:cubicBezTo>
                  <a:pt x="8780" y="453"/>
                  <a:pt x="8272" y="649"/>
                  <a:pt x="7897" y="964"/>
                </a:cubicBezTo>
                <a:cubicBezTo>
                  <a:pt x="7523" y="1278"/>
                  <a:pt x="7280" y="1711"/>
                  <a:pt x="7252" y="2196"/>
                </a:cubicBezTo>
                <a:lnTo>
                  <a:pt x="7252" y="2185"/>
                </a:lnTo>
                <a:lnTo>
                  <a:pt x="6634" y="2107"/>
                </a:lnTo>
                <a:lnTo>
                  <a:pt x="6664" y="1772"/>
                </a:lnTo>
                <a:cubicBezTo>
                  <a:pt x="6664" y="1283"/>
                  <a:pt x="6441" y="842"/>
                  <a:pt x="6071" y="522"/>
                </a:cubicBezTo>
                <a:cubicBezTo>
                  <a:pt x="5701" y="201"/>
                  <a:pt x="5185" y="0"/>
                  <a:pt x="4621" y="0"/>
                </a:cubicBezTo>
                <a:lnTo>
                  <a:pt x="4399" y="0"/>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sz="1899" dirty="0">
              <a:latin typeface="Lato Light" panose="020F0502020204030203" pitchFamily="34" charset="0"/>
            </a:endParaRPr>
          </a:p>
        </p:txBody>
      </p:sp>
      <p:sp>
        <p:nvSpPr>
          <p:cNvPr id="10" name="Shape 41720">
            <a:extLst>
              <a:ext uri="{FF2B5EF4-FFF2-40B4-BE49-F238E27FC236}">
                <a16:creationId xmlns:a16="http://schemas.microsoft.com/office/drawing/2014/main" xmlns="" id="{C46C1303-8BBA-46E4-A36B-516691524E65}"/>
              </a:ext>
            </a:extLst>
          </p:cNvPr>
          <p:cNvSpPr/>
          <p:nvPr/>
        </p:nvSpPr>
        <p:spPr>
          <a:xfrm>
            <a:off x="7929237" y="2543074"/>
            <a:ext cx="1333088" cy="859690"/>
          </a:xfrm>
          <a:prstGeom prst="rect">
            <a:avLst/>
          </a:prstGeom>
          <a:solidFill>
            <a:schemeClr val="accent1"/>
          </a:solid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Tree>
    <p:extLst>
      <p:ext uri="{BB962C8B-B14F-4D97-AF65-F5344CB8AC3E}">
        <p14:creationId xmlns:p14="http://schemas.microsoft.com/office/powerpoint/2010/main" val="42124848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9268" y="623504"/>
            <a:ext cx="8852375" cy="697353"/>
          </a:xfrm>
        </p:spPr>
        <p:txBody>
          <a:bodyPr>
            <a:normAutofit/>
          </a:bodyPr>
          <a:lstStyle/>
          <a:p>
            <a:r>
              <a:rPr lang="en-GB" dirty="0"/>
              <a:t>Medidas financieras ejemplares: Inyección de capital</a:t>
            </a:r>
          </a:p>
        </p:txBody>
      </p:sp>
      <p:grpSp>
        <p:nvGrpSpPr>
          <p:cNvPr id="5" name="Group 24">
            <a:extLst>
              <a:ext uri="{FF2B5EF4-FFF2-40B4-BE49-F238E27FC236}">
                <a16:creationId xmlns:a16="http://schemas.microsoft.com/office/drawing/2014/main" xmlns="" id="{976D68A4-3C3E-4B7E-82C3-48E2F433EA45}"/>
              </a:ext>
            </a:extLst>
          </p:cNvPr>
          <p:cNvGrpSpPr/>
          <p:nvPr/>
        </p:nvGrpSpPr>
        <p:grpSpPr>
          <a:xfrm>
            <a:off x="736262" y="2164331"/>
            <a:ext cx="2560300" cy="3539026"/>
            <a:chOff x="13617120" y="3519055"/>
            <a:chExt cx="6825688" cy="9434945"/>
          </a:xfrm>
        </p:grpSpPr>
        <p:sp>
          <p:nvSpPr>
            <p:cNvPr id="6" name="Shape 43426">
              <a:extLst>
                <a:ext uri="{FF2B5EF4-FFF2-40B4-BE49-F238E27FC236}">
                  <a16:creationId xmlns:a16="http://schemas.microsoft.com/office/drawing/2014/main" xmlns="" id="{80940619-31E1-40F1-BC2E-A53139BE29AF}"/>
                </a:ext>
              </a:extLst>
            </p:cNvPr>
            <p:cNvSpPr/>
            <p:nvPr/>
          </p:nvSpPr>
          <p:spPr>
            <a:xfrm>
              <a:off x="13794035" y="3737422"/>
              <a:ext cx="6454810" cy="9019162"/>
            </a:xfrm>
            <a:custGeom>
              <a:avLst/>
              <a:gdLst/>
              <a:ahLst/>
              <a:cxnLst>
                <a:cxn ang="0">
                  <a:pos x="wd2" y="hd2"/>
                </a:cxn>
                <a:cxn ang="5400000">
                  <a:pos x="wd2" y="hd2"/>
                </a:cxn>
                <a:cxn ang="10800000">
                  <a:pos x="wd2" y="hd2"/>
                </a:cxn>
                <a:cxn ang="16200000">
                  <a:pos x="wd2" y="hd2"/>
                </a:cxn>
              </a:cxnLst>
              <a:rect l="0" t="0" r="r" b="b"/>
              <a:pathLst>
                <a:path w="20282" h="21598" extrusionOk="0">
                  <a:moveTo>
                    <a:pt x="6569" y="0"/>
                  </a:moveTo>
                  <a:cubicBezTo>
                    <a:pt x="7358" y="427"/>
                    <a:pt x="8025" y="973"/>
                    <a:pt x="8513" y="1610"/>
                  </a:cubicBezTo>
                  <a:cubicBezTo>
                    <a:pt x="9059" y="2323"/>
                    <a:pt x="9379" y="3123"/>
                    <a:pt x="9456" y="3947"/>
                  </a:cubicBezTo>
                  <a:lnTo>
                    <a:pt x="9467" y="3947"/>
                  </a:lnTo>
                  <a:cubicBezTo>
                    <a:pt x="9507" y="3947"/>
                    <a:pt x="9548" y="3947"/>
                    <a:pt x="9588" y="3947"/>
                  </a:cubicBezTo>
                  <a:cubicBezTo>
                    <a:pt x="9704" y="3947"/>
                    <a:pt x="9819" y="3947"/>
                    <a:pt x="9934" y="3947"/>
                  </a:cubicBezTo>
                  <a:cubicBezTo>
                    <a:pt x="9977" y="3947"/>
                    <a:pt x="10019" y="3947"/>
                    <a:pt x="10062" y="3947"/>
                  </a:cubicBezTo>
                  <a:cubicBezTo>
                    <a:pt x="10115" y="3947"/>
                    <a:pt x="10168" y="3947"/>
                    <a:pt x="10220" y="3947"/>
                  </a:cubicBezTo>
                  <a:cubicBezTo>
                    <a:pt x="10263" y="3947"/>
                    <a:pt x="10305" y="3947"/>
                    <a:pt x="10348" y="3947"/>
                  </a:cubicBezTo>
                  <a:cubicBezTo>
                    <a:pt x="10463" y="3947"/>
                    <a:pt x="10578" y="3947"/>
                    <a:pt x="10694" y="3947"/>
                  </a:cubicBezTo>
                  <a:cubicBezTo>
                    <a:pt x="10734" y="3947"/>
                    <a:pt x="10775" y="3947"/>
                    <a:pt x="10815" y="3947"/>
                  </a:cubicBezTo>
                  <a:lnTo>
                    <a:pt x="10826" y="3947"/>
                  </a:lnTo>
                  <a:cubicBezTo>
                    <a:pt x="10903" y="3123"/>
                    <a:pt x="11223" y="2323"/>
                    <a:pt x="11769" y="1610"/>
                  </a:cubicBezTo>
                  <a:cubicBezTo>
                    <a:pt x="12257" y="973"/>
                    <a:pt x="12924" y="427"/>
                    <a:pt x="13713" y="0"/>
                  </a:cubicBezTo>
                  <a:cubicBezTo>
                    <a:pt x="12549" y="8"/>
                    <a:pt x="11385" y="9"/>
                    <a:pt x="10220" y="5"/>
                  </a:cubicBezTo>
                  <a:cubicBezTo>
                    <a:pt x="10167" y="5"/>
                    <a:pt x="10115" y="5"/>
                    <a:pt x="10062" y="5"/>
                  </a:cubicBezTo>
                  <a:cubicBezTo>
                    <a:pt x="8897" y="9"/>
                    <a:pt x="7733" y="8"/>
                    <a:pt x="6569" y="0"/>
                  </a:cubicBezTo>
                  <a:close/>
                  <a:moveTo>
                    <a:pt x="9250" y="4760"/>
                  </a:moveTo>
                  <a:cubicBezTo>
                    <a:pt x="6682" y="6815"/>
                    <a:pt x="4159" y="8714"/>
                    <a:pt x="2189" y="11228"/>
                  </a:cubicBezTo>
                  <a:cubicBezTo>
                    <a:pt x="1299" y="12365"/>
                    <a:pt x="438" y="13790"/>
                    <a:pt x="112" y="15376"/>
                  </a:cubicBezTo>
                  <a:cubicBezTo>
                    <a:pt x="-659" y="19129"/>
                    <a:pt x="2660" y="21013"/>
                    <a:pt x="6901" y="21443"/>
                  </a:cubicBezTo>
                  <a:cubicBezTo>
                    <a:pt x="7721" y="21526"/>
                    <a:pt x="8616" y="21582"/>
                    <a:pt x="9546" y="21597"/>
                  </a:cubicBezTo>
                  <a:cubicBezTo>
                    <a:pt x="9716" y="21600"/>
                    <a:pt x="9889" y="21597"/>
                    <a:pt x="10062" y="21596"/>
                  </a:cubicBezTo>
                  <a:cubicBezTo>
                    <a:pt x="10115" y="21596"/>
                    <a:pt x="10167" y="21595"/>
                    <a:pt x="10220" y="21596"/>
                  </a:cubicBezTo>
                  <a:cubicBezTo>
                    <a:pt x="10393" y="21597"/>
                    <a:pt x="10566" y="21600"/>
                    <a:pt x="10736" y="21597"/>
                  </a:cubicBezTo>
                  <a:cubicBezTo>
                    <a:pt x="11666" y="21582"/>
                    <a:pt x="12561" y="21526"/>
                    <a:pt x="13381" y="21443"/>
                  </a:cubicBezTo>
                  <a:cubicBezTo>
                    <a:pt x="17622" y="21013"/>
                    <a:pt x="20941" y="19129"/>
                    <a:pt x="20170" y="15376"/>
                  </a:cubicBezTo>
                  <a:cubicBezTo>
                    <a:pt x="19844" y="13790"/>
                    <a:pt x="18983" y="12365"/>
                    <a:pt x="18093" y="11228"/>
                  </a:cubicBezTo>
                  <a:cubicBezTo>
                    <a:pt x="16123" y="8714"/>
                    <a:pt x="13600" y="6815"/>
                    <a:pt x="11032" y="4760"/>
                  </a:cubicBezTo>
                  <a:cubicBezTo>
                    <a:pt x="10799" y="4760"/>
                    <a:pt x="10566" y="4760"/>
                    <a:pt x="10333" y="4760"/>
                  </a:cubicBezTo>
                  <a:cubicBezTo>
                    <a:pt x="10296" y="4760"/>
                    <a:pt x="10258" y="4760"/>
                    <a:pt x="10220" y="4760"/>
                  </a:cubicBezTo>
                  <a:cubicBezTo>
                    <a:pt x="10167" y="4760"/>
                    <a:pt x="10115" y="4760"/>
                    <a:pt x="10062" y="4760"/>
                  </a:cubicBezTo>
                  <a:cubicBezTo>
                    <a:pt x="10024" y="4760"/>
                    <a:pt x="9986" y="4760"/>
                    <a:pt x="9949" y="4760"/>
                  </a:cubicBezTo>
                  <a:cubicBezTo>
                    <a:pt x="9716" y="4760"/>
                    <a:pt x="9483" y="4760"/>
                    <a:pt x="9250" y="4760"/>
                  </a:cubicBezTo>
                  <a:close/>
                </a:path>
              </a:pathLst>
            </a:custGeom>
            <a:solidFill>
              <a:schemeClr val="bg1">
                <a:lumMod val="95000"/>
              </a:schemeClr>
            </a:solidFill>
            <a:ln w="12700" cap="flat">
              <a:noFill/>
              <a:miter lim="400000"/>
            </a:ln>
            <a:effectLst/>
          </p:spPr>
          <p:txBody>
            <a:bodyPr wrap="square" lIns="26796" tIns="26796" rIns="26796" bIns="26796" numCol="1" anchor="ctr">
              <a:noAutofit/>
            </a:bodyPr>
            <a:lstStyle/>
            <a:p>
              <a:endParaRPr sz="1899" dirty="0">
                <a:latin typeface="Lato Light" panose="020F0502020204030203" pitchFamily="34" charset="0"/>
              </a:endParaRPr>
            </a:p>
          </p:txBody>
        </p:sp>
        <p:sp>
          <p:nvSpPr>
            <p:cNvPr id="7" name="Rectangle 23">
              <a:extLst>
                <a:ext uri="{FF2B5EF4-FFF2-40B4-BE49-F238E27FC236}">
                  <a16:creationId xmlns:a16="http://schemas.microsoft.com/office/drawing/2014/main" xmlns="" id="{C24DF448-1560-4D4C-B217-A2AF76E6A643}"/>
                </a:ext>
              </a:extLst>
            </p:cNvPr>
            <p:cNvSpPr/>
            <p:nvPr/>
          </p:nvSpPr>
          <p:spPr>
            <a:xfrm>
              <a:off x="13617120" y="8016412"/>
              <a:ext cx="6825688" cy="49375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useBgFill="1">
          <p:nvSpPr>
            <p:cNvPr id="8" name="Freeform 22">
              <a:extLst>
                <a:ext uri="{FF2B5EF4-FFF2-40B4-BE49-F238E27FC236}">
                  <a16:creationId xmlns:a16="http://schemas.microsoft.com/office/drawing/2014/main" xmlns="" id="{750C442B-4699-4EC7-B0C2-20A212419ECB}"/>
                </a:ext>
              </a:extLst>
            </p:cNvPr>
            <p:cNvSpPr/>
            <p:nvPr/>
          </p:nvSpPr>
          <p:spPr>
            <a:xfrm>
              <a:off x="13617120" y="3519055"/>
              <a:ext cx="6825688" cy="9434945"/>
            </a:xfrm>
            <a:custGeom>
              <a:avLst/>
              <a:gdLst>
                <a:gd name="connsiteX0" fmla="*/ 3120756 w 6825688"/>
                <a:gd name="connsiteY0" fmla="*/ 2206107 h 9434945"/>
                <a:gd name="connsiteX1" fmla="*/ 873571 w 6825688"/>
                <a:gd name="connsiteY1" fmla="*/ 4907095 h 9434945"/>
                <a:gd name="connsiteX2" fmla="*/ 212559 w 6825688"/>
                <a:gd name="connsiteY2" fmla="*/ 6639269 h 9434945"/>
                <a:gd name="connsiteX3" fmla="*/ 2373180 w 6825688"/>
                <a:gd name="connsiteY3" fmla="*/ 9172802 h 9434945"/>
                <a:gd name="connsiteX4" fmla="*/ 3214960 w 6825688"/>
                <a:gd name="connsiteY4" fmla="*/ 9237111 h 9434945"/>
                <a:gd name="connsiteX5" fmla="*/ 3379178 w 6825688"/>
                <a:gd name="connsiteY5" fmla="*/ 9236694 h 9434945"/>
                <a:gd name="connsiteX6" fmla="*/ 3429462 w 6825688"/>
                <a:gd name="connsiteY6" fmla="*/ 9236694 h 9434945"/>
                <a:gd name="connsiteX7" fmla="*/ 3593680 w 6825688"/>
                <a:gd name="connsiteY7" fmla="*/ 9237111 h 9434945"/>
                <a:gd name="connsiteX8" fmla="*/ 4435460 w 6825688"/>
                <a:gd name="connsiteY8" fmla="*/ 9172802 h 9434945"/>
                <a:gd name="connsiteX9" fmla="*/ 6596080 w 6825688"/>
                <a:gd name="connsiteY9" fmla="*/ 6639269 h 9434945"/>
                <a:gd name="connsiteX10" fmla="*/ 5935068 w 6825688"/>
                <a:gd name="connsiteY10" fmla="*/ 4907095 h 9434945"/>
                <a:gd name="connsiteX11" fmla="*/ 3687884 w 6825688"/>
                <a:gd name="connsiteY11" fmla="*/ 2206107 h 9434945"/>
                <a:gd name="connsiteX12" fmla="*/ 3465424 w 6825688"/>
                <a:gd name="connsiteY12" fmla="*/ 2206107 h 9434945"/>
                <a:gd name="connsiteX13" fmla="*/ 3429462 w 6825688"/>
                <a:gd name="connsiteY13" fmla="*/ 2206107 h 9434945"/>
                <a:gd name="connsiteX14" fmla="*/ 3379178 w 6825688"/>
                <a:gd name="connsiteY14" fmla="*/ 2206107 h 9434945"/>
                <a:gd name="connsiteX15" fmla="*/ 3343216 w 6825688"/>
                <a:gd name="connsiteY15" fmla="*/ 2206107 h 9434945"/>
                <a:gd name="connsiteX16" fmla="*/ 3120756 w 6825688"/>
                <a:gd name="connsiteY16" fmla="*/ 2206107 h 9434945"/>
                <a:gd name="connsiteX17" fmla="*/ 2267520 w 6825688"/>
                <a:gd name="connsiteY17" fmla="*/ 218367 h 9434945"/>
                <a:gd name="connsiteX18" fmla="*/ 2886204 w 6825688"/>
                <a:gd name="connsiteY18" fmla="*/ 890691 h 9434945"/>
                <a:gd name="connsiteX19" fmla="*/ 3186316 w 6825688"/>
                <a:gd name="connsiteY19" fmla="*/ 1866605 h 9434945"/>
                <a:gd name="connsiteX20" fmla="*/ 3189818 w 6825688"/>
                <a:gd name="connsiteY20" fmla="*/ 1866605 h 9434945"/>
                <a:gd name="connsiteX21" fmla="*/ 3228326 w 6825688"/>
                <a:gd name="connsiteY21" fmla="*/ 1866605 h 9434945"/>
                <a:gd name="connsiteX22" fmla="*/ 3338442 w 6825688"/>
                <a:gd name="connsiteY22" fmla="*/ 1866605 h 9434945"/>
                <a:gd name="connsiteX23" fmla="*/ 3379178 w 6825688"/>
                <a:gd name="connsiteY23" fmla="*/ 1866605 h 9434945"/>
                <a:gd name="connsiteX24" fmla="*/ 3429462 w 6825688"/>
                <a:gd name="connsiteY24" fmla="*/ 1866605 h 9434945"/>
                <a:gd name="connsiteX25" fmla="*/ 3470198 w 6825688"/>
                <a:gd name="connsiteY25" fmla="*/ 1866605 h 9434945"/>
                <a:gd name="connsiteX26" fmla="*/ 3580314 w 6825688"/>
                <a:gd name="connsiteY26" fmla="*/ 1866605 h 9434945"/>
                <a:gd name="connsiteX27" fmla="*/ 3618822 w 6825688"/>
                <a:gd name="connsiteY27" fmla="*/ 1866605 h 9434945"/>
                <a:gd name="connsiteX28" fmla="*/ 3622324 w 6825688"/>
                <a:gd name="connsiteY28" fmla="*/ 1866605 h 9434945"/>
                <a:gd name="connsiteX29" fmla="*/ 3922436 w 6825688"/>
                <a:gd name="connsiteY29" fmla="*/ 890691 h 9434945"/>
                <a:gd name="connsiteX30" fmla="*/ 4541120 w 6825688"/>
                <a:gd name="connsiteY30" fmla="*/ 218367 h 9434945"/>
                <a:gd name="connsiteX31" fmla="*/ 3429462 w 6825688"/>
                <a:gd name="connsiteY31" fmla="*/ 220455 h 9434945"/>
                <a:gd name="connsiteX32" fmla="*/ 3379178 w 6825688"/>
                <a:gd name="connsiteY32" fmla="*/ 220455 h 9434945"/>
                <a:gd name="connsiteX33" fmla="*/ 2267520 w 6825688"/>
                <a:gd name="connsiteY33" fmla="*/ 218367 h 9434945"/>
                <a:gd name="connsiteX34" fmla="*/ 0 w 6825688"/>
                <a:gd name="connsiteY34" fmla="*/ 0 h 9434945"/>
                <a:gd name="connsiteX35" fmla="*/ 6825688 w 6825688"/>
                <a:gd name="connsiteY35" fmla="*/ 0 h 9434945"/>
                <a:gd name="connsiteX36" fmla="*/ 6825688 w 6825688"/>
                <a:gd name="connsiteY36" fmla="*/ 9434945 h 9434945"/>
                <a:gd name="connsiteX37" fmla="*/ 0 w 6825688"/>
                <a:gd name="connsiteY37" fmla="*/ 9434945 h 9434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825688" h="9434945">
                  <a:moveTo>
                    <a:pt x="3120756" y="2206107"/>
                  </a:moveTo>
                  <a:cubicBezTo>
                    <a:pt x="2303482" y="3064260"/>
                    <a:pt x="1500530" y="3857268"/>
                    <a:pt x="873571" y="4907095"/>
                  </a:cubicBezTo>
                  <a:cubicBezTo>
                    <a:pt x="590326" y="5381898"/>
                    <a:pt x="316310" y="5976967"/>
                    <a:pt x="212559" y="6639269"/>
                  </a:cubicBezTo>
                  <a:cubicBezTo>
                    <a:pt x="-32814" y="8206493"/>
                    <a:pt x="1023468" y="8993237"/>
                    <a:pt x="2373180" y="9172802"/>
                  </a:cubicBezTo>
                  <a:cubicBezTo>
                    <a:pt x="2634148" y="9207462"/>
                    <a:pt x="2918984" y="9230848"/>
                    <a:pt x="3214960" y="9237111"/>
                  </a:cubicBezTo>
                  <a:cubicBezTo>
                    <a:pt x="3269062" y="9238364"/>
                    <a:pt x="3324120" y="9237111"/>
                    <a:pt x="3379178" y="9236694"/>
                  </a:cubicBezTo>
                  <a:cubicBezTo>
                    <a:pt x="3396046" y="9236694"/>
                    <a:pt x="3412594" y="9236276"/>
                    <a:pt x="3429462" y="9236694"/>
                  </a:cubicBezTo>
                  <a:cubicBezTo>
                    <a:pt x="3484520" y="9237111"/>
                    <a:pt x="3539578" y="9238364"/>
                    <a:pt x="3593680" y="9237111"/>
                  </a:cubicBezTo>
                  <a:cubicBezTo>
                    <a:pt x="3889656" y="9230848"/>
                    <a:pt x="4174492" y="9207462"/>
                    <a:pt x="4435460" y="9172802"/>
                  </a:cubicBezTo>
                  <a:cubicBezTo>
                    <a:pt x="5785172" y="8993237"/>
                    <a:pt x="6841454" y="8206493"/>
                    <a:pt x="6596080" y="6639269"/>
                  </a:cubicBezTo>
                  <a:cubicBezTo>
                    <a:pt x="6492330" y="5976967"/>
                    <a:pt x="6218314" y="5381898"/>
                    <a:pt x="5935068" y="4907095"/>
                  </a:cubicBezTo>
                  <a:cubicBezTo>
                    <a:pt x="5308110" y="3857268"/>
                    <a:pt x="4505158" y="3064260"/>
                    <a:pt x="3687884" y="2206107"/>
                  </a:cubicBezTo>
                  <a:cubicBezTo>
                    <a:pt x="3613730" y="2206107"/>
                    <a:pt x="3539578" y="2206107"/>
                    <a:pt x="3465424" y="2206107"/>
                  </a:cubicBezTo>
                  <a:cubicBezTo>
                    <a:pt x="3453650" y="2206107"/>
                    <a:pt x="3441556" y="2206107"/>
                    <a:pt x="3429462" y="2206107"/>
                  </a:cubicBezTo>
                  <a:cubicBezTo>
                    <a:pt x="3412594" y="2206107"/>
                    <a:pt x="3396046" y="2206107"/>
                    <a:pt x="3379178" y="2206107"/>
                  </a:cubicBezTo>
                  <a:cubicBezTo>
                    <a:pt x="3367084" y="2206107"/>
                    <a:pt x="3354990" y="2206107"/>
                    <a:pt x="3343216" y="2206107"/>
                  </a:cubicBezTo>
                  <a:cubicBezTo>
                    <a:pt x="3269062" y="2206107"/>
                    <a:pt x="3194910" y="2206107"/>
                    <a:pt x="3120756" y="2206107"/>
                  </a:cubicBezTo>
                  <a:close/>
                  <a:moveTo>
                    <a:pt x="2267520" y="218367"/>
                  </a:moveTo>
                  <a:cubicBezTo>
                    <a:pt x="2518622" y="396679"/>
                    <a:pt x="2730896" y="624685"/>
                    <a:pt x="2886204" y="890691"/>
                  </a:cubicBezTo>
                  <a:cubicBezTo>
                    <a:pt x="3059970" y="1188435"/>
                    <a:pt x="3161812" y="1522508"/>
                    <a:pt x="3186316" y="1866605"/>
                  </a:cubicBezTo>
                  <a:lnTo>
                    <a:pt x="3189818" y="1866605"/>
                  </a:lnTo>
                  <a:cubicBezTo>
                    <a:pt x="3202548" y="1866605"/>
                    <a:pt x="3215596" y="1866605"/>
                    <a:pt x="3228326" y="1866605"/>
                  </a:cubicBezTo>
                  <a:cubicBezTo>
                    <a:pt x="3265244" y="1866605"/>
                    <a:pt x="3301842" y="1866605"/>
                    <a:pt x="3338442" y="1866605"/>
                  </a:cubicBezTo>
                  <a:cubicBezTo>
                    <a:pt x="3352126" y="1866605"/>
                    <a:pt x="3365492" y="1866605"/>
                    <a:pt x="3379178" y="1866605"/>
                  </a:cubicBezTo>
                  <a:cubicBezTo>
                    <a:pt x="3396046" y="1866605"/>
                    <a:pt x="3412912" y="1866605"/>
                    <a:pt x="3429462" y="1866605"/>
                  </a:cubicBezTo>
                  <a:cubicBezTo>
                    <a:pt x="3443148" y="1866605"/>
                    <a:pt x="3456514" y="1866605"/>
                    <a:pt x="3470198" y="1866605"/>
                  </a:cubicBezTo>
                  <a:cubicBezTo>
                    <a:pt x="3506798" y="1866605"/>
                    <a:pt x="3543396" y="1866605"/>
                    <a:pt x="3580314" y="1866605"/>
                  </a:cubicBezTo>
                  <a:cubicBezTo>
                    <a:pt x="3593044" y="1866605"/>
                    <a:pt x="3606092" y="1866605"/>
                    <a:pt x="3618822" y="1866605"/>
                  </a:cubicBezTo>
                  <a:lnTo>
                    <a:pt x="3622324" y="1866605"/>
                  </a:lnTo>
                  <a:cubicBezTo>
                    <a:pt x="3646828" y="1522508"/>
                    <a:pt x="3748670" y="1188435"/>
                    <a:pt x="3922436" y="890691"/>
                  </a:cubicBezTo>
                  <a:cubicBezTo>
                    <a:pt x="4077744" y="624685"/>
                    <a:pt x="4290018" y="396679"/>
                    <a:pt x="4541120" y="218367"/>
                  </a:cubicBezTo>
                  <a:cubicBezTo>
                    <a:pt x="4170674" y="221708"/>
                    <a:pt x="3800228" y="222126"/>
                    <a:pt x="3429462" y="220455"/>
                  </a:cubicBezTo>
                  <a:cubicBezTo>
                    <a:pt x="3412594" y="220455"/>
                    <a:pt x="3396046" y="220455"/>
                    <a:pt x="3379178" y="220455"/>
                  </a:cubicBezTo>
                  <a:cubicBezTo>
                    <a:pt x="3008413" y="222126"/>
                    <a:pt x="2637966" y="221708"/>
                    <a:pt x="2267520" y="218367"/>
                  </a:cubicBezTo>
                  <a:close/>
                  <a:moveTo>
                    <a:pt x="0" y="0"/>
                  </a:moveTo>
                  <a:lnTo>
                    <a:pt x="6825688" y="0"/>
                  </a:lnTo>
                  <a:lnTo>
                    <a:pt x="6825688" y="9434945"/>
                  </a:lnTo>
                  <a:lnTo>
                    <a:pt x="0" y="943494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grpSp>
      <p:sp>
        <p:nvSpPr>
          <p:cNvPr id="9" name="Shape 41719">
            <a:extLst>
              <a:ext uri="{FF2B5EF4-FFF2-40B4-BE49-F238E27FC236}">
                <a16:creationId xmlns:a16="http://schemas.microsoft.com/office/drawing/2014/main" xmlns="" id="{2393580B-4813-445F-837C-4A3B01301486}"/>
              </a:ext>
            </a:extLst>
          </p:cNvPr>
          <p:cNvSpPr/>
          <p:nvPr/>
        </p:nvSpPr>
        <p:spPr>
          <a:xfrm rot="5400000">
            <a:off x="1356126" y="2305959"/>
            <a:ext cx="1052932" cy="1214540"/>
          </a:xfrm>
          <a:custGeom>
            <a:avLst/>
            <a:gdLst/>
            <a:ahLst/>
            <a:cxnLst>
              <a:cxn ang="0">
                <a:pos x="wd2" y="hd2"/>
              </a:cxn>
              <a:cxn ang="5400000">
                <a:pos x="wd2" y="hd2"/>
              </a:cxn>
              <a:cxn ang="10800000">
                <a:pos x="wd2" y="hd2"/>
              </a:cxn>
              <a:cxn ang="16200000">
                <a:pos x="wd2" y="hd2"/>
              </a:cxn>
            </a:cxnLst>
            <a:rect l="0" t="0" r="r" b="b"/>
            <a:pathLst>
              <a:path w="21504" h="21513" extrusionOk="0">
                <a:moveTo>
                  <a:pt x="4399" y="0"/>
                </a:moveTo>
                <a:cubicBezTo>
                  <a:pt x="3834" y="0"/>
                  <a:pt x="3327" y="201"/>
                  <a:pt x="2957" y="522"/>
                </a:cubicBezTo>
                <a:cubicBezTo>
                  <a:pt x="2587" y="842"/>
                  <a:pt x="2356" y="1283"/>
                  <a:pt x="2356" y="1772"/>
                </a:cubicBezTo>
                <a:lnTo>
                  <a:pt x="2356" y="2415"/>
                </a:lnTo>
                <a:lnTo>
                  <a:pt x="2356" y="3551"/>
                </a:lnTo>
                <a:lnTo>
                  <a:pt x="2356" y="7143"/>
                </a:lnTo>
                <a:cubicBezTo>
                  <a:pt x="2229" y="7136"/>
                  <a:pt x="2102" y="7138"/>
                  <a:pt x="1977" y="7150"/>
                </a:cubicBezTo>
                <a:cubicBezTo>
                  <a:pt x="1225" y="7218"/>
                  <a:pt x="551" y="7601"/>
                  <a:pt x="214" y="8186"/>
                </a:cubicBezTo>
                <a:cubicBezTo>
                  <a:pt x="-21" y="8593"/>
                  <a:pt x="-74" y="9082"/>
                  <a:pt x="115" y="9543"/>
                </a:cubicBezTo>
                <a:cubicBezTo>
                  <a:pt x="852" y="11613"/>
                  <a:pt x="1671" y="13662"/>
                  <a:pt x="2578" y="15681"/>
                </a:cubicBezTo>
                <a:cubicBezTo>
                  <a:pt x="3077" y="16791"/>
                  <a:pt x="3617" y="17897"/>
                  <a:pt x="4481" y="18825"/>
                </a:cubicBezTo>
                <a:cubicBezTo>
                  <a:pt x="5214" y="19612"/>
                  <a:pt x="6220" y="20276"/>
                  <a:pt x="7513" y="20768"/>
                </a:cubicBezTo>
                <a:cubicBezTo>
                  <a:pt x="9108" y="21376"/>
                  <a:pt x="10859" y="21600"/>
                  <a:pt x="12596" y="21483"/>
                </a:cubicBezTo>
                <a:cubicBezTo>
                  <a:pt x="14857" y="21330"/>
                  <a:pt x="16991" y="20631"/>
                  <a:pt x="18528" y="19296"/>
                </a:cubicBezTo>
                <a:cubicBezTo>
                  <a:pt x="20567" y="17525"/>
                  <a:pt x="21227" y="14955"/>
                  <a:pt x="21419" y="12443"/>
                </a:cubicBezTo>
                <a:cubicBezTo>
                  <a:pt x="21526" y="11054"/>
                  <a:pt x="21507" y="9660"/>
                  <a:pt x="21495" y="8268"/>
                </a:cubicBezTo>
                <a:cubicBezTo>
                  <a:pt x="21483" y="6724"/>
                  <a:pt x="21481" y="5179"/>
                  <a:pt x="21485" y="3634"/>
                </a:cubicBezTo>
                <a:cubicBezTo>
                  <a:pt x="21487" y="3145"/>
                  <a:pt x="21262" y="2705"/>
                  <a:pt x="20892" y="2384"/>
                </a:cubicBezTo>
                <a:cubicBezTo>
                  <a:pt x="20523" y="2064"/>
                  <a:pt x="20006" y="1863"/>
                  <a:pt x="19442" y="1863"/>
                </a:cubicBezTo>
                <a:lnTo>
                  <a:pt x="19220" y="1863"/>
                </a:lnTo>
                <a:cubicBezTo>
                  <a:pt x="18658" y="1870"/>
                  <a:pt x="18152" y="2069"/>
                  <a:pt x="17778" y="2384"/>
                </a:cubicBezTo>
                <a:cubicBezTo>
                  <a:pt x="17398" y="2704"/>
                  <a:pt x="17167" y="3148"/>
                  <a:pt x="17146" y="3638"/>
                </a:cubicBezTo>
                <a:lnTo>
                  <a:pt x="16551" y="3538"/>
                </a:lnTo>
                <a:lnTo>
                  <a:pt x="16551" y="3047"/>
                </a:lnTo>
                <a:cubicBezTo>
                  <a:pt x="16551" y="2558"/>
                  <a:pt x="16322" y="2115"/>
                  <a:pt x="15952" y="1794"/>
                </a:cubicBezTo>
                <a:cubicBezTo>
                  <a:pt x="15582" y="1473"/>
                  <a:pt x="15072" y="1275"/>
                  <a:pt x="14507" y="1275"/>
                </a:cubicBezTo>
                <a:lnTo>
                  <a:pt x="14277" y="1275"/>
                </a:lnTo>
                <a:cubicBezTo>
                  <a:pt x="13716" y="1285"/>
                  <a:pt x="13211" y="1481"/>
                  <a:pt x="12836" y="1794"/>
                </a:cubicBezTo>
                <a:cubicBezTo>
                  <a:pt x="12491" y="2083"/>
                  <a:pt x="12257" y="2472"/>
                  <a:pt x="12195" y="2911"/>
                </a:cubicBezTo>
                <a:lnTo>
                  <a:pt x="12164" y="2917"/>
                </a:lnTo>
                <a:lnTo>
                  <a:pt x="11537" y="2837"/>
                </a:lnTo>
                <a:lnTo>
                  <a:pt x="11607" y="2217"/>
                </a:lnTo>
                <a:cubicBezTo>
                  <a:pt x="11607" y="1727"/>
                  <a:pt x="11379" y="1284"/>
                  <a:pt x="11009" y="964"/>
                </a:cubicBezTo>
                <a:cubicBezTo>
                  <a:pt x="10639" y="643"/>
                  <a:pt x="10128" y="445"/>
                  <a:pt x="9564" y="445"/>
                </a:cubicBezTo>
                <a:lnTo>
                  <a:pt x="9342" y="445"/>
                </a:lnTo>
                <a:cubicBezTo>
                  <a:pt x="8780" y="453"/>
                  <a:pt x="8272" y="649"/>
                  <a:pt x="7897" y="964"/>
                </a:cubicBezTo>
                <a:cubicBezTo>
                  <a:pt x="7523" y="1278"/>
                  <a:pt x="7280" y="1711"/>
                  <a:pt x="7252" y="2196"/>
                </a:cubicBezTo>
                <a:lnTo>
                  <a:pt x="7252" y="2185"/>
                </a:lnTo>
                <a:lnTo>
                  <a:pt x="6634" y="2107"/>
                </a:lnTo>
                <a:lnTo>
                  <a:pt x="6664" y="1772"/>
                </a:lnTo>
                <a:cubicBezTo>
                  <a:pt x="6664" y="1283"/>
                  <a:pt x="6441" y="842"/>
                  <a:pt x="6071" y="522"/>
                </a:cubicBezTo>
                <a:cubicBezTo>
                  <a:pt x="5701" y="201"/>
                  <a:pt x="5185" y="0"/>
                  <a:pt x="4621" y="0"/>
                </a:cubicBezTo>
                <a:lnTo>
                  <a:pt x="4399" y="0"/>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sz="1899" dirty="0">
              <a:latin typeface="Lato Light" panose="020F0502020204030203" pitchFamily="34" charset="0"/>
            </a:endParaRPr>
          </a:p>
        </p:txBody>
      </p:sp>
      <p:sp>
        <p:nvSpPr>
          <p:cNvPr id="10" name="Shape 41720">
            <a:extLst>
              <a:ext uri="{FF2B5EF4-FFF2-40B4-BE49-F238E27FC236}">
                <a16:creationId xmlns:a16="http://schemas.microsoft.com/office/drawing/2014/main" xmlns="" id="{C46C1303-8BBA-46E4-A36B-516691524E65}"/>
              </a:ext>
            </a:extLst>
          </p:cNvPr>
          <p:cNvSpPr/>
          <p:nvPr/>
        </p:nvSpPr>
        <p:spPr>
          <a:xfrm>
            <a:off x="26208" y="2543074"/>
            <a:ext cx="1333088" cy="859690"/>
          </a:xfrm>
          <a:prstGeom prst="rect">
            <a:avLst/>
          </a:prstGeom>
          <a:solidFill>
            <a:schemeClr val="accent1"/>
          </a:solid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7" name="Subtitle 2">
            <a:extLst>
              <a:ext uri="{FF2B5EF4-FFF2-40B4-BE49-F238E27FC236}">
                <a16:creationId xmlns:a16="http://schemas.microsoft.com/office/drawing/2014/main" xmlns="" id="{E3285C31-E17C-4500-B867-235D9DE1D1DD}"/>
              </a:ext>
            </a:extLst>
          </p:cNvPr>
          <p:cNvSpPr txBox="1">
            <a:spLocks/>
          </p:cNvSpPr>
          <p:nvPr/>
        </p:nvSpPr>
        <p:spPr>
          <a:xfrm>
            <a:off x="4066380" y="2696017"/>
            <a:ext cx="7389358"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US" sz="2000" b="1" dirty="0">
                <a:solidFill>
                  <a:srgbClr val="245473"/>
                </a:solidFill>
                <a:latin typeface="+mj-lt"/>
                <a:ea typeface="Open Sans Light" panose="020B0306030504020204" pitchFamily="34" charset="0"/>
                <a:cs typeface="Open Sans Light" panose="020B0306030504020204" pitchFamily="34" charset="0"/>
              </a:rPr>
              <a:t>SIN EMBARGO</a:t>
            </a:r>
          </a:p>
          <a:p>
            <a:pPr algn="just">
              <a:lnSpc>
                <a:spcPct val="100000"/>
              </a:lnSpc>
            </a:pPr>
            <a:r>
              <a:rPr lang="en-US" sz="2000" dirty="0">
                <a:solidFill>
                  <a:srgbClr val="245473"/>
                </a:solidFill>
                <a:latin typeface="+mj-lt"/>
                <a:ea typeface="Open Sans Light" panose="020B0306030504020204" pitchFamily="34" charset="0"/>
                <a:cs typeface="Open Sans Light" panose="020B0306030504020204" pitchFamily="34" charset="0"/>
              </a:rPr>
              <a:t>Muchos propietarios se precipitan al inyectar capital en la crisis. Es importante desarrollar primero un plan de reestructuración y determinar las necesidades globales de capital. Si esto supera las posibilidades de los propietarios, hay que encontrar otras fuentes de financiación. Éstas suelen requerir importantes aportaciones de los propietarios. Si el dinero ya está inmovilizado en la empresa, los bancos, en particular, suelen negarse a apoyarlos.</a:t>
            </a:r>
          </a:p>
        </p:txBody>
      </p:sp>
    </p:spTree>
    <p:extLst>
      <p:ext uri="{BB962C8B-B14F-4D97-AF65-F5344CB8AC3E}">
        <p14:creationId xmlns:p14="http://schemas.microsoft.com/office/powerpoint/2010/main" val="125279516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SIGUIENT      E </a:t>
            </a:r>
            <a:r>
              <a:rPr lang="en-GB" sz="5400" i="0" dirty="0">
                <a:solidFill>
                  <a:srgbClr val="E64D92"/>
                </a:solidFill>
              </a:rPr>
              <a:t>Módulo 6 </a:t>
            </a:r>
          </a:p>
        </p:txBody>
      </p:sp>
      <p:sp>
        <p:nvSpPr>
          <p:cNvPr id="3" name="Text Placeholder 2"/>
          <p:cNvSpPr>
            <a:spLocks noGrp="1"/>
          </p:cNvSpPr>
          <p:nvPr>
            <p:ph type="body" sz="quarter" idx="14"/>
          </p:nvPr>
        </p:nvSpPr>
        <p:spPr>
          <a:xfrm>
            <a:off x="296833" y="3233207"/>
            <a:ext cx="5886252" cy="697353"/>
          </a:xfrm>
        </p:spPr>
        <p:txBody>
          <a:bodyPr/>
          <a:lstStyle/>
          <a:p>
            <a:r>
              <a:rPr lang="en-GB" sz="3200" i="0" dirty="0"/>
              <a:t>Liderazgo en crisis </a:t>
            </a:r>
            <a:endParaRPr lang="en-GB" sz="3200" dirty="0"/>
          </a:p>
          <a:p>
            <a:pPr algn="ctr"/>
            <a:endParaRPr lang="en-GB" sz="3200" dirty="0">
              <a:solidFill>
                <a:srgbClr val="5B9BD5"/>
              </a:solidFill>
            </a:endParaRP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UZhYgDBPgDtA1MLG6uo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3</TotalTime>
  <Words>11869</Words>
  <Application>Microsoft Office PowerPoint</Application>
  <PresentationFormat>Custom</PresentationFormat>
  <Paragraphs>1415</Paragraphs>
  <Slides>94</Slides>
  <Notes>9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94</vt:i4>
      </vt:variant>
    </vt:vector>
  </HeadingPairs>
  <TitlesOfParts>
    <vt:vector size="97" baseType="lpstr">
      <vt:lpstr>Office Theme</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1663</cp:revision>
  <cp:lastPrinted>2021-03-14T10:03:49Z</cp:lastPrinted>
  <dcterms:created xsi:type="dcterms:W3CDTF">2020-11-19T10:19:39Z</dcterms:created>
  <dcterms:modified xsi:type="dcterms:W3CDTF">2022-04-21T15:06:41Z</dcterms:modified>
</cp:coreProperties>
</file>